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4.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5.xml" ContentType="application/vnd.openxmlformats-officedocument.presentationml.tags+xml"/>
  <Override PartName="/ppt/tags/tag26.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ags/tag3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tags/tag37.xml" ContentType="application/vnd.openxmlformats-officedocument.presentationml.tags+xml"/>
  <Override PartName="/ppt/notesSlides/notesSlide10.xml" ContentType="application/vnd.openxmlformats-officedocument.presentationml.notesSlide+xml"/>
  <Override PartName="/ppt/tags/tag3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9.xml" ContentType="application/vnd.openxmlformats-officedocument.presentationml.tags+xml"/>
  <Override PartName="/ppt/notesSlides/notesSlide1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Lst>
  <p:notesMasterIdLst>
    <p:notesMasterId r:id="rId25"/>
  </p:notesMasterIdLst>
  <p:sldIdLst>
    <p:sldId id="2088" r:id="rId2"/>
    <p:sldId id="2131" r:id="rId3"/>
    <p:sldId id="2134" r:id="rId4"/>
    <p:sldId id="2149" r:id="rId5"/>
    <p:sldId id="2017" r:id="rId6"/>
    <p:sldId id="256" r:id="rId7"/>
    <p:sldId id="2132" r:id="rId8"/>
    <p:sldId id="2110" r:id="rId9"/>
    <p:sldId id="2111" r:id="rId10"/>
    <p:sldId id="2112" r:id="rId11"/>
    <p:sldId id="2114" r:id="rId12"/>
    <p:sldId id="2099" r:id="rId13"/>
    <p:sldId id="2051" r:id="rId14"/>
    <p:sldId id="2133" r:id="rId15"/>
    <p:sldId id="286" r:id="rId16"/>
    <p:sldId id="1319" r:id="rId17"/>
    <p:sldId id="287" r:id="rId18"/>
    <p:sldId id="322" r:id="rId19"/>
    <p:sldId id="2050" r:id="rId20"/>
    <p:sldId id="1306" r:id="rId21"/>
    <p:sldId id="311" r:id="rId22"/>
    <p:sldId id="321" r:id="rId23"/>
    <p:sldId id="2108" r:id="rId24"/>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BE2547-43B0-7C07-CABD-06C77A35E362}" name="Judith Arens" initials="JA" userId="S::j.arens@lions.de::47239e2c-62d4-4222-b938-27fb9a8778c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7CCA"/>
    <a:srgbClr val="FFFFFF"/>
    <a:srgbClr val="FF5C35"/>
    <a:srgbClr val="C787CD"/>
    <a:srgbClr val="7AA2DA"/>
    <a:srgbClr val="EBB700"/>
    <a:srgbClr val="7A2682"/>
    <a:srgbClr val="00338D"/>
    <a:srgbClr val="00AC68"/>
    <a:srgbClr val="FFD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90" autoAdjust="0"/>
    <p:restoredTop sz="62110" autoAdjust="0"/>
  </p:normalViewPr>
  <p:slideViewPr>
    <p:cSldViewPr snapToGrid="0" showGuides="1">
      <p:cViewPr varScale="1">
        <p:scale>
          <a:sx n="69" d="100"/>
          <a:sy n="69" d="100"/>
        </p:scale>
        <p:origin x="2004" y="72"/>
      </p:cViewPr>
      <p:guideLst/>
    </p:cSldViewPr>
  </p:slideViewPr>
  <p:notesTextViewPr>
    <p:cViewPr>
      <p:scale>
        <a:sx n="115" d="100"/>
        <a:sy n="115" d="100"/>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032504921259845"/>
          <c:y val="6.5336200700753549E-2"/>
          <c:w val="0.57935002460629925"/>
          <c:h val="0.8258630250960125"/>
        </c:manualLayout>
      </c:layout>
      <c:doughnutChart>
        <c:varyColors val="1"/>
        <c:ser>
          <c:idx val="0"/>
          <c:order val="0"/>
          <c:tx>
            <c:strRef>
              <c:f>Sheet1!$B$1</c:f>
              <c:strCache>
                <c:ptCount val="1"/>
                <c:pt idx="0">
                  <c:v>Sales</c:v>
                </c:pt>
              </c:strCache>
            </c:strRef>
          </c:tx>
          <c:spPr>
            <a:ln>
              <a:noFill/>
            </a:ln>
          </c:spPr>
          <c:dPt>
            <c:idx val="0"/>
            <c:bubble3D val="0"/>
            <c:spPr>
              <a:solidFill>
                <a:srgbClr val="407CCA"/>
              </a:solidFill>
              <a:ln w="19050">
                <a:noFill/>
              </a:ln>
              <a:effectLst/>
            </c:spPr>
            <c:extLst>
              <c:ext xmlns:c16="http://schemas.microsoft.com/office/drawing/2014/chart" uri="{C3380CC4-5D6E-409C-BE32-E72D297353CC}">
                <c16:uniqueId val="{00000001-62CE-4E7F-9345-55817D774F98}"/>
              </c:ext>
            </c:extLst>
          </c:dPt>
          <c:dPt>
            <c:idx val="1"/>
            <c:bubble3D val="0"/>
            <c:spPr>
              <a:solidFill>
                <a:srgbClr val="EBB700"/>
              </a:solidFill>
              <a:ln w="19050">
                <a:noFill/>
              </a:ln>
              <a:effectLst/>
            </c:spPr>
            <c:extLst>
              <c:ext xmlns:c16="http://schemas.microsoft.com/office/drawing/2014/chart" uri="{C3380CC4-5D6E-409C-BE32-E72D297353CC}">
                <c16:uniqueId val="{00000003-62CE-4E7F-9345-55817D774F98}"/>
              </c:ext>
            </c:extLst>
          </c:dPt>
          <c:dPt>
            <c:idx val="2"/>
            <c:bubble3D val="0"/>
            <c:spPr>
              <a:solidFill>
                <a:srgbClr val="7A2682"/>
              </a:solidFill>
              <a:ln w="19050">
                <a:noFill/>
              </a:ln>
              <a:effectLst/>
            </c:spPr>
            <c:extLst>
              <c:ext xmlns:c16="http://schemas.microsoft.com/office/drawing/2014/chart" uri="{C3380CC4-5D6E-409C-BE32-E72D297353CC}">
                <c16:uniqueId val="{00000005-62CE-4E7F-9345-55817D774F98}"/>
              </c:ext>
            </c:extLst>
          </c:dPt>
          <c:dPt>
            <c:idx val="3"/>
            <c:bubble3D val="0"/>
            <c:spPr>
              <a:solidFill>
                <a:srgbClr val="00338D"/>
              </a:solidFill>
              <a:ln w="19050">
                <a:noFill/>
              </a:ln>
              <a:effectLst/>
            </c:spPr>
            <c:extLst>
              <c:ext xmlns:c16="http://schemas.microsoft.com/office/drawing/2014/chart" uri="{C3380CC4-5D6E-409C-BE32-E72D297353CC}">
                <c16:uniqueId val="{00000007-62CE-4E7F-9345-55817D774F98}"/>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4</c:v>
                </c:pt>
                <c:pt idx="1">
                  <c:v>3</c:v>
                </c:pt>
                <c:pt idx="2">
                  <c:v>6</c:v>
                </c:pt>
                <c:pt idx="3">
                  <c:v>7</c:v>
                </c:pt>
              </c:numCache>
            </c:numRef>
          </c:val>
          <c:extLst>
            <c:ext xmlns:c16="http://schemas.microsoft.com/office/drawing/2014/chart" uri="{C3380CC4-5D6E-409C-BE32-E72D297353CC}">
              <c16:uniqueId val="{00000008-62CE-4E7F-9345-55817D774F98}"/>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t"/>
      <c:legendEntry>
        <c:idx val="0"/>
        <c:txPr>
          <a:bodyPr rot="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legendEntry>
      <c:legendEntry>
        <c:idx val="1"/>
        <c:txPr>
          <a:bodyPr rot="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legendEntry>
      <c:legendEntry>
        <c:idx val="2"/>
        <c:txPr>
          <a:bodyPr rot="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legendEntry>
      <c:legendEntry>
        <c:idx val="3"/>
        <c:txPr>
          <a:bodyPr rot="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legendEntry>
      <c:layout>
        <c:manualLayout>
          <c:xMode val="edge"/>
          <c:yMode val="edge"/>
          <c:x val="0.17949438167603773"/>
          <c:y val="0.93712274502391857"/>
          <c:w val="0.64101123664792448"/>
          <c:h val="5.03543220988944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FF5C35"/>
              </a:solidFill>
              <a:ln w="19050">
                <a:noFill/>
              </a:ln>
              <a:effectLst/>
            </c:spPr>
            <c:extLst>
              <c:ext xmlns:c16="http://schemas.microsoft.com/office/drawing/2014/chart" uri="{C3380CC4-5D6E-409C-BE32-E72D297353CC}">
                <c16:uniqueId val="{00000001-571D-4C05-8A2C-7F071407BD75}"/>
              </c:ext>
            </c:extLst>
          </c:dPt>
          <c:dPt>
            <c:idx val="1"/>
            <c:bubble3D val="0"/>
            <c:spPr>
              <a:solidFill>
                <a:srgbClr val="7A2682"/>
              </a:solidFill>
              <a:ln w="19050">
                <a:noFill/>
              </a:ln>
              <a:effectLst/>
            </c:spPr>
            <c:extLst>
              <c:ext xmlns:c16="http://schemas.microsoft.com/office/drawing/2014/chart" uri="{C3380CC4-5D6E-409C-BE32-E72D297353CC}">
                <c16:uniqueId val="{00000003-571D-4C05-8A2C-7F071407BD75}"/>
              </c:ext>
            </c:extLst>
          </c:dPt>
          <c:dPt>
            <c:idx val="2"/>
            <c:bubble3D val="0"/>
            <c:spPr>
              <a:solidFill>
                <a:srgbClr val="EBB700"/>
              </a:solidFill>
              <a:ln w="19050">
                <a:noFill/>
              </a:ln>
              <a:effectLst/>
            </c:spPr>
            <c:extLst>
              <c:ext xmlns:c16="http://schemas.microsoft.com/office/drawing/2014/chart" uri="{C3380CC4-5D6E-409C-BE32-E72D297353CC}">
                <c16:uniqueId val="{00000005-571D-4C05-8A2C-7F071407BD75}"/>
              </c:ext>
            </c:extLst>
          </c:dPt>
          <c:dPt>
            <c:idx val="3"/>
            <c:bubble3D val="0"/>
            <c:spPr>
              <a:solidFill>
                <a:srgbClr val="407CCA"/>
              </a:solidFill>
              <a:ln w="19050">
                <a:noFill/>
              </a:ln>
              <a:effectLst/>
            </c:spPr>
            <c:extLst>
              <c:ext xmlns:c16="http://schemas.microsoft.com/office/drawing/2014/chart" uri="{C3380CC4-5D6E-409C-BE32-E72D297353CC}">
                <c16:uniqueId val="{00000007-571D-4C05-8A2C-7F071407BD75}"/>
              </c:ext>
            </c:extLst>
          </c:dPt>
          <c:dPt>
            <c:idx val="4"/>
            <c:bubble3D val="0"/>
            <c:spPr>
              <a:solidFill>
                <a:srgbClr val="00338D"/>
              </a:solidFill>
              <a:ln w="19050">
                <a:noFill/>
              </a:ln>
              <a:effectLst/>
            </c:spPr>
            <c:extLst>
              <c:ext xmlns:c16="http://schemas.microsoft.com/office/drawing/2014/chart" uri="{C3380CC4-5D6E-409C-BE32-E72D297353CC}">
                <c16:uniqueId val="{00000009-571D-4C05-8A2C-7F071407BD75}"/>
              </c:ext>
            </c:extLst>
          </c:dPt>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71D-4C05-8A2C-7F071407BD75}"/>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71D-4C05-8A2C-7F071407BD75}"/>
                </c:ext>
              </c:extLst>
            </c:dLbl>
            <c:dLbl>
              <c:idx val="2"/>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71D-4C05-8A2C-7F071407BD75}"/>
                </c:ext>
              </c:extLst>
            </c:dLbl>
            <c:dLbl>
              <c:idx val="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71D-4C05-8A2C-7F071407BD75}"/>
                </c:ext>
              </c:extLst>
            </c:dLbl>
            <c:dLbl>
              <c:idx val="4"/>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71D-4C05-8A2C-7F071407BD75}"/>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0"/>
            <c:showCatName val="0"/>
            <c:showSerName val="0"/>
            <c:showPercent val="0"/>
            <c:showBubbleSize val="0"/>
            <c:extLst>
              <c:ext xmlns:c15="http://schemas.microsoft.com/office/drawing/2012/chart" uri="{CE6537A1-D6FC-4f65-9D91-7224C49458BB}"/>
            </c:extLst>
          </c:dLbls>
          <c:cat>
            <c:strRef>
              <c:f>Sheet1!$A$2:$A$6</c:f>
              <c:strCache>
                <c:ptCount val="5"/>
                <c:pt idx="0">
                  <c:v>Area 1</c:v>
                </c:pt>
                <c:pt idx="1">
                  <c:v>Area 2</c:v>
                </c:pt>
                <c:pt idx="2">
                  <c:v>Area 3</c:v>
                </c:pt>
                <c:pt idx="3">
                  <c:v>Area 4</c:v>
                </c:pt>
                <c:pt idx="4">
                  <c:v>Area 5</c:v>
                </c:pt>
              </c:strCache>
            </c:strRef>
          </c:cat>
          <c:val>
            <c:numRef>
              <c:f>Sheet1!$B$2:$B$6</c:f>
              <c:numCache>
                <c:formatCode>0%</c:formatCode>
                <c:ptCount val="5"/>
                <c:pt idx="0">
                  <c:v>0.16</c:v>
                </c:pt>
                <c:pt idx="1">
                  <c:v>0.25</c:v>
                </c:pt>
                <c:pt idx="2">
                  <c:v>0.1</c:v>
                </c:pt>
                <c:pt idx="3">
                  <c:v>0.31</c:v>
                </c:pt>
                <c:pt idx="4">
                  <c:v>0.23</c:v>
                </c:pt>
              </c:numCache>
            </c:numRef>
          </c:val>
          <c:extLst>
            <c:ext xmlns:c16="http://schemas.microsoft.com/office/drawing/2014/chart" uri="{C3380CC4-5D6E-409C-BE32-E72D297353CC}">
              <c16:uniqueId val="{0000000A-571D-4C05-8A2C-7F071407BD75}"/>
            </c:ext>
          </c:extLst>
        </c:ser>
        <c:dLbls>
          <c:dLblPos val="ctr"/>
          <c:showLegendKey val="0"/>
          <c:showVal val="1"/>
          <c:showCatName val="0"/>
          <c:showSerName val="0"/>
          <c:showPercent val="0"/>
          <c:showBubbleSize val="0"/>
          <c:showLeaderLines val="1"/>
        </c:dLbls>
        <c:firstSliceAng val="31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Series 1</c:v>
                </c:pt>
              </c:strCache>
            </c:strRef>
          </c:tx>
          <c:spPr>
            <a:solidFill>
              <a:srgbClr val="EBB700"/>
            </a:solidFill>
            <a:ln>
              <a:noFill/>
            </a:ln>
            <a:effectLst/>
          </c:spPr>
          <c:cat>
            <c:numRef>
              <c:f>Sheet1!$A$2:$A$7</c:f>
              <c:numCache>
                <c:formatCode>m/d/yyyy</c:formatCode>
                <c:ptCount val="6"/>
                <c:pt idx="0">
                  <c:v>43470</c:v>
                </c:pt>
                <c:pt idx="1">
                  <c:v>43471</c:v>
                </c:pt>
                <c:pt idx="2">
                  <c:v>43472</c:v>
                </c:pt>
                <c:pt idx="3">
                  <c:v>43473</c:v>
                </c:pt>
                <c:pt idx="4">
                  <c:v>43474</c:v>
                </c:pt>
              </c:numCache>
            </c:numRef>
          </c:cat>
          <c:val>
            <c:numRef>
              <c:f>Sheet1!$B$2:$B$7</c:f>
              <c:numCache>
                <c:formatCode>General</c:formatCode>
                <c:ptCount val="6"/>
                <c:pt idx="0">
                  <c:v>16</c:v>
                </c:pt>
                <c:pt idx="1">
                  <c:v>22</c:v>
                </c:pt>
                <c:pt idx="2">
                  <c:v>18</c:v>
                </c:pt>
                <c:pt idx="3">
                  <c:v>20</c:v>
                </c:pt>
                <c:pt idx="4">
                  <c:v>26</c:v>
                </c:pt>
              </c:numCache>
            </c:numRef>
          </c:val>
          <c:extLst>
            <c:ext xmlns:c16="http://schemas.microsoft.com/office/drawing/2014/chart" uri="{C3380CC4-5D6E-409C-BE32-E72D297353CC}">
              <c16:uniqueId val="{00000000-8D6E-453B-8B82-52E8E7CB4929}"/>
            </c:ext>
          </c:extLst>
        </c:ser>
        <c:ser>
          <c:idx val="1"/>
          <c:order val="1"/>
          <c:tx>
            <c:strRef>
              <c:f>Sheet1!$C$1</c:f>
              <c:strCache>
                <c:ptCount val="1"/>
                <c:pt idx="0">
                  <c:v>Series 2</c:v>
                </c:pt>
              </c:strCache>
            </c:strRef>
          </c:tx>
          <c:spPr>
            <a:solidFill>
              <a:srgbClr val="7A2682"/>
            </a:solidFill>
            <a:ln>
              <a:noFill/>
            </a:ln>
            <a:effectLst/>
          </c:spPr>
          <c:cat>
            <c:numRef>
              <c:f>Sheet1!$A$2:$A$7</c:f>
              <c:numCache>
                <c:formatCode>m/d/yyyy</c:formatCode>
                <c:ptCount val="6"/>
                <c:pt idx="0">
                  <c:v>43470</c:v>
                </c:pt>
                <c:pt idx="1">
                  <c:v>43471</c:v>
                </c:pt>
                <c:pt idx="2">
                  <c:v>43472</c:v>
                </c:pt>
                <c:pt idx="3">
                  <c:v>43473</c:v>
                </c:pt>
                <c:pt idx="4">
                  <c:v>43474</c:v>
                </c:pt>
              </c:numCache>
            </c:numRef>
          </c:cat>
          <c:val>
            <c:numRef>
              <c:f>Sheet1!$C$2:$C$7</c:f>
              <c:numCache>
                <c:formatCode>General</c:formatCode>
                <c:ptCount val="6"/>
                <c:pt idx="0">
                  <c:v>12</c:v>
                </c:pt>
                <c:pt idx="1">
                  <c:v>14</c:v>
                </c:pt>
                <c:pt idx="2">
                  <c:v>12</c:v>
                </c:pt>
                <c:pt idx="3">
                  <c:v>19</c:v>
                </c:pt>
                <c:pt idx="4">
                  <c:v>28</c:v>
                </c:pt>
              </c:numCache>
            </c:numRef>
          </c:val>
          <c:extLst>
            <c:ext xmlns:c16="http://schemas.microsoft.com/office/drawing/2014/chart" uri="{C3380CC4-5D6E-409C-BE32-E72D297353CC}">
              <c16:uniqueId val="{00000001-8D6E-453B-8B82-52E8E7CB4929}"/>
            </c:ext>
          </c:extLst>
        </c:ser>
        <c:ser>
          <c:idx val="2"/>
          <c:order val="2"/>
          <c:tx>
            <c:strRef>
              <c:f>Sheet1!$D$1</c:f>
              <c:strCache>
                <c:ptCount val="1"/>
                <c:pt idx="0">
                  <c:v>Series 3</c:v>
                </c:pt>
              </c:strCache>
            </c:strRef>
          </c:tx>
          <c:spPr>
            <a:solidFill>
              <a:srgbClr val="00338D"/>
            </a:solidFill>
            <a:ln w="25400">
              <a:noFill/>
            </a:ln>
            <a:effectLst/>
          </c:spPr>
          <c:cat>
            <c:numRef>
              <c:f>Sheet1!$A$2:$A$7</c:f>
              <c:numCache>
                <c:formatCode>m/d/yyyy</c:formatCode>
                <c:ptCount val="6"/>
                <c:pt idx="0">
                  <c:v>43470</c:v>
                </c:pt>
                <c:pt idx="1">
                  <c:v>43471</c:v>
                </c:pt>
                <c:pt idx="2">
                  <c:v>43472</c:v>
                </c:pt>
                <c:pt idx="3">
                  <c:v>43473</c:v>
                </c:pt>
                <c:pt idx="4">
                  <c:v>43474</c:v>
                </c:pt>
              </c:numCache>
            </c:numRef>
          </c:cat>
          <c:val>
            <c:numRef>
              <c:f>Sheet1!$D$2:$D$7</c:f>
              <c:numCache>
                <c:formatCode>General</c:formatCode>
                <c:ptCount val="6"/>
                <c:pt idx="0">
                  <c:v>4</c:v>
                </c:pt>
                <c:pt idx="1">
                  <c:v>8</c:v>
                </c:pt>
                <c:pt idx="2">
                  <c:v>6</c:v>
                </c:pt>
                <c:pt idx="3">
                  <c:v>12</c:v>
                </c:pt>
                <c:pt idx="4">
                  <c:v>16</c:v>
                </c:pt>
              </c:numCache>
            </c:numRef>
          </c:val>
          <c:extLst>
            <c:ext xmlns:c16="http://schemas.microsoft.com/office/drawing/2014/chart" uri="{C3380CC4-5D6E-409C-BE32-E72D297353CC}">
              <c16:uniqueId val="{00000002-8D6E-453B-8B82-52E8E7CB4929}"/>
            </c:ext>
          </c:extLst>
        </c:ser>
        <c:dLbls>
          <c:showLegendKey val="0"/>
          <c:showVal val="0"/>
          <c:showCatName val="0"/>
          <c:showSerName val="0"/>
          <c:showPercent val="0"/>
          <c:showBubbleSize val="0"/>
        </c:dLbls>
        <c:axId val="86202911"/>
        <c:axId val="1832618304"/>
      </c:areaChart>
      <c:dateAx>
        <c:axId val="86202911"/>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832618304"/>
        <c:crosses val="autoZero"/>
        <c:auto val="1"/>
        <c:lblOffset val="100"/>
        <c:baseTimeUnit val="days"/>
      </c:dateAx>
      <c:valAx>
        <c:axId val="1832618304"/>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86202911"/>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sym typeface="Arial" panose="020B0604020202020204" pitchFamily="34" charset="0"/>
              </a:defRPr>
            </a:lvl1pPr>
          </a:lstStyle>
          <a:p>
            <a:fld id="{3CDFE222-915F-4076-A64C-FCD84141A6B5}" type="datetimeFigureOut">
              <a:rPr lang="en-US" smtClean="0"/>
              <a:pPr/>
              <a:t>6/1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sym typeface="Arial" panose="020B0604020202020204" pitchFamily="34" charset="0"/>
              </a:defRPr>
            </a:lvl1pPr>
          </a:lstStyle>
          <a:p>
            <a:fld id="{0116A731-5E76-4190-B805-4A9AC832BFD5}" type="slidenum">
              <a:rPr lang="en-US" smtClean="0"/>
              <a:pPr/>
              <a:t>‹Nr.›</a:t>
            </a:fld>
            <a:endParaRPr lang="en-US"/>
          </a:p>
        </p:txBody>
      </p:sp>
    </p:spTree>
    <p:extLst>
      <p:ext uri="{BB962C8B-B14F-4D97-AF65-F5344CB8AC3E}">
        <p14:creationId xmlns:p14="http://schemas.microsoft.com/office/powerpoint/2010/main" val="16940974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0116A731-5E76-4190-B805-4A9AC832BFD5}" type="slidenum">
              <a:rPr lang="en-US" smtClean="0"/>
              <a:t>1</a:t>
            </a:fld>
            <a:endParaRPr lang="en-US"/>
          </a:p>
        </p:txBody>
      </p:sp>
    </p:spTree>
    <p:extLst>
      <p:ext uri="{BB962C8B-B14F-4D97-AF65-F5344CB8AC3E}">
        <p14:creationId xmlns:p14="http://schemas.microsoft.com/office/powerpoint/2010/main" val="27447038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457200" indent="-457200" defTabSz="990752">
              <a:buFont typeface="Arial" panose="020B0604020202020204" pitchFamily="34" charset="0"/>
              <a:buChar char="•"/>
              <a:defRPr/>
            </a:pPr>
            <a:r>
              <a:rPr lang="de-DE" sz="1800" dirty="0"/>
              <a:t>Der afrikanische Binnenstaat Sambia ist eines der ärmsten Länder der Welt: Über die Hälfte der Bevölkerung lebt von weniger als 1,90 Dollar am Tag und damit unterhalb der absoluten Armutsgrenze. </a:t>
            </a:r>
          </a:p>
          <a:p>
            <a:pPr marL="457200" indent="-457200" defTabSz="990752">
              <a:buFont typeface="Arial" panose="020B0604020202020204" pitchFamily="34" charset="0"/>
              <a:buChar char="•"/>
              <a:defRPr/>
            </a:pPr>
            <a:r>
              <a:rPr lang="de-DE" sz="1200" dirty="0"/>
              <a:t>Laut World Bank (2020) ist unzureichender Zugang zu sauberem Trinkwasser, sicheren Sanitäranlagen und Hygiene (WaSH) die häufigste Ursache für Krankheiten wie Cholera und Durchfall sowie die häufigste Todesursache für Kinder unter 5 Jahren.</a:t>
            </a:r>
          </a:p>
          <a:p>
            <a:pPr marL="457200" indent="-457200" defTabSz="990752">
              <a:buFont typeface="Arial" panose="020B0604020202020204" pitchFamily="34" charset="0"/>
              <a:buChar char="•"/>
              <a:defRPr/>
            </a:pPr>
            <a:r>
              <a:rPr lang="de-DE" sz="1200" dirty="0"/>
              <a:t>Besonders in den Schulen wird das Problem offensichtlich: Hier teilen sich oft um die 200 Schüler oder Schülerinnen eine Toilette, teilweise bis zu 500 Kinder. Die Empfehlung der WHO sind etwa 25 Jungen oder Mädchen. </a:t>
            </a:r>
          </a:p>
          <a:p>
            <a:pPr marL="457200" indent="-457200" defTabSz="990752">
              <a:buFont typeface="Arial" panose="020B0604020202020204" pitchFamily="34" charset="0"/>
              <a:buChar char="•"/>
              <a:defRPr/>
            </a:pPr>
            <a:r>
              <a:rPr lang="de-DE" sz="1200" dirty="0"/>
              <a:t>Für Mädchen ist dies besonders während ihrer Menstruation ein Problem, denn sie haben keine Möglichkeit, sich mit sauberem Wasser und genügend Privatsphäre zu waschen. Oft bleiben Sie deshalb der Schule fern und verpassen wichtigen Lehrstoff.</a:t>
            </a:r>
          </a:p>
          <a:p>
            <a:pPr marL="457200" indent="-457200" defTabSz="990752">
              <a:buFont typeface="Arial" panose="020B0604020202020204" pitchFamily="34" charset="0"/>
              <a:buChar char="•"/>
              <a:defRPr/>
            </a:pPr>
            <a:r>
              <a:rPr lang="de-DE" sz="1200" dirty="0"/>
              <a:t>Deshalb werden wir vor allem an Schulen die Versorgung mit sauberem Trinkwasser und sicheren Toilettenanlagen bewirken. </a:t>
            </a:r>
            <a:endParaRPr lang="de-DE" sz="1000" dirty="0"/>
          </a:p>
        </p:txBody>
      </p:sp>
      <p:sp>
        <p:nvSpPr>
          <p:cNvPr id="4" name="Foliennummernplatzhalter 3"/>
          <p:cNvSpPr>
            <a:spLocks noGrp="1"/>
          </p:cNvSpPr>
          <p:nvPr>
            <p:ph type="sldNum" sz="quarter" idx="5"/>
          </p:nvPr>
        </p:nvSpPr>
        <p:spPr/>
        <p:txBody>
          <a:bodyPr/>
          <a:lstStyle/>
          <a:p>
            <a:fld id="{0116A731-5E76-4190-B805-4A9AC832BFD5}" type="slidenum">
              <a:rPr lang="en-US" smtClean="0"/>
              <a:pPr/>
              <a:t>11</a:t>
            </a:fld>
            <a:endParaRPr lang="en-US"/>
          </a:p>
        </p:txBody>
      </p:sp>
    </p:spTree>
    <p:extLst>
      <p:ext uri="{BB962C8B-B14F-4D97-AF65-F5344CB8AC3E}">
        <p14:creationId xmlns:p14="http://schemas.microsoft.com/office/powerpoint/2010/main" val="2408947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dirty="0"/>
              <a:t>Gemeinsam mit unserem Partner vor Ort, Habitat </a:t>
            </a:r>
            <a:r>
              <a:rPr lang="de-DE" sz="1200" dirty="0" err="1"/>
              <a:t>for</a:t>
            </a:r>
            <a:r>
              <a:rPr lang="de-DE" sz="1200" dirty="0"/>
              <a:t> </a:t>
            </a:r>
            <a:r>
              <a:rPr lang="de-DE" sz="1200" dirty="0" err="1"/>
              <a:t>Humanity</a:t>
            </a:r>
            <a:r>
              <a:rPr lang="de-DE" sz="1200" dirty="0"/>
              <a:t> Malawi, und der lokalen Bevölkerung im </a:t>
            </a:r>
            <a:r>
              <a:rPr lang="de-DE" sz="1200" dirty="0" err="1"/>
              <a:t>Zomba</a:t>
            </a:r>
            <a:r>
              <a:rPr lang="de-DE" sz="1200" dirty="0"/>
              <a:t> Distrikt setzen wir uns für die Widerstandsfähigkeit der Gemeinden und ihrer Wasserversorgung, sanitären Einrichtungen und Hygiene (</a:t>
            </a:r>
            <a:r>
              <a:rPr lang="de-DE" sz="1200" dirty="0" err="1"/>
              <a:t>WaSH</a:t>
            </a:r>
            <a:r>
              <a:rPr lang="de-DE" sz="1200" dirty="0"/>
              <a:t>) gegenüber dem Klimawandel und Naturkatastrophen ei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1" dirty="0"/>
              <a:t>Sauberes Wasser: </a:t>
            </a:r>
            <a:r>
              <a:rPr lang="de-DE" sz="1200" dirty="0"/>
              <a:t>Wir stellen katastrophensichere Brunnen und Sanitäranlagen berei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1" dirty="0"/>
              <a:t>Schulungen:</a:t>
            </a:r>
            <a:r>
              <a:rPr lang="de-DE" sz="1200" dirty="0"/>
              <a:t> Wir fördern im Besonderen die Schulung von Frauen und Jugendlichen, damit diese wichtige Hygiene-Praktiken wie das Händewaschen mit Seife, das sie nun durch den Zugang zu Wasser befolgen können, weiterführen und –erzähle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1" dirty="0"/>
              <a:t>Anpassung an den Klimawandel: </a:t>
            </a:r>
            <a:r>
              <a:rPr lang="de-DE" sz="1200" b="0" dirty="0"/>
              <a:t>Auch bei Maßnahmen zur Anpassung an den Klimawandel wird die lokale Bevölkerung mit einbezogen, damit diese klimaresistente </a:t>
            </a:r>
            <a:r>
              <a:rPr lang="de-DE" sz="1200" b="0" dirty="0" err="1"/>
              <a:t>WaSH</a:t>
            </a:r>
            <a:r>
              <a:rPr lang="de-DE" sz="1200" b="0" dirty="0"/>
              <a:t>-Praktiken verstehen und anwenden können</a:t>
            </a:r>
            <a:endParaRPr lang="de-DE" sz="1000" dirty="0"/>
          </a:p>
          <a:p>
            <a:endParaRPr lang="de-DE" dirty="0"/>
          </a:p>
        </p:txBody>
      </p:sp>
      <p:sp>
        <p:nvSpPr>
          <p:cNvPr id="4" name="Slide Number Placeholder 3"/>
          <p:cNvSpPr>
            <a:spLocks noGrp="1"/>
          </p:cNvSpPr>
          <p:nvPr>
            <p:ph type="sldNum" sz="quarter" idx="5"/>
          </p:nvPr>
        </p:nvSpPr>
        <p:spPr/>
        <p:txBody>
          <a:bodyPr/>
          <a:lstStyle/>
          <a:p>
            <a:fld id="{0116A731-5E76-4190-B805-4A9AC832BFD5}" type="slidenum">
              <a:rPr lang="en-US" smtClean="0"/>
              <a:t>12</a:t>
            </a:fld>
            <a:endParaRPr lang="en-US"/>
          </a:p>
        </p:txBody>
      </p:sp>
    </p:spTree>
    <p:extLst>
      <p:ext uri="{BB962C8B-B14F-4D97-AF65-F5344CB8AC3E}">
        <p14:creationId xmlns:p14="http://schemas.microsoft.com/office/powerpoint/2010/main" val="31839782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R="0" algn="l" rtl="0"/>
            <a:r>
              <a:rPr lang="de-DE" sz="1800" b="0" i="0" u="none" strike="noStrike" kern="100" baseline="0" dirty="0">
                <a:solidFill>
                  <a:prstClr val="black"/>
                </a:solidFill>
                <a:latin typeface="Times New Roman" panose="02020603050405020304" pitchFamily="18" charset="0"/>
              </a:rPr>
              <a:t>Mit dem Beschluss der MDV in Mannheim wurde das Engagement der Lions im wichtigen WaSH-Bereich festgeschrieben. WaSH-Projekte leisten immer einen Beitrag zur Nachhaltigkeit und zum Umweltschutz, </a:t>
            </a:r>
          </a:p>
          <a:p>
            <a:pPr marR="0" algn="l" rtl="0"/>
            <a:r>
              <a:rPr lang="de-DE" sz="1800" b="0" i="0" u="none" strike="noStrike" kern="100" baseline="0" dirty="0">
                <a:solidFill>
                  <a:prstClr val="black"/>
                </a:solidFill>
                <a:latin typeface="Times New Roman" panose="02020603050405020304" pitchFamily="18" charset="0"/>
              </a:rPr>
              <a:t>Auch LCIF unterstütz und befürwortet die WaSH-Projekte des MD. Die gesamte Projektsumme inkl. BMZ-Zuschuss wird als Beitrag der Deutschen Lions im internationalen Spenden-Ranking angerechnet. 2022 wurde das MOU auf dem KDL in Bonn feierlich erneuert.</a:t>
            </a: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Alle bisherigen Projekte fanden auch die Zustimmung des Bundesministeriums für wirtschaftliche Entwicklung und Zusammenarbeit (BMZ), welches den Bereich WaSH als sehr wichtig erachtet und unsere Projekte bezuschusst.</a:t>
            </a:r>
          </a:p>
          <a:p>
            <a:endParaRPr lang="de-DE" dirty="0"/>
          </a:p>
        </p:txBody>
      </p:sp>
      <p:sp>
        <p:nvSpPr>
          <p:cNvPr id="4" name="Foliennummernplatzhalter 3"/>
          <p:cNvSpPr>
            <a:spLocks noGrp="1"/>
          </p:cNvSpPr>
          <p:nvPr>
            <p:ph type="sldNum" sz="quarter" idx="5"/>
          </p:nvPr>
        </p:nvSpPr>
        <p:spPr/>
        <p:txBody>
          <a:bodyPr/>
          <a:lstStyle/>
          <a:p>
            <a:fld id="{6BA05DA8-C72F-4E70-B8E5-22B7D26EA277}" type="slidenum">
              <a:rPr lang="de-DE" smtClean="0"/>
              <a:pPr/>
              <a:t>15</a:t>
            </a:fld>
            <a:endParaRPr lang="de-DE"/>
          </a:p>
        </p:txBody>
      </p:sp>
    </p:spTree>
    <p:extLst>
      <p:ext uri="{BB962C8B-B14F-4D97-AF65-F5344CB8AC3E}">
        <p14:creationId xmlns:p14="http://schemas.microsoft.com/office/powerpoint/2010/main" val="3282891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lvl="0" indent="-171450">
              <a:buFont typeface="Arial" panose="020B0604020202020204" pitchFamily="34" charset="0"/>
              <a:buChar char="•"/>
            </a:pPr>
            <a:r>
              <a:rPr lang="de-DE" sz="1100" dirty="0">
                <a:effectLst/>
                <a:latin typeface="Calibri" panose="020F0502020204030204" pitchFamily="34" charset="0"/>
                <a:ea typeface="Calibri" panose="020F0502020204030204" pitchFamily="34" charset="0"/>
              </a:rPr>
              <a:t>Seit 2010 arbeiten wir mit Habitat for Humanity zusammen, anfänglich v.a. in der Katastrophenhilfe und dem Wiederaufbau. Insgesamt wurden bisher Projekte über 4 Mio. Euro gemeinsam umgesetzt. Immer gute und zeitnahe Berichte, gute Darstellung der Unterstützung von Lions vor Ort</a:t>
            </a:r>
          </a:p>
          <a:p>
            <a:pPr marL="171450" lvl="0" indent="-171450">
              <a:buFont typeface="Arial" panose="020B0604020202020204" pitchFamily="34" charset="0"/>
              <a:buChar char="•"/>
            </a:pPr>
            <a:r>
              <a:rPr lang="de-DE" sz="1100" dirty="0">
                <a:effectLst/>
                <a:latin typeface="Calibri" panose="020F0502020204030204" pitchFamily="34" charset="0"/>
                <a:ea typeface="Calibri" panose="020F0502020204030204" pitchFamily="34" charset="0"/>
              </a:rPr>
              <a:t>Habitat for </a:t>
            </a:r>
            <a:r>
              <a:rPr lang="de-DE" sz="1100" dirty="0" err="1">
                <a:effectLst/>
                <a:latin typeface="Calibri" panose="020F0502020204030204" pitchFamily="34" charset="0"/>
                <a:ea typeface="Calibri" panose="020F0502020204030204" pitchFamily="34" charset="0"/>
              </a:rPr>
              <a:t>Humanity</a:t>
            </a:r>
            <a:r>
              <a:rPr lang="de-DE" sz="1100" dirty="0">
                <a:effectLst/>
                <a:latin typeface="Calibri" panose="020F0502020204030204" pitchFamily="34" charset="0"/>
                <a:ea typeface="Calibri" panose="020F0502020204030204" pitchFamily="34" charset="0"/>
              </a:rPr>
              <a:t> wendet sich jährlich mit einem Projektvorschlag an die Lions. Dieser wurde durch eine Anfrage auf Unterstützung der Regierung / der lokalen Bevölkerung durch die lokalen Mitarbeiter ausgearbeitet. Dazu sind sie auch in die Region gefahren, haben sich die Sorgen und Nöte der Menschen sowie ihre Vorstellungen für eine Verbesserung angehört.</a:t>
            </a:r>
          </a:p>
          <a:p>
            <a:pPr marL="171450" lvl="0" indent="-171450">
              <a:buFont typeface="Arial" panose="020B0604020202020204" pitchFamily="34" charset="0"/>
              <a:buChar char="•"/>
            </a:pPr>
            <a:r>
              <a:rPr lang="de-DE" sz="1100" dirty="0">
                <a:effectLst/>
                <a:latin typeface="Calibri" panose="020F0502020204030204" pitchFamily="34" charset="0"/>
                <a:ea typeface="Calibri" panose="020F0502020204030204" pitchFamily="34" charset="0"/>
              </a:rPr>
              <a:t>Das BMZ hat unsere Projekte bei der Voranmeldung im März bisher immer mit A priorisiert. Das bedeutet, dass das BMZ das Projekt als wichtig und unterstützenswert bewertet. Die</a:t>
            </a:r>
            <a:r>
              <a:rPr lang="de-DE" sz="1400" dirty="0">
                <a:effectLst/>
                <a:latin typeface="Calibri" panose="020F0502020204030204" pitchFamily="34" charset="0"/>
                <a:ea typeface="Calibri" panose="020F0502020204030204" pitchFamily="34" charset="0"/>
              </a:rPr>
              <a:t> Zuschusssumme ist in den Haushalt eingestellt und ist verfügbar, solange ein guter Antrag fristgerecht eingereicht wird. Bisher haben alle Projekte der Lions mit einer A-Priorisierung auch eine Bewilligung erhalten.</a:t>
            </a:r>
          </a:p>
          <a:p>
            <a:pPr marL="171450" lvl="0" indent="-171450">
              <a:buFont typeface="Arial" panose="020B0604020202020204" pitchFamily="34" charset="0"/>
              <a:buChar char="•"/>
            </a:pPr>
            <a:r>
              <a:rPr lang="de-DE" sz="1400" dirty="0">
                <a:effectLst/>
                <a:latin typeface="Calibri" panose="020F0502020204030204" pitchFamily="34" charset="0"/>
                <a:ea typeface="Calibri" panose="020F0502020204030204" pitchFamily="34" charset="0"/>
              </a:rPr>
              <a:t>Zur Detailplanung reist eine Mitarbeiterin der Stiftung und wenn möglich der </a:t>
            </a:r>
            <a:r>
              <a:rPr lang="de-DE" sz="1400" dirty="0" err="1">
                <a:effectLst/>
                <a:latin typeface="Calibri" panose="020F0502020204030204" pitchFamily="34" charset="0"/>
                <a:ea typeface="Calibri" panose="020F0502020204030204" pitchFamily="34" charset="0"/>
              </a:rPr>
              <a:t>GRWaSH</a:t>
            </a:r>
            <a:r>
              <a:rPr lang="de-DE" sz="1400" dirty="0">
                <a:effectLst/>
                <a:latin typeface="Calibri" panose="020F0502020204030204" pitchFamily="34" charset="0"/>
                <a:ea typeface="Calibri" panose="020F0502020204030204" pitchFamily="34" charset="0"/>
              </a:rPr>
              <a:t> in das jeweilige Land. Sie werden zusammen mit dem Team den aktuellen Vorschlag nochmal prüfen, fachlichen Input der </a:t>
            </a:r>
            <a:r>
              <a:rPr lang="de-DE" sz="1400" dirty="0" err="1">
                <a:effectLst/>
                <a:latin typeface="Calibri" panose="020F0502020204030204" pitchFamily="34" charset="0"/>
                <a:ea typeface="Calibri" panose="020F0502020204030204" pitchFamily="34" charset="0"/>
              </a:rPr>
              <a:t>KWaSH</a:t>
            </a:r>
            <a:r>
              <a:rPr lang="de-DE" sz="1400" dirty="0">
                <a:effectLst/>
                <a:latin typeface="Calibri" panose="020F0502020204030204" pitchFamily="34" charset="0"/>
                <a:ea typeface="Calibri" panose="020F0502020204030204" pitchFamily="34" charset="0"/>
              </a:rPr>
              <a:t> und WaSH-Experten der Lions mitbringen und auch die Ergebnisse der ersten Sondierung vor Ort verifizieren.</a:t>
            </a:r>
          </a:p>
          <a:p>
            <a:pPr marL="171450" lvl="0" indent="-171450">
              <a:buFont typeface="Arial" panose="020B0604020202020204" pitchFamily="34" charset="0"/>
              <a:buChar char="•"/>
            </a:pPr>
            <a:r>
              <a:rPr lang="de-DE" sz="1400" dirty="0">
                <a:effectLst/>
                <a:latin typeface="Calibri" panose="020F0502020204030204" pitchFamily="34" charset="0"/>
                <a:ea typeface="Calibri" panose="020F0502020204030204" pitchFamily="34" charset="0"/>
              </a:rPr>
              <a:t>Im März wird der Antrag dann dem BMZ vorgelegt. In mehreren Diskussionsschleifen werden letzte Details geklärt und auf eventuelle Änderungswünsche des BMZ reagiert. Dadurch können sich Projektbestandteile bis zur endgültigen Bewilligung durch das BMZ noch verändern. </a:t>
            </a:r>
          </a:p>
          <a:p>
            <a:pPr marL="171450" lvl="0" indent="-171450">
              <a:buFont typeface="Arial" panose="020B0604020202020204" pitchFamily="34" charset="0"/>
              <a:buChar char="•"/>
            </a:pPr>
            <a:r>
              <a:rPr lang="de-DE" sz="1400" dirty="0">
                <a:effectLst/>
                <a:latin typeface="Calibri" panose="020F0502020204030204" pitchFamily="34" charset="0"/>
                <a:ea typeface="Calibri" panose="020F0502020204030204" pitchFamily="34" charset="0"/>
              </a:rPr>
              <a:t>Start des Projektes ist meistens im Herbst</a:t>
            </a:r>
          </a:p>
          <a:p>
            <a:pPr marL="171450" lvl="0" indent="-171450">
              <a:buFont typeface="Arial" panose="020B0604020202020204" pitchFamily="34" charset="0"/>
              <a:buChar char="•"/>
            </a:pPr>
            <a:endParaRPr lang="de-DE" sz="1400" dirty="0">
              <a:effectLst/>
              <a:latin typeface="Calibri" panose="020F0502020204030204" pitchFamily="34" charset="0"/>
              <a:ea typeface="Calibri" panose="020F0502020204030204" pitchFamily="34" charset="0"/>
            </a:endParaRPr>
          </a:p>
          <a:p>
            <a:pPr marL="185766" indent="-185766" defTabSz="990752">
              <a:buFontTx/>
              <a:buChar char="-"/>
              <a:defRPr/>
            </a:pPr>
            <a:endParaRPr lang="de-DE" sz="1300" dirty="0"/>
          </a:p>
        </p:txBody>
      </p:sp>
      <p:sp>
        <p:nvSpPr>
          <p:cNvPr id="4" name="Foliennummernplatzhalter 3"/>
          <p:cNvSpPr>
            <a:spLocks noGrp="1"/>
          </p:cNvSpPr>
          <p:nvPr>
            <p:ph type="sldNum" sz="quarter" idx="5"/>
          </p:nvPr>
        </p:nvSpPr>
        <p:spPr/>
        <p:txBody>
          <a:bodyPr/>
          <a:lstStyle/>
          <a:p>
            <a:fld id="{6BA05DA8-C72F-4E70-B8E5-22B7D26EA277}" type="slidenum">
              <a:rPr lang="de-DE" smtClean="0"/>
              <a:pPr/>
              <a:t>16</a:t>
            </a:fld>
            <a:endParaRPr lang="de-DE"/>
          </a:p>
        </p:txBody>
      </p:sp>
    </p:spTree>
    <p:extLst>
      <p:ext uri="{BB962C8B-B14F-4D97-AF65-F5344CB8AC3E}">
        <p14:creationId xmlns:p14="http://schemas.microsoft.com/office/powerpoint/2010/main" val="35399667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defTabSz="990752">
              <a:buFontTx/>
              <a:buChar char="-"/>
              <a:defRPr/>
            </a:pPr>
            <a:r>
              <a:rPr lang="de-DE" dirty="0">
                <a:effectLst/>
              </a:rPr>
              <a:t>Seit 2002 tragen wir das Siegel des </a:t>
            </a:r>
            <a:r>
              <a:rPr lang="de-DE" b="1" dirty="0">
                <a:effectLst/>
              </a:rPr>
              <a:t>Deutschen Zentralinstituts für soziale Fragen </a:t>
            </a:r>
          </a:p>
          <a:p>
            <a:pPr marL="628650" lvl="1" indent="-171450" defTabSz="990752">
              <a:buFontTx/>
              <a:buChar char="-"/>
              <a:defRPr/>
            </a:pPr>
            <a:r>
              <a:rPr lang="de-DE" dirty="0"/>
              <a:t>Das DZI Spenden-Siegel belegt, dass eine Organisation mit den ihr anvertrauten Geldern sorgfältig und verantwortungsvoll umgeht. Mehr noch: Siegel-Organisationen verpflichten sich freiwillig, die DZI-Standards zu erfüllen und damit höchsten Qualitätsansprüchen gerecht zu werden. Sie sind leistungsfähig, arbeiten transparent, wirtschaften sparsam, informieren sachlich und wahrhaftig und haben wirksame Kontroll- und Aufsichtsstrukturen. Auf diese Weise gewährleisten sie, dass die ihnen zufließenden Spenden den gemeinnützigen Zweck erfüllen.</a:t>
            </a:r>
          </a:p>
          <a:p>
            <a:pPr marL="628650" lvl="1" indent="-171450" defTabSz="990752">
              <a:buFontTx/>
              <a:buChar char="-"/>
              <a:defRPr/>
            </a:pPr>
            <a:r>
              <a:rPr lang="de-DE" dirty="0"/>
              <a:t>Die DZI Spendenberatung ist weder eine staatliche Einrichtung noch ein privatwirtschaftliches Unternehmen. Als Arbeitsbereich des DZI ist die Spendenberatung eine unabhängige wissenschaftliche Dokumentations- und Auskunftsstelle. Sie erfüllt mit dem Spenderschutz eine wichtige Aufgabe des Verbraucherschutzes und arbeitet in diesem Zusammenhang etwa mit den Verbraucherzentralen eng zusammen. Dieser Zweck ist auch in der Stiftungssatzung des DZI niedergelegt. Dem Vorstand der Stiftung DZI gehören Repräsentanten des Staates, der Wirtschaft und des gemeinnützigen Sektors an. Damit wird die Neutralität und Unabhängigkeit des DZI gesichert.</a:t>
            </a:r>
            <a:endParaRPr lang="de-DE" dirty="0">
              <a:effectLst/>
            </a:endParaRPr>
          </a:p>
          <a:p>
            <a:pPr marL="171450" indent="-171450" defTabSz="990752">
              <a:buFontTx/>
              <a:buChar char="-"/>
              <a:defRPr/>
            </a:pPr>
            <a:r>
              <a:rPr lang="de-DE" dirty="0">
                <a:effectLst/>
              </a:rPr>
              <a:t>Durch </a:t>
            </a:r>
            <a:r>
              <a:rPr lang="de-DE" b="1" dirty="0">
                <a:effectLst/>
              </a:rPr>
              <a:t>ein enges Monitoring der Stiftung </a:t>
            </a:r>
            <a:r>
              <a:rPr lang="de-DE" dirty="0">
                <a:effectLst/>
              </a:rPr>
              <a:t>und die transparente Berichterstattung des Partners wird sichergestellt, dass die Gelder verantwortungsvoll eingesetzt werden.</a:t>
            </a:r>
          </a:p>
          <a:p>
            <a:pPr marL="171450" indent="-171450" defTabSz="990752">
              <a:buFontTx/>
              <a:buChar char="-"/>
              <a:defRPr/>
            </a:pPr>
            <a:r>
              <a:rPr lang="de-DE" dirty="0"/>
              <a:t>Da das Projekt für eine Förderung durch das Bundesministerium für wirtschaftliche Zusammenarbeit und Entwicklung (BMZ) angemeldet ist, werden wir strenge Kriterien und Richtlinien für die Rechenschaftslegung erfüllen. Dazu gehört eine </a:t>
            </a:r>
            <a:r>
              <a:rPr lang="de-DE" b="1" dirty="0"/>
              <a:t>End-Evaluierung der Projekte nach den internationalen DAC-Kriterien</a:t>
            </a:r>
            <a:r>
              <a:rPr lang="de-DE" dirty="0"/>
              <a:t>, Diese wird von einem externen Prüfer durchgeführt und unsere Zielerreichung anhand im Antrag definierter Kriterien qualitativ und quantitativ nachvollzogen.</a:t>
            </a:r>
          </a:p>
          <a:p>
            <a:pPr marL="171450" indent="-171450" defTabSz="990752">
              <a:buFontTx/>
              <a:buChar char="-"/>
              <a:defRPr/>
            </a:pPr>
            <a:r>
              <a:rPr lang="de-DE" dirty="0"/>
              <a:t>Alle Projektausgaben werden von einem externen Buchprüfer verifiziert, der von der Handelskammer anerkannt sein muss</a:t>
            </a:r>
          </a:p>
          <a:p>
            <a:pPr marL="0" indent="0" defTabSz="990752">
              <a:buFontTx/>
              <a:buNone/>
              <a:defRPr/>
            </a:pPr>
            <a:endParaRPr lang="de-DE" dirty="0"/>
          </a:p>
        </p:txBody>
      </p:sp>
      <p:sp>
        <p:nvSpPr>
          <p:cNvPr id="4" name="Foliennummernplatzhalter 3"/>
          <p:cNvSpPr>
            <a:spLocks noGrp="1"/>
          </p:cNvSpPr>
          <p:nvPr>
            <p:ph type="sldNum" sz="quarter" idx="5"/>
          </p:nvPr>
        </p:nvSpPr>
        <p:spPr/>
        <p:txBody>
          <a:bodyPr/>
          <a:lstStyle/>
          <a:p>
            <a:fld id="{6BA05DA8-C72F-4E70-B8E5-22B7D26EA277}" type="slidenum">
              <a:rPr lang="de-DE" smtClean="0"/>
              <a:pPr/>
              <a:t>17</a:t>
            </a:fld>
            <a:endParaRPr lang="de-DE"/>
          </a:p>
        </p:txBody>
      </p:sp>
    </p:spTree>
    <p:extLst>
      <p:ext uri="{BB962C8B-B14F-4D97-AF65-F5344CB8AC3E}">
        <p14:creationId xmlns:p14="http://schemas.microsoft.com/office/powerpoint/2010/main" val="37016490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lvl="0" indent="-342900">
              <a:buFont typeface="Calibri" panose="020F0502020204030204" pitchFamily="34" charset="0"/>
              <a:buChar char="-"/>
            </a:pPr>
            <a:r>
              <a:rPr lang="de-DE" sz="1100" dirty="0">
                <a:effectLst/>
                <a:latin typeface="Calibri" panose="020F0502020204030204" pitchFamily="34" charset="0"/>
                <a:ea typeface="Times New Roman" panose="02020603050405020304" pitchFamily="18" charset="0"/>
              </a:rPr>
              <a:t>Durch die Mitfinanzierung durch unseren lokalen Partner Habitat for </a:t>
            </a:r>
            <a:r>
              <a:rPr lang="de-DE" sz="1100" dirty="0" err="1">
                <a:effectLst/>
                <a:latin typeface="Calibri" panose="020F0502020204030204" pitchFamily="34" charset="0"/>
                <a:ea typeface="Times New Roman" panose="02020603050405020304" pitchFamily="18" charset="0"/>
              </a:rPr>
              <a:t>Humanity</a:t>
            </a:r>
            <a:r>
              <a:rPr lang="de-DE" sz="1100" dirty="0">
                <a:effectLst/>
                <a:latin typeface="Calibri" panose="020F0502020204030204" pitchFamily="34" charset="0"/>
                <a:ea typeface="Times New Roman" panose="02020603050405020304" pitchFamily="18" charset="0"/>
              </a:rPr>
              <a:t> Malawi sowie der bisher immer bewilligten Förderung für unsere WaSH-Projekte können die Lions-Mittel wieder vervielfacht werden</a:t>
            </a:r>
          </a:p>
          <a:p>
            <a:pPr marL="342900" lvl="0" indent="-342900">
              <a:buFont typeface="Calibri" panose="020F0502020204030204" pitchFamily="34" charset="0"/>
              <a:buChar char="-"/>
            </a:pPr>
            <a:r>
              <a:rPr lang="de-DE" sz="1100" i="0" dirty="0">
                <a:effectLst/>
                <a:latin typeface="Aptos" panose="020B0004020202020204" pitchFamily="34" charset="0"/>
                <a:ea typeface="Aptos" panose="020B0004020202020204" pitchFamily="34" charset="0"/>
                <a:cs typeface="Times New Roman" panose="02020603050405020304" pitchFamily="18" charset="0"/>
              </a:rPr>
              <a:t>Bisher hat dieses Konzept das Bundesministerium für internationale Zusammenarbeit überzeugt, jeweils 75 % der bisherigen Projekte zu finanzieren, deutsche Lions und unser lokaler Partner kommen für die restlichen 25 % auf</a:t>
            </a:r>
            <a:endParaRPr lang="de-DE" sz="1100" dirty="0">
              <a:effectLst/>
              <a:latin typeface="Calibri" panose="020F0502020204030204" pitchFamily="34" charset="0"/>
              <a:ea typeface="Times New Roman" panose="02020603050405020304" pitchFamily="18" charset="0"/>
            </a:endParaRPr>
          </a:p>
        </p:txBody>
      </p:sp>
      <p:sp>
        <p:nvSpPr>
          <p:cNvPr id="4" name="Foliennummernplatzhalter 3"/>
          <p:cNvSpPr>
            <a:spLocks noGrp="1"/>
          </p:cNvSpPr>
          <p:nvPr>
            <p:ph type="sldNum" sz="quarter" idx="5"/>
          </p:nvPr>
        </p:nvSpPr>
        <p:spPr/>
        <p:txBody>
          <a:bodyPr/>
          <a:lstStyle/>
          <a:p>
            <a:fld id="{6BA05DA8-C72F-4E70-B8E5-22B7D26EA277}" type="slidenum">
              <a:rPr lang="de-DE" smtClean="0"/>
              <a:pPr/>
              <a:t>18</a:t>
            </a:fld>
            <a:endParaRPr lang="de-DE"/>
          </a:p>
        </p:txBody>
      </p:sp>
    </p:spTree>
    <p:extLst>
      <p:ext uri="{BB962C8B-B14F-4D97-AF65-F5344CB8AC3E}">
        <p14:creationId xmlns:p14="http://schemas.microsoft.com/office/powerpoint/2010/main" val="36257320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15000"/>
              </a:lnSpc>
              <a:spcAft>
                <a:spcPts val="800"/>
              </a:spcAft>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WaSH ist wichtig, für uns hier und für die Menschen weltweit, und die deutschen Lions haben sich diesem Thema verpflichtet.</a:t>
            </a:r>
          </a:p>
          <a:p>
            <a:pPr marL="285750" indent="-285750">
              <a:lnSpc>
                <a:spcPct val="115000"/>
              </a:lnSpc>
              <a:spcAft>
                <a:spcPts val="800"/>
              </a:spcAft>
              <a:buFont typeface="Arial" panose="020B0604020202020204" pitchFamily="34" charset="0"/>
              <a:buChar char="•"/>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Reservieren Sie deshalb Ihre </a:t>
            </a:r>
            <a:r>
              <a:rPr lang="de-DE" sz="1800" b="1" kern="100" dirty="0">
                <a:effectLst/>
                <a:latin typeface="Aptos" panose="020B0004020202020204" pitchFamily="34" charset="0"/>
                <a:ea typeface="Aptos" panose="020B0004020202020204" pitchFamily="34" charset="0"/>
                <a:cs typeface="Times New Roman" panose="02020603050405020304" pitchFamily="18" charset="0"/>
              </a:rPr>
              <a:t>persönliche Weihnachtsspende</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für das WaSH-Projekt, für das sich der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Governorrat</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ausgesprochen hat. In inzwischen guter Tradition wird der GRV in seinem Weihnachtsbrief Anfang Dezember jeden Lion persönlich dazu aufrufen, für dieses Lions-Großprojekt zu spenden. Jeder Euro zählt!</a:t>
            </a:r>
          </a:p>
          <a:p>
            <a:pPr marL="285750" indent="-285750">
              <a:lnSpc>
                <a:spcPct val="115000"/>
              </a:lnSpc>
              <a:spcAft>
                <a:spcPts val="800"/>
              </a:spcAft>
              <a:buFont typeface="Arial" panose="020B0604020202020204" pitchFamily="34" charset="0"/>
              <a:buChar char="•"/>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Auch über zusätzliches Engagement Ihres Clubs freuen wir uns! Überzeugen Sie Ihren Club, dem Projekt eine Activity zu widmen oder generell ein Budget für die WaSH-Projekte der Lions einzuplanen.</a:t>
            </a:r>
          </a:p>
          <a:p>
            <a:pPr marL="285750" indent="-285750">
              <a:lnSpc>
                <a:spcPct val="115000"/>
              </a:lnSpc>
              <a:spcAft>
                <a:spcPts val="800"/>
              </a:spcAft>
              <a:buFont typeface="Arial" panose="020B0604020202020204" pitchFamily="34" charset="0"/>
              <a:buChar char="•"/>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Auch mit einer Anlassspende können Sie helfen: Mit Spenden statt Geschenken bei Geburtstagen, Jubiläen oder auch Trauerfeiern tun Sie Gutes und ihre Freunde bekommen neben der Spendenbescheinigung einen durch Sie personalisierten Dankbrief.</a:t>
            </a:r>
          </a:p>
          <a:p>
            <a:pPr marL="285750" indent="-285750">
              <a:lnSpc>
                <a:spcPct val="115000"/>
              </a:lnSpc>
              <a:spcAft>
                <a:spcPts val="800"/>
              </a:spcAft>
              <a:buFont typeface="Arial" panose="020B0604020202020204" pitchFamily="34" charset="0"/>
              <a:buChar char="•"/>
            </a:pPr>
            <a:endParaRPr lang="de-DE" sz="1800" kern="100" dirty="0">
              <a:effectLst/>
              <a:latin typeface="Aptos" panose="020B0004020202020204" pitchFamily="34" charset="0"/>
              <a:ea typeface="Aptos" panose="020B0004020202020204" pitchFamily="34" charset="0"/>
              <a:cs typeface="Times New Roman" panose="02020603050405020304" pitchFamily="18" charset="0"/>
            </a:endParaRPr>
          </a:p>
          <a:p>
            <a:pPr marL="285750" indent="-285750">
              <a:lnSpc>
                <a:spcPct val="115000"/>
              </a:lnSpc>
              <a:spcAft>
                <a:spcPts val="800"/>
              </a:spcAft>
              <a:buFont typeface="Arial" panose="020B0604020202020204" pitchFamily="34" charset="0"/>
              <a:buChar char="•"/>
            </a:pPr>
            <a:endParaRPr lang="de-DE"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800"/>
              </a:spcAft>
              <a:buClrTx/>
              <a:buSzTx/>
              <a:buFont typeface="Arial" panose="020B0604020202020204" pitchFamily="34" charset="0"/>
              <a:buNone/>
              <a:tabLst/>
              <a:defRPr/>
            </a:pPr>
            <a:r>
              <a:rPr lang="de-DE" sz="1800" dirty="0">
                <a:solidFill>
                  <a:schemeClr val="tx1">
                    <a:lumMod val="65000"/>
                    <a:lumOff val="35000"/>
                  </a:schemeClr>
                </a:solidFill>
              </a:rPr>
              <a:t>„Wir wollen nur lokal spenden“: Es heißt nicht „Entweder oder“, es geht auch beides!</a:t>
            </a:r>
            <a:r>
              <a:rPr lang="de-DE" sz="2400" dirty="0">
                <a:solidFill>
                  <a:schemeClr val="tx1">
                    <a:lumMod val="65000"/>
                    <a:lumOff val="35000"/>
                  </a:schemeClr>
                </a:solidFill>
              </a:rPr>
              <a:t> </a:t>
            </a:r>
          </a:p>
          <a:p>
            <a:pPr marL="0" indent="0">
              <a:lnSpc>
                <a:spcPct val="115000"/>
              </a:lnSpc>
              <a:spcAft>
                <a:spcPts val="800"/>
              </a:spcAft>
              <a:buFont typeface="Arial" panose="020B0604020202020204" pitchFamily="34" charset="0"/>
              <a:buNone/>
            </a:pPr>
            <a:endParaRPr lang="de-DE" sz="1800" kern="100" dirty="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fld id="{6BA05DA8-C72F-4E70-B8E5-22B7D26EA277}" type="slidenum">
              <a:rPr lang="de-DE" smtClean="0"/>
              <a:pPr/>
              <a:t>21</a:t>
            </a:fld>
            <a:endParaRPr lang="de-DE" dirty="0"/>
          </a:p>
        </p:txBody>
      </p:sp>
    </p:spTree>
    <p:extLst>
      <p:ext uri="{BB962C8B-B14F-4D97-AF65-F5344CB8AC3E}">
        <p14:creationId xmlns:p14="http://schemas.microsoft.com/office/powerpoint/2010/main" val="6019522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90752" rtl="0" eaLnBrk="1" fontAlgn="auto" latinLnBrk="0" hangingPunct="1">
              <a:lnSpc>
                <a:spcPct val="100000"/>
              </a:lnSpc>
              <a:spcBef>
                <a:spcPts val="0"/>
              </a:spcBef>
              <a:spcAft>
                <a:spcPts val="0"/>
              </a:spcAft>
              <a:buClrTx/>
              <a:buSzTx/>
              <a:buFontTx/>
              <a:buNone/>
              <a:tabLst/>
              <a:defRPr/>
            </a:pPr>
            <a:r>
              <a:rPr lang="de-DE" sz="1400" noProof="0" dirty="0">
                <a:effectLst/>
                <a:latin typeface="Arial" panose="020B0604020202020204" pitchFamily="34" charset="0"/>
              </a:rPr>
              <a:t>Die Ergebnisse und die Dankbarkeit der Menschen aus unserem WaSH-Projekt in Malawi von 2021/22 zeigen, dass Ihre Hilfe ankommt!</a:t>
            </a:r>
          </a:p>
        </p:txBody>
      </p:sp>
      <p:sp>
        <p:nvSpPr>
          <p:cNvPr id="4" name="Foliennummernplatzhalter 3"/>
          <p:cNvSpPr>
            <a:spLocks noGrp="1"/>
          </p:cNvSpPr>
          <p:nvPr>
            <p:ph type="sldNum" sz="quarter" idx="5"/>
          </p:nvPr>
        </p:nvSpPr>
        <p:spPr/>
        <p:txBody>
          <a:bodyPr/>
          <a:lstStyle/>
          <a:p>
            <a:fld id="{6BA05DA8-C72F-4E70-B8E5-22B7D26EA277}" type="slidenum">
              <a:rPr lang="de-DE" smtClean="0"/>
              <a:pPr/>
              <a:t>22</a:t>
            </a:fld>
            <a:endParaRPr lang="de-DE"/>
          </a:p>
        </p:txBody>
      </p:sp>
    </p:spTree>
    <p:extLst>
      <p:ext uri="{BB962C8B-B14F-4D97-AF65-F5344CB8AC3E}">
        <p14:creationId xmlns:p14="http://schemas.microsoft.com/office/powerpoint/2010/main" val="10108959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0116A731-5E76-4190-B805-4A9AC832BFD5}" type="slidenum">
              <a:rPr lang="en-US" smtClean="0"/>
              <a:t>23</a:t>
            </a:fld>
            <a:endParaRPr lang="en-US"/>
          </a:p>
        </p:txBody>
      </p:sp>
    </p:spTree>
    <p:extLst>
      <p:ext uri="{BB962C8B-B14F-4D97-AF65-F5344CB8AC3E}">
        <p14:creationId xmlns:p14="http://schemas.microsoft.com/office/powerpoint/2010/main" val="1182068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Arial" panose="020B0604020202020204" pitchFamily="34" charset="0"/>
                <a:ea typeface="+mn-ea"/>
                <a:cs typeface="+mn-cs"/>
              </a:rPr>
              <a:t>Die Verfügbarkeit von Wasser für alle Nutzungen – insbesondere zum Trinken, für die Hygiene, und für die Herstellung und Verarbeitung von Nahrungsmitteln – kann über Wohlstand oder Gesundheit entscheiden. </a:t>
            </a:r>
            <a:endParaRPr lang="de-DE" sz="1200" dirty="0"/>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Arial" panose="020B0604020202020204" pitchFamily="34" charset="0"/>
                <a:ea typeface="+mn-ea"/>
                <a:cs typeface="+mn-cs"/>
              </a:rPr>
              <a:t>Das Konsumverhalten und die Einstellung zum Umgang mit der knappen Ressource Wasser beeinflussen deren Verfügbarkeit, die regional höchst verschieden ist. Wassermangel, Überflutungen und eine zunehmende Niederschlagsvariabilität beeinträchtigen die Lebensgrundlagen vieler Menschen weltweit und haben </a:t>
            </a:r>
            <a:r>
              <a:rPr lang="de-DE" sz="1200" baseline="0" dirty="0"/>
              <a:t>Auswirkungen auf Gesundheit, Geschlechtergleichstellung, Energie, Wirtschaft und Industrie, Städte sowie Ernährung, Land- und Forstwirtschaft. </a:t>
            </a:r>
            <a:endParaRPr lang="de-DE" sz="1200" dirty="0"/>
          </a:p>
        </p:txBody>
      </p:sp>
      <p:sp>
        <p:nvSpPr>
          <p:cNvPr id="4" name="Foliennummernplatzhalter 3"/>
          <p:cNvSpPr>
            <a:spLocks noGrp="1"/>
          </p:cNvSpPr>
          <p:nvPr>
            <p:ph type="sldNum" sz="quarter" idx="5"/>
          </p:nvPr>
        </p:nvSpPr>
        <p:spPr/>
        <p:txBody>
          <a:bodyPr/>
          <a:lstStyle/>
          <a:p>
            <a:fld id="{0116A731-5E76-4190-B805-4A9AC832BFD5}" type="slidenum">
              <a:rPr lang="en-US" smtClean="0"/>
              <a:pPr/>
              <a:t>2</a:t>
            </a:fld>
            <a:endParaRPr lang="en-US"/>
          </a:p>
        </p:txBody>
      </p:sp>
    </p:spTree>
    <p:extLst>
      <p:ext uri="{BB962C8B-B14F-4D97-AF65-F5344CB8AC3E}">
        <p14:creationId xmlns:p14="http://schemas.microsoft.com/office/powerpoint/2010/main" val="9247612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030E47-A5CB-C070-F430-970FE52824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116F18-4E9F-96B4-3E69-F3F52C8235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02AA33-B98E-18D9-2207-5846F76D2EE5}"/>
              </a:ext>
            </a:extLst>
          </p:cNvPr>
          <p:cNvSpPr>
            <a:spLocks noGrp="1"/>
          </p:cNvSpPr>
          <p:nvPr>
            <p:ph type="body" idx="1"/>
          </p:nvPr>
        </p:nvSpPr>
        <p:spPr/>
        <p:txBody>
          <a:bodyPr/>
          <a:lstStyle/>
          <a:p>
            <a:pPr marL="285750" indent="-285750">
              <a:lnSpc>
                <a:spcPct val="107000"/>
              </a:lnSpc>
              <a:spcAft>
                <a:spcPts val="800"/>
              </a:spcAft>
              <a:buFontTx/>
              <a:buChar char="-"/>
            </a:pPr>
            <a:r>
              <a:rPr lang="de-DE" sz="1200" kern="100" dirty="0">
                <a:effectLst/>
                <a:latin typeface="Calibri" panose="020F0502020204030204" pitchFamily="34" charset="0"/>
                <a:ea typeface="Calibri" panose="020F0502020204030204" pitchFamily="34" charset="0"/>
                <a:cs typeface="Times New Roman" panose="02020603050405020304" pitchFamily="18" charset="0"/>
              </a:rPr>
              <a:t>Derzeit leben ca. 8 Milliarden Menschen auf unserem Globus</a:t>
            </a:r>
          </a:p>
          <a:p>
            <a:pPr marL="285750" indent="-285750">
              <a:lnSpc>
                <a:spcPct val="107000"/>
              </a:lnSpc>
              <a:spcAft>
                <a:spcPts val="800"/>
              </a:spcAft>
              <a:buFontTx/>
              <a:buChar char="-"/>
            </a:pPr>
            <a:r>
              <a:rPr lang="de-DE" sz="1200" kern="100" dirty="0">
                <a:effectLst/>
                <a:latin typeface="Calibri" panose="020F0502020204030204" pitchFamily="34" charset="0"/>
                <a:ea typeface="Calibri" panose="020F0502020204030204" pitchFamily="34" charset="0"/>
                <a:cs typeface="Times New Roman" panose="02020603050405020304" pitchFamily="18" charset="0"/>
              </a:rPr>
              <a:t>2 Milliarden Menschen haben keinen Zugang zu sauberem Wasser, müssen lange strecken mit schweren Wassereimern zurücklegen, werden krank,…</a:t>
            </a:r>
          </a:p>
          <a:p>
            <a:pPr marL="285750" indent="-285750">
              <a:lnSpc>
                <a:spcPct val="107000"/>
              </a:lnSpc>
              <a:spcAft>
                <a:spcPts val="800"/>
              </a:spcAft>
              <a:buFontTx/>
              <a:buChar char="-"/>
            </a:pPr>
            <a:r>
              <a:rPr lang="de-DE" sz="1200" kern="100" dirty="0">
                <a:effectLst/>
                <a:latin typeface="Calibri" panose="020F0502020204030204" pitchFamily="34" charset="0"/>
                <a:ea typeface="Calibri" panose="020F0502020204030204" pitchFamily="34" charset="0"/>
                <a:cs typeface="Times New Roman" panose="02020603050405020304" pitchFamily="18" charset="0"/>
              </a:rPr>
              <a:t>3,6 Milliarden haben keinen Zugang zu sicheren Sanitäranlagen, offene Defäkation ist an der Tagesordnung. Die Mehrzahl der einfachen Toiletten bestehen aus in den Boden gegrabene Löcher, die oft Brutstätten für Viren und Bakterien sind und damit ihre Umwelt gefährden. </a:t>
            </a:r>
          </a:p>
          <a:p>
            <a:pPr marL="285750" indent="-285750">
              <a:lnSpc>
                <a:spcPct val="107000"/>
              </a:lnSpc>
              <a:spcAft>
                <a:spcPts val="800"/>
              </a:spcAft>
              <a:buFontTx/>
              <a:buChar char="-"/>
            </a:pPr>
            <a:r>
              <a:rPr lang="de-DE" sz="1200" kern="100" dirty="0">
                <a:effectLst/>
                <a:latin typeface="Calibri" panose="020F0502020204030204" pitchFamily="34" charset="0"/>
                <a:ea typeface="Calibri" panose="020F0502020204030204" pitchFamily="34" charset="0"/>
                <a:cs typeface="Times New Roman" panose="02020603050405020304" pitchFamily="18" charset="0"/>
              </a:rPr>
              <a:t>Täglich sterben über 1.000 Kinder unter 5 Jahren an durch kontaminiertes Wasser verursachten Krankheiten, vor allem Durchfall und dadurch Mangelernährung. Das sind nur die Todesfälle, zudem ist der fehlende Zugang zu Sanitäreinrichtungen der wichtigste Faktor bei der Verbreitung von tropischen Wurmerkrankungen und Augenerkrankung (Trachom), von denen laut WHO weltweit mehr als 1,5 Milliarden Menschen pro Jahr betroffen sind</a:t>
            </a:r>
          </a:p>
          <a:p>
            <a:pPr marL="285750" marR="0" lvl="0" indent="-285750" algn="l" defTabSz="914400" rtl="0" eaLnBrk="1" fontAlgn="auto" latinLnBrk="0" hangingPunct="1">
              <a:lnSpc>
                <a:spcPct val="107000"/>
              </a:lnSpc>
              <a:spcBef>
                <a:spcPts val="0"/>
              </a:spcBef>
              <a:spcAft>
                <a:spcPts val="800"/>
              </a:spcAft>
              <a:buClrTx/>
              <a:buSzTx/>
              <a:buFontTx/>
              <a:buChar char="-"/>
              <a:tabLst/>
              <a:defRPr/>
            </a:pPr>
            <a:r>
              <a:rPr lang="de-DE" sz="1200" dirty="0"/>
              <a:t>Der afrikanische Kontinent</a:t>
            </a:r>
            <a:r>
              <a:rPr lang="de-DE" sz="1200" baseline="0" dirty="0"/>
              <a:t> wie auch viele Regionen Asiens, Mittel und Südamerikas sind hiervon besonders betroffen. </a:t>
            </a:r>
            <a:endParaRPr lang="de-DE" sz="1200" dirty="0"/>
          </a:p>
          <a:p>
            <a:pPr marL="285750" indent="-285750">
              <a:lnSpc>
                <a:spcPct val="107000"/>
              </a:lnSpc>
              <a:spcAft>
                <a:spcPts val="800"/>
              </a:spcAft>
              <a:buFontTx/>
              <a:buChar char="-"/>
            </a:pPr>
            <a:endParaRPr lang="de-DE" sz="12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de-DE" dirty="0"/>
          </a:p>
        </p:txBody>
      </p:sp>
      <p:sp>
        <p:nvSpPr>
          <p:cNvPr id="4" name="Slide Number Placeholder 3">
            <a:extLst>
              <a:ext uri="{FF2B5EF4-FFF2-40B4-BE49-F238E27FC236}">
                <a16:creationId xmlns:a16="http://schemas.microsoft.com/office/drawing/2014/main" id="{19CC563E-CB37-AFE0-77D0-0077461B1CD5}"/>
              </a:ext>
            </a:extLst>
          </p:cNvPr>
          <p:cNvSpPr>
            <a:spLocks noGrp="1"/>
          </p:cNvSpPr>
          <p:nvPr>
            <p:ph type="sldNum" sz="quarter" idx="5"/>
          </p:nvPr>
        </p:nvSpPr>
        <p:spPr/>
        <p:txBody>
          <a:bodyPr/>
          <a:lstStyle/>
          <a:p>
            <a:fld id="{0116A731-5E76-4190-B805-4A9AC832BFD5}" type="slidenum">
              <a:rPr lang="en-US" smtClean="0"/>
              <a:t>3</a:t>
            </a:fld>
            <a:endParaRPr lang="en-US"/>
          </a:p>
        </p:txBody>
      </p:sp>
    </p:spTree>
    <p:extLst>
      <p:ext uri="{BB962C8B-B14F-4D97-AF65-F5344CB8AC3E}">
        <p14:creationId xmlns:p14="http://schemas.microsoft.com/office/powerpoint/2010/main" val="3667069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lnSpc>
                <a:spcPct val="107000"/>
              </a:lnSpc>
              <a:spcAft>
                <a:spcPts val="800"/>
              </a:spcAft>
              <a:buFontTx/>
              <a:buNone/>
            </a:pPr>
            <a:r>
              <a:rPr lang="de-DE" sz="1200" kern="100" dirty="0">
                <a:effectLst/>
                <a:latin typeface="Calibri" panose="020F0502020204030204" pitchFamily="34" charset="0"/>
                <a:ea typeface="Calibri" panose="020F0502020204030204" pitchFamily="34" charset="0"/>
                <a:cs typeface="Times New Roman" panose="02020603050405020304" pitchFamily="18" charset="0"/>
              </a:rPr>
              <a:t>Da all die genannten Faktoren zusammenhängen, führen Lions keine reinen Wasser-Projekte, sondern WaSH-Projekte durch</a:t>
            </a:r>
          </a:p>
          <a:p>
            <a:pPr marL="285750" indent="-285750">
              <a:lnSpc>
                <a:spcPct val="107000"/>
              </a:lnSpc>
              <a:spcAft>
                <a:spcPts val="800"/>
              </a:spcAft>
              <a:buFontTx/>
              <a:buChar char="-"/>
            </a:pPr>
            <a:r>
              <a:rPr lang="de-DE" sz="1200" kern="100" dirty="0" err="1">
                <a:effectLst/>
                <a:latin typeface="Calibri" panose="020F0502020204030204" pitchFamily="34" charset="0"/>
                <a:ea typeface="Calibri" panose="020F0502020204030204" pitchFamily="34" charset="0"/>
                <a:cs typeface="Times New Roman" panose="02020603050405020304" pitchFamily="18" charset="0"/>
              </a:rPr>
              <a:t>Wa</a:t>
            </a:r>
            <a:r>
              <a:rPr lang="de-DE" sz="1200" kern="100" dirty="0">
                <a:effectLst/>
                <a:latin typeface="Calibri" panose="020F0502020204030204" pitchFamily="34" charset="0"/>
                <a:ea typeface="Calibri" panose="020F0502020204030204" pitchFamily="34" charset="0"/>
                <a:cs typeface="Times New Roman" panose="02020603050405020304" pitchFamily="18" charset="0"/>
              </a:rPr>
              <a:t>=Bereitstellung von Infrastruktur zur Wasserversorgung durch Brunnenbau oder Sammeln von Regenwasser. Bei Erfordernis gehören auch Anlagen zur Aufbereitung kontaminierten Wassers dazu, sowie Bemühungen, den Grundwasserspiegel langfristig zu erhalten und damit auch die Umwelt zu schützen</a:t>
            </a:r>
          </a:p>
          <a:p>
            <a:pPr marL="285750" indent="-285750">
              <a:lnSpc>
                <a:spcPct val="107000"/>
              </a:lnSpc>
              <a:spcAft>
                <a:spcPts val="800"/>
              </a:spcAft>
              <a:buFontTx/>
              <a:buChar char="-"/>
            </a:pPr>
            <a:r>
              <a:rPr lang="de-DE" sz="1200" kern="100" dirty="0">
                <a:effectLst/>
                <a:latin typeface="Calibri" panose="020F0502020204030204" pitchFamily="34" charset="0"/>
                <a:ea typeface="Calibri" panose="020F0502020204030204" pitchFamily="34" charset="0"/>
                <a:cs typeface="Times New Roman" panose="02020603050405020304" pitchFamily="18" charset="0"/>
              </a:rPr>
              <a:t>S=Die Bereitstellung menschenwürdiger Sanitäranlagen. Hierzu gehört auch eine umweltgerechte Entsorgung von Fäkalien und Schmutzwasser durch biologischen Abbau, Kläranlagen, Biogasanlagen </a:t>
            </a:r>
          </a:p>
          <a:p>
            <a:pPr marL="285750" indent="-285750">
              <a:lnSpc>
                <a:spcPct val="107000"/>
              </a:lnSpc>
              <a:spcAft>
                <a:spcPts val="800"/>
              </a:spcAft>
              <a:buFontTx/>
              <a:buChar char="-"/>
            </a:pPr>
            <a:r>
              <a:rPr lang="de-DE" sz="1200" kern="100" dirty="0">
                <a:effectLst/>
                <a:latin typeface="Calibri" panose="020F0502020204030204" pitchFamily="34" charset="0"/>
                <a:ea typeface="Calibri" panose="020F0502020204030204" pitchFamily="34" charset="0"/>
                <a:cs typeface="Times New Roman" panose="02020603050405020304" pitchFamily="18" charset="0"/>
              </a:rPr>
              <a:t>H=Bereitstellung von Hygiene-Infrastruktur (Handwaschgelegenheiten, Seife…) und Vermittlung von Wissen über die Wichtigkeit der individuellen und gemeinschaftlichen Hygiene im Zusammenhang mit Krankheiten und Umweltverschmutzung</a:t>
            </a:r>
          </a:p>
          <a:p>
            <a:pPr marL="285750" indent="-285750">
              <a:lnSpc>
                <a:spcPct val="107000"/>
              </a:lnSpc>
              <a:spcAft>
                <a:spcPts val="800"/>
              </a:spcAft>
              <a:buFontTx/>
              <a:buChar char="-"/>
            </a:pPr>
            <a:endParaRPr lang="de-DE"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7000"/>
              </a:lnSpc>
              <a:spcAft>
                <a:spcPts val="800"/>
              </a:spcAft>
              <a:buFontTx/>
              <a:buChar char="-"/>
            </a:pPr>
            <a:r>
              <a:rPr lang="de-DE" sz="1200" kern="100" dirty="0">
                <a:effectLst/>
                <a:latin typeface="Calibri" panose="020F0502020204030204" pitchFamily="34" charset="0"/>
                <a:ea typeface="Calibri" panose="020F0502020204030204" pitchFamily="34" charset="0"/>
                <a:cs typeface="Times New Roman" panose="02020603050405020304" pitchFamily="18" charset="0"/>
              </a:rPr>
              <a:t>CB= </a:t>
            </a:r>
            <a:r>
              <a:rPr lang="de-DE" sz="1200" kern="100" dirty="0" err="1">
                <a:effectLst/>
                <a:latin typeface="Calibri" panose="020F0502020204030204" pitchFamily="34" charset="0"/>
                <a:ea typeface="Calibri" panose="020F0502020204030204" pitchFamily="34" charset="0"/>
                <a:cs typeface="Times New Roman" panose="02020603050405020304" pitchFamily="18" charset="0"/>
              </a:rPr>
              <a:t>Capacity</a:t>
            </a:r>
            <a:r>
              <a:rPr lang="de-DE" sz="1200" kern="100" dirty="0">
                <a:effectLst/>
                <a:latin typeface="Calibri" panose="020F0502020204030204" pitchFamily="34" charset="0"/>
                <a:ea typeface="Calibri" panose="020F0502020204030204" pitchFamily="34" charset="0"/>
                <a:cs typeface="Times New Roman" panose="02020603050405020304" pitchFamily="18" charset="0"/>
              </a:rPr>
              <a:t> Building – Aufbau von Wissen, um Projektergebnisse langfristig aufrecht zu erhalten sowie Strukturen und organisierten Gruppen, die über ihre Rechte informiert sind und diese von den Verantwortlichen einfordern</a:t>
            </a:r>
          </a:p>
          <a:p>
            <a:endParaRPr lang="de-DE" dirty="0"/>
          </a:p>
        </p:txBody>
      </p:sp>
      <p:sp>
        <p:nvSpPr>
          <p:cNvPr id="4" name="Foliennummernplatzhalter 3"/>
          <p:cNvSpPr>
            <a:spLocks noGrp="1"/>
          </p:cNvSpPr>
          <p:nvPr>
            <p:ph type="sldNum" sz="quarter" idx="5"/>
          </p:nvPr>
        </p:nvSpPr>
        <p:spPr/>
        <p:txBody>
          <a:bodyPr/>
          <a:lstStyle/>
          <a:p>
            <a:fld id="{0116A731-5E76-4190-B805-4A9AC832BFD5}" type="slidenum">
              <a:rPr lang="en-US" smtClean="0"/>
              <a:t>4</a:t>
            </a:fld>
            <a:endParaRPr lang="en-US"/>
          </a:p>
        </p:txBody>
      </p:sp>
    </p:spTree>
    <p:extLst>
      <p:ext uri="{BB962C8B-B14F-4D97-AF65-F5344CB8AC3E}">
        <p14:creationId xmlns:p14="http://schemas.microsoft.com/office/powerpoint/2010/main" val="12498083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116A731-5E76-4190-B805-4A9AC832BFD5}" type="slidenum">
              <a:rPr lang="en-US" smtClean="0"/>
              <a:pPr/>
              <a:t>5</a:t>
            </a:fld>
            <a:endParaRPr lang="en-US"/>
          </a:p>
        </p:txBody>
      </p:sp>
    </p:spTree>
    <p:extLst>
      <p:ext uri="{BB962C8B-B14F-4D97-AF65-F5344CB8AC3E}">
        <p14:creationId xmlns:p14="http://schemas.microsoft.com/office/powerpoint/2010/main" val="29663296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Arial" panose="020B0604020202020204" pitchFamily="34" charset="0"/>
              <a:buNone/>
            </a:pPr>
            <a:r>
              <a:rPr lang="de-DE" dirty="0"/>
              <a:t>Wie erreichen wir das in unseren Projekten?</a:t>
            </a:r>
          </a:p>
          <a:p>
            <a:pPr marL="171450" indent="-171450">
              <a:buFont typeface="Arial" panose="020B0604020202020204" pitchFamily="34" charset="0"/>
              <a:buChar char="•"/>
            </a:pPr>
            <a:r>
              <a:rPr lang="de-DE" dirty="0"/>
              <a:t>Infrastruktur + Wissen</a:t>
            </a:r>
          </a:p>
          <a:p>
            <a:pPr marL="628650" lvl="1" indent="-171450">
              <a:buFont typeface="Arial" panose="020B0604020202020204" pitchFamily="34" charset="0"/>
              <a:buChar char="•"/>
            </a:pPr>
            <a:r>
              <a:rPr lang="de-DE" dirty="0"/>
              <a:t>Wir sorgen für sauberes Trinkwasser und menschenwürdige, sichere Sanitäranlagen
Wir bilden Menschen in technischen Bereichen aus, z.B. im Brunnenbau und im Bau von Sanitäranlagen
Wir bauen das Hygienewissen der Menschen mit den Experten unserer lokalen Partnerorganisationen auf und aus</a:t>
            </a:r>
          </a:p>
          <a:p>
            <a:pPr marL="171450" lvl="0" indent="-171450">
              <a:buFont typeface="Arial" panose="020B0604020202020204" pitchFamily="34" charset="0"/>
              <a:buChar char="•"/>
            </a:pPr>
            <a:r>
              <a:rPr lang="de-DE" dirty="0"/>
              <a:t>Dies führt zu strukturellen Veränderungen:</a:t>
            </a:r>
          </a:p>
          <a:p>
            <a:pPr marL="628650" lvl="1" indent="-171450">
              <a:buFont typeface="Arial" panose="020B0604020202020204" pitchFamily="34" charset="0"/>
              <a:buChar char="•"/>
            </a:pPr>
            <a:r>
              <a:rPr lang="de-DE" dirty="0"/>
              <a:t>Wasser-Komitees sind organisiert - Verwaltung und Instandhaltung der Infrastruktur, Kommunikation und Geltendmachung von Rechten gegenüber den Behörden</a:t>
            </a:r>
          </a:p>
          <a:p>
            <a:pPr marL="628650" lvl="1" indent="-171450">
              <a:buFont typeface="Arial" panose="020B0604020202020204" pitchFamily="34" charset="0"/>
              <a:buChar char="•"/>
            </a:pPr>
            <a:r>
              <a:rPr lang="de-DE" dirty="0"/>
              <a:t>Hygieneausschüsse, Schulclubs – alle Strukturen sind langfristig vor Ort etablier, auch nach unserem Projekt bestehen sie fort
Beteiligung von Frauen – Frauen sind in allen Komitees und Ausschüssen vertreten und ihre Meinung wird gehört; Beschäftigungschancen für Frauen, die durch ihr wirtschaftliches Gewicht auch mehr Einfluss in der Gesellschaft gewinnen</a:t>
            </a:r>
          </a:p>
          <a:p>
            <a:pPr marL="171450" lvl="0" indent="-171450">
              <a:buFont typeface="Arial" panose="020B0604020202020204" pitchFamily="34" charset="0"/>
              <a:buChar char="•"/>
            </a:pPr>
            <a:r>
              <a:rPr lang="de-DE" dirty="0"/>
              <a:t>Die lokalen Akteure werden gestärkt und wissen auch, an welche staatlichen Stellen sie sich wenden müssen, um ihr Recht auf Wasser, sichere Sanitäranlagen etc. durchzusetzen, SDG 6</a:t>
            </a:r>
          </a:p>
          <a:p>
            <a:pPr marL="171450" lvl="0" indent="-171450">
              <a:buFont typeface="Arial" panose="020B0604020202020204" pitchFamily="34" charset="0"/>
              <a:buChar char="•"/>
            </a:pPr>
            <a:endParaRPr lang="de-DE" i="0" dirty="0"/>
          </a:p>
          <a:p>
            <a:pPr marL="171450" lvl="0" indent="-171450">
              <a:buFont typeface="Arial" panose="020B0604020202020204" pitchFamily="34" charset="0"/>
              <a:buChar char="•"/>
            </a:pPr>
            <a:r>
              <a:rPr lang="de-DE" i="0" dirty="0"/>
              <a:t>Was bedeutet das für die Menschen?</a:t>
            </a:r>
          </a:p>
          <a:p>
            <a:pPr algn="l" fontAlgn="t"/>
            <a:r>
              <a:rPr lang="de-DE" sz="1200" b="0" i="0" u="none" strike="noStrike" dirty="0">
                <a:solidFill>
                  <a:srgbClr val="000000"/>
                </a:solidFill>
                <a:effectLst/>
                <a:latin typeface="Aptos Narrow" panose="020B0004020202020204" pitchFamily="34" charset="0"/>
              </a:rPr>
              <a:t>Bildung (für Mädchen)</a:t>
            </a:r>
          </a:p>
          <a:p>
            <a:pPr algn="l" fontAlgn="t"/>
            <a:r>
              <a:rPr lang="de-DE" sz="1200" b="0" i="0" u="none" strike="noStrike" dirty="0">
                <a:solidFill>
                  <a:srgbClr val="000000"/>
                </a:solidFill>
                <a:effectLst/>
                <a:latin typeface="Aptos Narrow" panose="020B0004020202020204" pitchFamily="34" charset="0"/>
              </a:rPr>
              <a:t>Lebensgrundlage für Menschen</a:t>
            </a:r>
          </a:p>
          <a:p>
            <a:pPr algn="l" fontAlgn="t"/>
            <a:r>
              <a:rPr lang="de-DE" sz="1200" b="0" i="0" u="none" strike="noStrike" dirty="0">
                <a:solidFill>
                  <a:srgbClr val="000000"/>
                </a:solidFill>
                <a:effectLst/>
                <a:latin typeface="Aptos Narrow" panose="020B0004020202020204" pitchFamily="34" charset="0"/>
              </a:rPr>
              <a:t>Lebensqualität</a:t>
            </a:r>
          </a:p>
          <a:p>
            <a:pPr algn="l" fontAlgn="t"/>
            <a:r>
              <a:rPr lang="de-DE" sz="1200" b="0" i="0" u="none" strike="noStrike" dirty="0">
                <a:solidFill>
                  <a:srgbClr val="000000"/>
                </a:solidFill>
                <a:effectLst/>
                <a:latin typeface="Aptos Narrow" panose="020B0004020202020204" pitchFamily="34" charset="0"/>
              </a:rPr>
              <a:t>Gesundheit</a:t>
            </a:r>
          </a:p>
          <a:p>
            <a:pPr marL="171450" lvl="0" indent="-171450">
              <a:buFont typeface="Arial" panose="020B0604020202020204" pitchFamily="34" charset="0"/>
              <a:buChar char="•"/>
            </a:pPr>
            <a:endParaRPr lang="de-DE" i="0" dirty="0"/>
          </a:p>
        </p:txBody>
      </p:sp>
      <p:sp>
        <p:nvSpPr>
          <p:cNvPr id="4" name="Foliennummernplatzhalter 3"/>
          <p:cNvSpPr>
            <a:spLocks noGrp="1"/>
          </p:cNvSpPr>
          <p:nvPr>
            <p:ph type="sldNum" sz="quarter" idx="5"/>
          </p:nvPr>
        </p:nvSpPr>
        <p:spPr/>
        <p:txBody>
          <a:bodyPr/>
          <a:lstStyle/>
          <a:p>
            <a:fld id="{0116A731-5E76-4190-B805-4A9AC832BFD5}" type="slidenum">
              <a:rPr lang="en-US" smtClean="0"/>
              <a:pPr/>
              <a:t>6</a:t>
            </a:fld>
            <a:endParaRPr lang="en-US"/>
          </a:p>
        </p:txBody>
      </p:sp>
    </p:spTree>
    <p:extLst>
      <p:ext uri="{BB962C8B-B14F-4D97-AF65-F5344CB8AC3E}">
        <p14:creationId xmlns:p14="http://schemas.microsoft.com/office/powerpoint/2010/main" val="32484853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lnSpc>
                <a:spcPct val="115000"/>
              </a:lnSpc>
              <a:spcAft>
                <a:spcPts val="800"/>
              </a:spcAft>
              <a:buFont typeface="Arial" panose="020B0604020202020204" pitchFamily="34" charset="0"/>
              <a:buChar char="•"/>
            </a:pPr>
            <a:r>
              <a:rPr lang="de-DE" sz="1200" dirty="0">
                <a:effectLst/>
                <a:latin typeface="Calibri" panose="020F0502020204030204" pitchFamily="34" charset="0"/>
                <a:ea typeface="Times New Roman" panose="02020603050405020304" pitchFamily="18" charset="0"/>
                <a:cs typeface="Times New Roman" panose="02020603050405020304" pitchFamily="18" charset="0"/>
              </a:rPr>
              <a:t>Das erste WaSH-Projekt wurde 2020 mit der Deutschen Lepra und Tuberkulosehilfe (DAHW) geplant und 2024 erfolgreich abgeschlossen! </a:t>
            </a:r>
          </a:p>
          <a:p>
            <a:pPr marL="171450" indent="-171450">
              <a:lnSpc>
                <a:spcPct val="115000"/>
              </a:lnSpc>
              <a:spcAft>
                <a:spcPts val="800"/>
              </a:spcAft>
              <a:buFont typeface="Arial" panose="020B0604020202020204" pitchFamily="34" charset="0"/>
              <a:buChar char="•"/>
            </a:pPr>
            <a:r>
              <a:rPr lang="de-DE" sz="1200" dirty="0">
                <a:effectLst/>
                <a:latin typeface="Calibri" panose="020F0502020204030204" pitchFamily="34" charset="0"/>
                <a:ea typeface="Times New Roman" panose="02020603050405020304" pitchFamily="18" charset="0"/>
                <a:cs typeface="Times New Roman" panose="02020603050405020304" pitchFamily="18" charset="0"/>
              </a:rPr>
              <a:t>Unter dem Motto „Gesundheit durch Aufklärung“ haben wir in </a:t>
            </a:r>
            <a:r>
              <a:rPr lang="de-DE" dirty="0"/>
              <a:t>der Ganges-Ebene im Süden des Himalajas in den drei dicht besiedelten Bundesstaaten Uttar Pradesh, Bihar und Westbengalen unterstützt. </a:t>
            </a:r>
          </a:p>
          <a:p>
            <a:pPr marL="171450" indent="-171450">
              <a:lnSpc>
                <a:spcPct val="115000"/>
              </a:lnSpc>
              <a:spcAft>
                <a:spcPts val="800"/>
              </a:spcAft>
              <a:buFont typeface="Arial" panose="020B0604020202020204" pitchFamily="34" charset="0"/>
              <a:buChar char="•"/>
            </a:pPr>
            <a:r>
              <a:rPr lang="de-DE" dirty="0"/>
              <a:t>Durch kontaminiertes Wasser und mangelnde Hygiene verursachte Krankheiten, sogenannten „</a:t>
            </a:r>
            <a:r>
              <a:rPr lang="de-DE" dirty="0" err="1"/>
              <a:t>Water</a:t>
            </a:r>
            <a:r>
              <a:rPr lang="de-DE" dirty="0"/>
              <a:t> </a:t>
            </a:r>
            <a:r>
              <a:rPr lang="de-DE" dirty="0" err="1"/>
              <a:t>borne</a:t>
            </a:r>
            <a:r>
              <a:rPr lang="de-DE" dirty="0"/>
              <a:t> </a:t>
            </a:r>
            <a:r>
              <a:rPr lang="de-DE" dirty="0" err="1"/>
              <a:t>diseases</a:t>
            </a:r>
            <a:r>
              <a:rPr lang="de-DE" dirty="0"/>
              <a:t>“ waren dort weit verbreitet. Viele davon sind auch "vernachlässigten Tropenkrankheiten" (NTDs=</a:t>
            </a:r>
            <a:r>
              <a:rPr lang="de-DE" dirty="0" err="1"/>
              <a:t>Neglected</a:t>
            </a:r>
            <a:r>
              <a:rPr lang="de-DE" dirty="0"/>
              <a:t> Tropical </a:t>
            </a:r>
            <a:r>
              <a:rPr lang="de-DE" dirty="0" err="1"/>
              <a:t>Diseases</a:t>
            </a:r>
            <a:r>
              <a:rPr lang="de-DE" dirty="0"/>
              <a:t>) wie Lepra, Lymphatische Filariose (Elephantiasis) oder Trachom (Flussblindheit). </a:t>
            </a:r>
          </a:p>
          <a:p>
            <a:pPr marL="171450" indent="-171450">
              <a:lnSpc>
                <a:spcPct val="115000"/>
              </a:lnSpc>
              <a:spcAft>
                <a:spcPts val="800"/>
              </a:spcAft>
              <a:buFont typeface="Arial" panose="020B0604020202020204" pitchFamily="34" charset="0"/>
              <a:buChar char="•"/>
            </a:pPr>
            <a:r>
              <a:rPr lang="de-DE" dirty="0"/>
              <a:t>Abschlussbericht ans BMZ eingereicht, nun 5 Jahre Zeit für Prüfung</a:t>
            </a:r>
          </a:p>
        </p:txBody>
      </p:sp>
      <p:sp>
        <p:nvSpPr>
          <p:cNvPr id="4" name="Foliennummernplatzhalter 3"/>
          <p:cNvSpPr>
            <a:spLocks noGrp="1"/>
          </p:cNvSpPr>
          <p:nvPr>
            <p:ph type="sldNum" sz="quarter" idx="5"/>
          </p:nvPr>
        </p:nvSpPr>
        <p:spPr/>
        <p:txBody>
          <a:bodyPr/>
          <a:lstStyle/>
          <a:p>
            <a:fld id="{0116A731-5E76-4190-B805-4A9AC832BFD5}" type="slidenum">
              <a:rPr lang="en-US" smtClean="0"/>
              <a:pPr/>
              <a:t>8</a:t>
            </a:fld>
            <a:endParaRPr lang="en-US"/>
          </a:p>
        </p:txBody>
      </p:sp>
    </p:spTree>
    <p:extLst>
      <p:ext uri="{BB962C8B-B14F-4D97-AF65-F5344CB8AC3E}">
        <p14:creationId xmlns:p14="http://schemas.microsoft.com/office/powerpoint/2010/main" val="33458186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Mit unserem zweiten WaSH-Projekt verbessern wir mit dem bewährten Konzept der Hilfe zur Selbsthilfe die Lebenssituation von Menschen im Süden Malawis, gemeinsam mit unserem langjährigen Partner Habitat </a:t>
            </a:r>
            <a:r>
              <a:rPr lang="de-DE" dirty="0" err="1"/>
              <a:t>for</a:t>
            </a:r>
            <a:r>
              <a:rPr lang="de-DE" dirty="0"/>
              <a:t> </a:t>
            </a:r>
            <a:r>
              <a:rPr lang="de-DE" dirty="0" err="1"/>
              <a:t>Humanity</a:t>
            </a:r>
            <a:r>
              <a:rPr lang="de-DE" dirty="0"/>
              <a:t> Malawi (</a:t>
            </a:r>
            <a:r>
              <a:rPr lang="de-DE" dirty="0" err="1"/>
              <a:t>HfHM</a:t>
            </a:r>
            <a:r>
              <a:rPr lang="de-DE" dirty="0"/>
              <a:t>)</a:t>
            </a:r>
          </a:p>
          <a:p>
            <a:pPr marL="171450" indent="-171450">
              <a:buFont typeface="Arial" panose="020B0604020202020204" pitchFamily="34" charset="0"/>
              <a:buChar char="•"/>
            </a:pPr>
            <a:r>
              <a:rPr lang="de-DE" dirty="0"/>
              <a:t>Da Toiletten und Brunnen in viel größerem Ausmaß benötigt werden, als es unser Projekt bereitstellen könnte ist unser Projekt nur der Auftakt für einen nachhaltigen Ansatz der Hilfe zur Selbsthilfe.</a:t>
            </a:r>
          </a:p>
          <a:p>
            <a:pPr marL="171450" indent="-171450">
              <a:buFont typeface="Arial" panose="020B0604020202020204" pitchFamily="34" charset="0"/>
              <a:buChar char="•"/>
            </a:pPr>
            <a:r>
              <a:rPr lang="de-DE" dirty="0"/>
              <a:t>Mit dem Bau von 30 Brunnen sowie 200 Latrinen für die bedürftigsten Familien stoßen wir einen Lernprozess zur Schaffung lokaler Wertschöpfungsketten im WaSH-Bereich an: Zum Beispiel werden zehn Handwerker darin ausgebildet, die Latrinen aus lokalen Materialien nachhaltig zu Bauen und zu vermarkten. </a:t>
            </a:r>
          </a:p>
          <a:p>
            <a:pPr marL="171450" indent="-171450">
              <a:buFont typeface="Arial" panose="020B0604020202020204" pitchFamily="34" charset="0"/>
              <a:buChar char="•"/>
            </a:pPr>
            <a:r>
              <a:rPr lang="de-DE" dirty="0"/>
              <a:t>Um die Instandhaltung der Brunnen kümmern sich zukünftig im Rahmen des Projekts neu gebildete WaSH-Komitees in jeder Gemeinde, die kleine Entgelte zur Wassernutzung erheben und so zukünftig gemeinschaftlich die Kosten decken können.</a:t>
            </a:r>
          </a:p>
          <a:p>
            <a:pPr marL="0" indent="0">
              <a:buFont typeface="Arial" panose="020B0604020202020204" pitchFamily="34" charset="0"/>
              <a:buNone/>
            </a:pPr>
            <a:endParaRPr lang="de-DE" dirty="0"/>
          </a:p>
          <a:p>
            <a:pPr marL="0" indent="0">
              <a:buFont typeface="Arial" panose="020B0604020202020204" pitchFamily="34" charset="0"/>
              <a:buNone/>
            </a:pPr>
            <a:r>
              <a:rPr lang="de-DE" dirty="0"/>
              <a:t>Erklärungen:</a:t>
            </a:r>
          </a:p>
          <a:p>
            <a:pPr marL="171450" indent="-171450">
              <a:buFont typeface="Arial" panose="020B0604020202020204" pitchFamily="34" charset="0"/>
              <a:buChar char="•"/>
            </a:pPr>
            <a:r>
              <a:rPr lang="de-DE" dirty="0"/>
              <a:t>Koordinierungs-Meetings für WaSH Infrastruktur: Gemeinden und Regierung werden in Kontakt gebracht, um Bedürfnisse und Möglichkeiten gemeinsam zu diskutieren und zu organisieren</a:t>
            </a:r>
          </a:p>
          <a:p>
            <a:pPr marL="171450" indent="-171450">
              <a:buFont typeface="Arial" panose="020B0604020202020204" pitchFamily="34" charset="0"/>
              <a:buChar char="•"/>
            </a:pPr>
            <a:r>
              <a:rPr lang="de-DE" dirty="0"/>
              <a:t>Handbücher für Wasserkomitees: </a:t>
            </a:r>
          </a:p>
          <a:p>
            <a:pPr marL="628650" lvl="1" indent="-171450">
              <a:buFont typeface="Arial" panose="020B0604020202020204" pitchFamily="34" charset="0"/>
              <a:buChar char="•"/>
            </a:pPr>
            <a:r>
              <a:rPr lang="de-DE" sz="1800" dirty="0">
                <a:effectLst/>
                <a:latin typeface="Calibri" panose="020F0502020204030204" pitchFamily="34" charset="0"/>
                <a:ea typeface="Calibri" panose="020F0502020204030204" pitchFamily="34" charset="0"/>
                <a:cs typeface="Arial" panose="020B0604020202020204" pitchFamily="34" charset="0"/>
              </a:rPr>
              <a:t>Best Practices aus dem Projekt im Zusammenhang mit der nachhaltigen, rechenschaftspflichtigen und transparenten Brunneninstandhaltung (</a:t>
            </a:r>
            <a:r>
              <a:rPr lang="de-DE" sz="1800" dirty="0" err="1">
                <a:effectLst/>
                <a:latin typeface="Calibri" panose="020F0502020204030204" pitchFamily="34" charset="0"/>
                <a:ea typeface="Calibri" panose="020F0502020204030204" pitchFamily="34" charset="0"/>
                <a:cs typeface="Arial" panose="020B0604020202020204" pitchFamily="34" charset="0"/>
              </a:rPr>
              <a:t>Comunity</a:t>
            </a:r>
            <a:r>
              <a:rPr lang="de-DE" sz="1800" dirty="0">
                <a:effectLst/>
                <a:latin typeface="Calibri" panose="020F0502020204030204" pitchFamily="34" charset="0"/>
                <a:ea typeface="Calibri" panose="020F0502020204030204" pitchFamily="34" charset="0"/>
                <a:cs typeface="Arial" panose="020B0604020202020204" pitchFamily="34" charset="0"/>
              </a:rPr>
              <a:t> </a:t>
            </a:r>
            <a:r>
              <a:rPr lang="de-DE" sz="1800" dirty="0" err="1">
                <a:effectLst/>
                <a:latin typeface="Calibri" panose="020F0502020204030204" pitchFamily="34" charset="0"/>
                <a:ea typeface="Calibri" panose="020F0502020204030204" pitchFamily="34" charset="0"/>
                <a:cs typeface="Arial" panose="020B0604020202020204" pitchFamily="34" charset="0"/>
              </a:rPr>
              <a:t>based</a:t>
            </a:r>
            <a:r>
              <a:rPr lang="de-DE" sz="1800" dirty="0">
                <a:effectLst/>
                <a:latin typeface="Calibri" panose="020F0502020204030204" pitchFamily="34" charset="0"/>
                <a:ea typeface="Calibri" panose="020F0502020204030204" pitchFamily="34" charset="0"/>
                <a:cs typeface="Arial" panose="020B0604020202020204" pitchFamily="34" charset="0"/>
              </a:rPr>
              <a:t> </a:t>
            </a:r>
            <a:r>
              <a:rPr lang="de-DE" sz="1800" dirty="0" err="1">
                <a:effectLst/>
                <a:latin typeface="Calibri" panose="020F0502020204030204" pitchFamily="34" charset="0"/>
                <a:ea typeface="Calibri" panose="020F0502020204030204" pitchFamily="34" charset="0"/>
                <a:cs typeface="Arial" panose="020B0604020202020204" pitchFamily="34" charset="0"/>
              </a:rPr>
              <a:t>maintenance</a:t>
            </a:r>
            <a:r>
              <a:rPr lang="de-DE" sz="1800" dirty="0">
                <a:effectLst/>
                <a:latin typeface="Calibri" panose="020F0502020204030204" pitchFamily="34" charset="0"/>
                <a:ea typeface="Calibri" panose="020F0502020204030204" pitchFamily="34" charset="0"/>
                <a:cs typeface="Arial" panose="020B0604020202020204" pitchFamily="34" charset="0"/>
              </a:rPr>
              <a:t>), das einschlägige Handbuch auf Distriktebene wird gemeinsam überarbeitet</a:t>
            </a:r>
          </a:p>
          <a:p>
            <a:pPr marL="628650" lvl="1" indent="-171450">
              <a:buFont typeface="Arial" panose="020B0604020202020204" pitchFamily="34" charset="0"/>
              <a:buChar char="•"/>
            </a:pPr>
            <a:r>
              <a:rPr lang="de-DE" sz="1800" dirty="0">
                <a:effectLst/>
                <a:latin typeface="Calibri" panose="020F0502020204030204" pitchFamily="34" charset="0"/>
                <a:ea typeface="Calibri" panose="020F0502020204030204" pitchFamily="34" charset="0"/>
                <a:cs typeface="Arial" panose="020B0604020202020204" pitchFamily="34" charset="0"/>
              </a:rPr>
              <a:t>Anschließend Training </a:t>
            </a:r>
            <a:r>
              <a:rPr lang="de-DE" sz="1800" dirty="0" err="1">
                <a:effectLst/>
                <a:latin typeface="Calibri" panose="020F0502020204030204" pitchFamily="34" charset="0"/>
                <a:ea typeface="Calibri" panose="020F0502020204030204" pitchFamily="34" charset="0"/>
                <a:cs typeface="Arial" panose="020B0604020202020204" pitchFamily="34" charset="0"/>
              </a:rPr>
              <a:t>of</a:t>
            </a:r>
            <a:r>
              <a:rPr lang="de-DE" sz="1800" dirty="0">
                <a:effectLst/>
                <a:latin typeface="Calibri" panose="020F0502020204030204" pitchFamily="34" charset="0"/>
                <a:ea typeface="Calibri" panose="020F0502020204030204" pitchFamily="34" charset="0"/>
                <a:cs typeface="Arial" panose="020B0604020202020204" pitchFamily="34" charset="0"/>
              </a:rPr>
              <a:t> Trainers, die mit diesem Handbuch wiederum die Gemeinden im Distrikt schulen werden</a:t>
            </a:r>
            <a:endParaRPr lang="de-DE" dirty="0"/>
          </a:p>
        </p:txBody>
      </p:sp>
      <p:sp>
        <p:nvSpPr>
          <p:cNvPr id="4" name="Foliennummernplatzhalter 3"/>
          <p:cNvSpPr>
            <a:spLocks noGrp="1"/>
          </p:cNvSpPr>
          <p:nvPr>
            <p:ph type="sldNum" sz="quarter" idx="5"/>
          </p:nvPr>
        </p:nvSpPr>
        <p:spPr/>
        <p:txBody>
          <a:bodyPr/>
          <a:lstStyle/>
          <a:p>
            <a:fld id="{0116A731-5E76-4190-B805-4A9AC832BFD5}" type="slidenum">
              <a:rPr lang="en-US" smtClean="0"/>
              <a:pPr/>
              <a:t>9</a:t>
            </a:fld>
            <a:endParaRPr lang="en-US"/>
          </a:p>
        </p:txBody>
      </p:sp>
    </p:spTree>
    <p:extLst>
      <p:ext uri="{BB962C8B-B14F-4D97-AF65-F5344CB8AC3E}">
        <p14:creationId xmlns:p14="http://schemas.microsoft.com/office/powerpoint/2010/main" val="41287861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defTabSz="990752">
              <a:buFont typeface="Arial" panose="020B0604020202020204" pitchFamily="34" charset="0"/>
              <a:buChar char="•"/>
              <a:defRPr/>
            </a:pPr>
            <a:r>
              <a:rPr lang="de-DE" dirty="0"/>
              <a:t>Kenia ist derzeit abwechselnd von schweren Dürren und Überschwemmungen betroffen, die immer wieder die Ernten zerstören und Futter für die Viehherden knapp werden lassen. </a:t>
            </a:r>
          </a:p>
          <a:p>
            <a:pPr marL="171450" indent="-171450" defTabSz="990752">
              <a:buFont typeface="Arial" panose="020B0604020202020204" pitchFamily="34" charset="0"/>
              <a:buChar char="•"/>
              <a:defRPr/>
            </a:pPr>
            <a:r>
              <a:rPr lang="de-DE" dirty="0"/>
              <a:t>Unser Projekt stärkt die Resilienz (Widerstandsfähigkeit) der Gemeinden gegenüber den negativen Auswirkungen des Klimawandels. </a:t>
            </a:r>
          </a:p>
          <a:p>
            <a:pPr marL="171450" indent="-171450" defTabSz="990752">
              <a:buFont typeface="Arial" panose="020B0604020202020204" pitchFamily="34" charset="0"/>
              <a:buChar char="•"/>
              <a:defRPr/>
            </a:pPr>
            <a:r>
              <a:rPr lang="de-DE" dirty="0"/>
              <a:t>Maßnahmen dazu sind </a:t>
            </a:r>
          </a:p>
          <a:p>
            <a:pPr marL="628650" lvl="1" indent="-171450" defTabSz="990752">
              <a:buFont typeface="Arial" panose="020B0604020202020204" pitchFamily="34" charset="0"/>
              <a:buChar char="•"/>
              <a:defRPr/>
            </a:pPr>
            <a:r>
              <a:rPr lang="de-DE" dirty="0"/>
              <a:t>der Aufbau eines nachhaltigen Wassermanagements für Haushalte und besonders auch in der Landwirtschaft. </a:t>
            </a:r>
          </a:p>
          <a:p>
            <a:pPr marL="628650" lvl="1" indent="-171450" defTabSz="990752">
              <a:buFont typeface="Arial" panose="020B0604020202020204" pitchFamily="34" charset="0"/>
              <a:buChar char="•"/>
              <a:defRPr/>
            </a:pPr>
            <a:r>
              <a:rPr lang="de-DE" dirty="0"/>
              <a:t>Hierzu wird Infrastruktur bereitgestellt und die lokale Bevölkerung in Wasserkomitees organisiert, um die Brunnen, Leitungen etc. langfristig zu erhalten.</a:t>
            </a:r>
          </a:p>
          <a:p>
            <a:pPr marL="628650" lvl="1" indent="-171450" defTabSz="990752">
              <a:buFont typeface="Arial" panose="020B0604020202020204" pitchFamily="34" charset="0"/>
              <a:buChar char="•"/>
              <a:defRPr/>
            </a:pPr>
            <a:r>
              <a:rPr lang="de-DE" dirty="0"/>
              <a:t>Die Verbesserung der Sanitär- und Hygienesituation </a:t>
            </a:r>
          </a:p>
          <a:p>
            <a:pPr marL="628650" lvl="1" indent="-171450" defTabSz="990752">
              <a:buFont typeface="Arial" panose="020B0604020202020204" pitchFamily="34" charset="0"/>
              <a:buChar char="•"/>
              <a:defRPr/>
            </a:pPr>
            <a:r>
              <a:rPr lang="de-DE" dirty="0"/>
              <a:t>sowie die Einkommenssteigerung für bedürftige Familien durch angepasste und innovative Landwirtschaft.</a:t>
            </a:r>
          </a:p>
          <a:p>
            <a:pPr marL="171450" indent="-171450" defTabSz="990752">
              <a:buFont typeface="Arial" panose="020B0604020202020204" pitchFamily="34" charset="0"/>
              <a:buChar char="•"/>
              <a:defRPr/>
            </a:pPr>
            <a:r>
              <a:rPr lang="de-DE" dirty="0"/>
              <a:t>Frauen und Mädchen leiden besonders unter den oben beschriebenen Problemen, deshalb wird die Geschlechtergerechtigkeit als Querschnittsthema bei allen Zielen berücksichtigt. </a:t>
            </a:r>
          </a:p>
        </p:txBody>
      </p:sp>
      <p:sp>
        <p:nvSpPr>
          <p:cNvPr id="4" name="Foliennummernplatzhalter 3"/>
          <p:cNvSpPr>
            <a:spLocks noGrp="1"/>
          </p:cNvSpPr>
          <p:nvPr>
            <p:ph type="sldNum" sz="quarter" idx="5"/>
          </p:nvPr>
        </p:nvSpPr>
        <p:spPr/>
        <p:txBody>
          <a:bodyPr/>
          <a:lstStyle/>
          <a:p>
            <a:fld id="{0116A731-5E76-4190-B805-4A9AC832BFD5}" type="slidenum">
              <a:rPr lang="en-US" smtClean="0"/>
              <a:pPr/>
              <a:t>10</a:t>
            </a:fld>
            <a:endParaRPr lang="en-US"/>
          </a:p>
        </p:txBody>
      </p:sp>
    </p:spTree>
    <p:extLst>
      <p:ext uri="{BB962C8B-B14F-4D97-AF65-F5344CB8AC3E}">
        <p14:creationId xmlns:p14="http://schemas.microsoft.com/office/powerpoint/2010/main" val="16616957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3.png"/><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2.bin"/><Relationship Id="rId9" Type="http://schemas.openxmlformats.org/officeDocument/2006/relationships/image" Target="../media/image7.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2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2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2.png"/><Relationship Id="rId4" Type="http://schemas.openxmlformats.org/officeDocument/2006/relationships/image" Target="../media/image2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20.png"/><Relationship Id="rId5" Type="http://schemas.openxmlformats.org/officeDocument/2006/relationships/image" Target="../media/image24.png"/><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20.png"/><Relationship Id="rId5" Type="http://schemas.openxmlformats.org/officeDocument/2006/relationships/image" Target="../media/image22.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2.png"/><Relationship Id="rId4" Type="http://schemas.openxmlformats.org/officeDocument/2006/relationships/image" Target="../media/image1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9.png"/><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3.bin"/><Relationship Id="rId9" Type="http://schemas.openxmlformats.org/officeDocument/2006/relationships/image" Target="../media/image7.sv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5.png"/><Relationship Id="rId4" Type="http://schemas.openxmlformats.org/officeDocument/2006/relationships/image" Target="../media/image1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chart" Target="../charts/chart1.xml"/><Relationship Id="rId4" Type="http://schemas.openxmlformats.org/officeDocument/2006/relationships/image" Target="../media/image1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chart" Target="../charts/chart2.xml"/><Relationship Id="rId4" Type="http://schemas.openxmlformats.org/officeDocument/2006/relationships/image" Target="../media/image1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png"/><Relationship Id="rId4" Type="http://schemas.openxmlformats.org/officeDocument/2006/relationships/image" Target="../media/image1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20.pn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chart" Target="../charts/chart3.xml"/><Relationship Id="rId5" Type="http://schemas.openxmlformats.org/officeDocument/2006/relationships/image" Target="../media/image26.jpeg"/><Relationship Id="rId4" Type="http://schemas.openxmlformats.org/officeDocument/2006/relationships/image" Target="../media/image1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7.png"/><Relationship Id="rId5" Type="http://schemas.openxmlformats.org/officeDocument/2006/relationships/image" Target="../media/image3.png"/><Relationship Id="rId4" Type="http://schemas.openxmlformats.org/officeDocument/2006/relationships/image" Target="../media/image1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png"/><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28.png"/><Relationship Id="rId5" Type="http://schemas.openxmlformats.org/officeDocument/2006/relationships/image" Target="../media/image3.png"/><Relationship Id="rId4" Type="http://schemas.openxmlformats.org/officeDocument/2006/relationships/image" Target="../media/image11.emf"/></Relationships>
</file>

<file path=ppt/slideLayouts/_rels/slideLayout28.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svg"/><Relationship Id="rId26" Type="http://schemas.openxmlformats.org/officeDocument/2006/relationships/image" Target="../media/image50.svg"/><Relationship Id="rId39" Type="http://schemas.openxmlformats.org/officeDocument/2006/relationships/image" Target="../media/image63.png"/><Relationship Id="rId21" Type="http://schemas.openxmlformats.org/officeDocument/2006/relationships/image" Target="../media/image45.png"/><Relationship Id="rId34" Type="http://schemas.openxmlformats.org/officeDocument/2006/relationships/image" Target="../media/image58.svg"/><Relationship Id="rId42" Type="http://schemas.openxmlformats.org/officeDocument/2006/relationships/image" Target="../media/image66.svg"/><Relationship Id="rId47" Type="http://schemas.openxmlformats.org/officeDocument/2006/relationships/image" Target="../media/image71.png"/><Relationship Id="rId50" Type="http://schemas.openxmlformats.org/officeDocument/2006/relationships/image" Target="../media/image74.svg"/><Relationship Id="rId55" Type="http://schemas.openxmlformats.org/officeDocument/2006/relationships/image" Target="../media/image79.png"/><Relationship Id="rId63" Type="http://schemas.openxmlformats.org/officeDocument/2006/relationships/image" Target="../media/image87.png"/><Relationship Id="rId68" Type="http://schemas.openxmlformats.org/officeDocument/2006/relationships/image" Target="../media/image92.svg"/><Relationship Id="rId7" Type="http://schemas.openxmlformats.org/officeDocument/2006/relationships/image" Target="../media/image31.png"/><Relationship Id="rId2" Type="http://schemas.openxmlformats.org/officeDocument/2006/relationships/slideMaster" Target="../slideMasters/slideMaster1.xml"/><Relationship Id="rId16" Type="http://schemas.openxmlformats.org/officeDocument/2006/relationships/image" Target="../media/image40.svg"/><Relationship Id="rId29" Type="http://schemas.openxmlformats.org/officeDocument/2006/relationships/image" Target="../media/image53.png"/><Relationship Id="rId1" Type="http://schemas.openxmlformats.org/officeDocument/2006/relationships/tags" Target="../tags/tag30.xml"/><Relationship Id="rId6" Type="http://schemas.openxmlformats.org/officeDocument/2006/relationships/image" Target="../media/image30.svg"/><Relationship Id="rId11" Type="http://schemas.openxmlformats.org/officeDocument/2006/relationships/image" Target="../media/image35.png"/><Relationship Id="rId24" Type="http://schemas.openxmlformats.org/officeDocument/2006/relationships/image" Target="../media/image48.svg"/><Relationship Id="rId32" Type="http://schemas.openxmlformats.org/officeDocument/2006/relationships/image" Target="../media/image56.svg"/><Relationship Id="rId37" Type="http://schemas.openxmlformats.org/officeDocument/2006/relationships/image" Target="../media/image61.png"/><Relationship Id="rId40" Type="http://schemas.openxmlformats.org/officeDocument/2006/relationships/image" Target="../media/image64.svg"/><Relationship Id="rId45" Type="http://schemas.openxmlformats.org/officeDocument/2006/relationships/image" Target="../media/image69.png"/><Relationship Id="rId53" Type="http://schemas.openxmlformats.org/officeDocument/2006/relationships/image" Target="../media/image77.png"/><Relationship Id="rId58" Type="http://schemas.openxmlformats.org/officeDocument/2006/relationships/image" Target="../media/image82.svg"/><Relationship Id="rId66" Type="http://schemas.openxmlformats.org/officeDocument/2006/relationships/image" Target="../media/image90.svg"/><Relationship Id="rId5" Type="http://schemas.openxmlformats.org/officeDocument/2006/relationships/image" Target="../media/image29.png"/><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svg"/><Relationship Id="rId36" Type="http://schemas.openxmlformats.org/officeDocument/2006/relationships/image" Target="../media/image60.svg"/><Relationship Id="rId49" Type="http://schemas.openxmlformats.org/officeDocument/2006/relationships/image" Target="../media/image73.png"/><Relationship Id="rId57" Type="http://schemas.openxmlformats.org/officeDocument/2006/relationships/image" Target="../media/image81.png"/><Relationship Id="rId61" Type="http://schemas.openxmlformats.org/officeDocument/2006/relationships/image" Target="../media/image85.png"/><Relationship Id="rId10" Type="http://schemas.openxmlformats.org/officeDocument/2006/relationships/image" Target="../media/image34.svg"/><Relationship Id="rId19" Type="http://schemas.openxmlformats.org/officeDocument/2006/relationships/image" Target="../media/image43.png"/><Relationship Id="rId31" Type="http://schemas.openxmlformats.org/officeDocument/2006/relationships/image" Target="../media/image55.png"/><Relationship Id="rId44" Type="http://schemas.openxmlformats.org/officeDocument/2006/relationships/image" Target="../media/image68.svg"/><Relationship Id="rId52" Type="http://schemas.openxmlformats.org/officeDocument/2006/relationships/image" Target="../media/image76.svg"/><Relationship Id="rId60" Type="http://schemas.openxmlformats.org/officeDocument/2006/relationships/image" Target="../media/image84.svg"/><Relationship Id="rId65" Type="http://schemas.openxmlformats.org/officeDocument/2006/relationships/image" Target="../media/image89.png"/><Relationship Id="rId4" Type="http://schemas.openxmlformats.org/officeDocument/2006/relationships/image" Target="../media/image11.emf"/><Relationship Id="rId9" Type="http://schemas.openxmlformats.org/officeDocument/2006/relationships/image" Target="../media/image33.png"/><Relationship Id="rId14" Type="http://schemas.openxmlformats.org/officeDocument/2006/relationships/image" Target="../media/image38.svg"/><Relationship Id="rId22" Type="http://schemas.openxmlformats.org/officeDocument/2006/relationships/image" Target="../media/image46.svg"/><Relationship Id="rId27" Type="http://schemas.openxmlformats.org/officeDocument/2006/relationships/image" Target="../media/image51.png"/><Relationship Id="rId30" Type="http://schemas.openxmlformats.org/officeDocument/2006/relationships/image" Target="../media/image54.svg"/><Relationship Id="rId35" Type="http://schemas.openxmlformats.org/officeDocument/2006/relationships/image" Target="../media/image59.png"/><Relationship Id="rId43" Type="http://schemas.openxmlformats.org/officeDocument/2006/relationships/image" Target="../media/image67.png"/><Relationship Id="rId48" Type="http://schemas.openxmlformats.org/officeDocument/2006/relationships/image" Target="../media/image72.svg"/><Relationship Id="rId56" Type="http://schemas.openxmlformats.org/officeDocument/2006/relationships/image" Target="../media/image80.svg"/><Relationship Id="rId64" Type="http://schemas.openxmlformats.org/officeDocument/2006/relationships/image" Target="../media/image88.svg"/><Relationship Id="rId69" Type="http://schemas.openxmlformats.org/officeDocument/2006/relationships/image" Target="../media/image2.png"/><Relationship Id="rId8" Type="http://schemas.openxmlformats.org/officeDocument/2006/relationships/image" Target="../media/image32.svg"/><Relationship Id="rId51" Type="http://schemas.openxmlformats.org/officeDocument/2006/relationships/image" Target="../media/image75.png"/><Relationship Id="rId3" Type="http://schemas.openxmlformats.org/officeDocument/2006/relationships/oleObject" Target="../embeddings/oleObject24.bin"/><Relationship Id="rId12" Type="http://schemas.openxmlformats.org/officeDocument/2006/relationships/image" Target="../media/image36.sv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38" Type="http://schemas.openxmlformats.org/officeDocument/2006/relationships/image" Target="../media/image62.svg"/><Relationship Id="rId46" Type="http://schemas.openxmlformats.org/officeDocument/2006/relationships/image" Target="../media/image70.svg"/><Relationship Id="rId59" Type="http://schemas.openxmlformats.org/officeDocument/2006/relationships/image" Target="../media/image83.png"/><Relationship Id="rId67" Type="http://schemas.openxmlformats.org/officeDocument/2006/relationships/image" Target="../media/image91.png"/><Relationship Id="rId20" Type="http://schemas.openxmlformats.org/officeDocument/2006/relationships/image" Target="../media/image44.svg"/><Relationship Id="rId41" Type="http://schemas.openxmlformats.org/officeDocument/2006/relationships/image" Target="../media/image65.png"/><Relationship Id="rId54" Type="http://schemas.openxmlformats.org/officeDocument/2006/relationships/image" Target="../media/image78.svg"/><Relationship Id="rId62" Type="http://schemas.openxmlformats.org/officeDocument/2006/relationships/image" Target="../media/image86.sv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9.png"/><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2.bin"/><Relationship Id="rId9"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3.png"/><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11"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10.jpeg"/><Relationship Id="rId4" Type="http://schemas.openxmlformats.org/officeDocument/2006/relationships/oleObject" Target="../embeddings/oleObject2.bin"/><Relationship Id="rId9" Type="http://schemas.openxmlformats.org/officeDocument/2006/relationships/image" Target="../media/image7.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4.bin"/><Relationship Id="rId7" Type="http://schemas.openxmlformats.org/officeDocument/2006/relationships/image" Target="../media/image13.sv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2.png"/><Relationship Id="rId5" Type="http://schemas.openxmlformats.org/officeDocument/2006/relationships/image" Target="../media/image3.png"/><Relationship Id="rId10" Type="http://schemas.openxmlformats.org/officeDocument/2006/relationships/image" Target="../media/image16.png"/><Relationship Id="rId4" Type="http://schemas.openxmlformats.org/officeDocument/2006/relationships/image" Target="../media/image11.emf"/><Relationship Id="rId9" Type="http://schemas.openxmlformats.org/officeDocument/2006/relationships/image" Target="../media/image15.sv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7.png"/><Relationship Id="rId5" Type="http://schemas.openxmlformats.org/officeDocument/2006/relationships/image" Target="../media/image3.png"/><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8.png"/><Relationship Id="rId5" Type="http://schemas.openxmlformats.org/officeDocument/2006/relationships/image" Target="../media/image3.png"/><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Bi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3251A46-EB41-DAFD-C3AA-AC2D8229BE51}"/>
              </a:ext>
            </a:extLst>
          </p:cNvPr>
          <p:cNvPicPr>
            <a:picLocks noChangeAspect="1"/>
          </p:cNvPicPr>
          <p:nvPr userDrawn="1"/>
        </p:nvPicPr>
        <p:blipFill>
          <a:blip r:embed="rId3"/>
          <a:stretch>
            <a:fillRect/>
          </a:stretch>
        </p:blipFill>
        <p:spPr>
          <a:xfrm>
            <a:off x="-1" y="0"/>
            <a:ext cx="12192001" cy="6858000"/>
          </a:xfrm>
          <a:prstGeom prst="rect">
            <a:avLst/>
          </a:prstGeom>
        </p:spPr>
      </p:pic>
      <p:sp>
        <p:nvSpPr>
          <p:cNvPr id="9" name="Picture Placeholder 8">
            <a:extLst>
              <a:ext uri="{FF2B5EF4-FFF2-40B4-BE49-F238E27FC236}">
                <a16:creationId xmlns:a16="http://schemas.microsoft.com/office/drawing/2014/main" id="{FB4ED42F-6AD0-F2A7-5042-E5DF68C61AAE}"/>
              </a:ext>
            </a:extLst>
          </p:cNvPr>
          <p:cNvSpPr>
            <a:spLocks noGrp="1"/>
          </p:cNvSpPr>
          <p:nvPr>
            <p:ph type="pic" sz="quarter" idx="15"/>
          </p:nvPr>
        </p:nvSpPr>
        <p:spPr>
          <a:xfrm>
            <a:off x="3586843" y="1"/>
            <a:ext cx="8605157" cy="6857998"/>
          </a:xfrm>
          <a:custGeom>
            <a:avLst/>
            <a:gdLst>
              <a:gd name="connsiteX0" fmla="*/ 3879296 w 8605157"/>
              <a:gd name="connsiteY0" fmla="*/ 0 h 6857998"/>
              <a:gd name="connsiteX1" fmla="*/ 8605157 w 8605157"/>
              <a:gd name="connsiteY1" fmla="*/ 0 h 6857998"/>
              <a:gd name="connsiteX2" fmla="*/ 8605157 w 8605157"/>
              <a:gd name="connsiteY2" fmla="*/ 6857998 h 6857998"/>
              <a:gd name="connsiteX3" fmla="*/ 0 w 8605157"/>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8605157" h="6857998">
                <a:moveTo>
                  <a:pt x="3879296" y="0"/>
                </a:moveTo>
                <a:lnTo>
                  <a:pt x="8605157" y="0"/>
                </a:lnTo>
                <a:lnTo>
                  <a:pt x="8605157" y="6857998"/>
                </a:lnTo>
                <a:lnTo>
                  <a:pt x="0" y="6857998"/>
                </a:lnTo>
                <a:close/>
              </a:path>
            </a:pathLst>
          </a:custGeom>
          <a:pattFill prst="pct20">
            <a:fgClr>
              <a:schemeClr val="accent2"/>
            </a:fgClr>
            <a:bgClr>
              <a:schemeClr val="bg1"/>
            </a:bgClr>
          </a:pattFill>
          <a:ln w="12700" cap="flat">
            <a:noFill/>
            <a:prstDash val="solid"/>
            <a:miter/>
          </a:ln>
          <a:effectLst>
            <a:outerShdw blurRad="685800" dist="38100" dir="10800000" algn="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de-DE" sz="1800"/>
            </a:lvl1pPr>
          </a:lstStyle>
          <a:p>
            <a:pPr marL="0" lvl="0"/>
            <a:endParaRPr lang="de-DE" dirty="0"/>
          </a:p>
        </p:txBody>
      </p:sp>
      <p:sp>
        <p:nvSpPr>
          <p:cNvPr id="4" name="Freeform: Shape 3">
            <a:extLst>
              <a:ext uri="{FF2B5EF4-FFF2-40B4-BE49-F238E27FC236}">
                <a16:creationId xmlns:a16="http://schemas.microsoft.com/office/drawing/2014/main" id="{FC7ACE24-0CD8-C424-4E3D-EF53D1ADF883}"/>
              </a:ext>
            </a:extLst>
          </p:cNvPr>
          <p:cNvSpPr/>
          <p:nvPr userDrawn="1"/>
        </p:nvSpPr>
        <p:spPr>
          <a:xfrm>
            <a:off x="0" y="-1"/>
            <a:ext cx="10323636" cy="6858001"/>
          </a:xfrm>
          <a:custGeom>
            <a:avLst/>
            <a:gdLst>
              <a:gd name="connsiteX0" fmla="*/ 0 w 10284071"/>
              <a:gd name="connsiteY0" fmla="*/ 0 h 6858001"/>
              <a:gd name="connsiteX1" fmla="*/ 2044700 w 10284071"/>
              <a:gd name="connsiteY1" fmla="*/ 0 h 6858001"/>
              <a:gd name="connsiteX2" fmla="*/ 2044700 w 10284071"/>
              <a:gd name="connsiteY2" fmla="*/ 1 h 6858001"/>
              <a:gd name="connsiteX3" fmla="*/ 10284071 w 10284071"/>
              <a:gd name="connsiteY3" fmla="*/ 1 h 6858001"/>
              <a:gd name="connsiteX4" fmla="*/ 6324600 w 10284071"/>
              <a:gd name="connsiteY4" fmla="*/ 6858001 h 6858001"/>
              <a:gd name="connsiteX5" fmla="*/ 990600 w 10284071"/>
              <a:gd name="connsiteY5" fmla="*/ 6858001 h 6858001"/>
              <a:gd name="connsiteX6" fmla="*/ 990600 w 10284071"/>
              <a:gd name="connsiteY6" fmla="*/ 6858000 h 6858001"/>
              <a:gd name="connsiteX7" fmla="*/ 0 w 10284071"/>
              <a:gd name="connsiteY7"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84071" h="6858001">
                <a:moveTo>
                  <a:pt x="0" y="0"/>
                </a:moveTo>
                <a:lnTo>
                  <a:pt x="2044700" y="0"/>
                </a:lnTo>
                <a:lnTo>
                  <a:pt x="2044700" y="1"/>
                </a:lnTo>
                <a:lnTo>
                  <a:pt x="10284071" y="1"/>
                </a:lnTo>
                <a:lnTo>
                  <a:pt x="6324600" y="6858001"/>
                </a:lnTo>
                <a:lnTo>
                  <a:pt x="990600" y="6858001"/>
                </a:lnTo>
                <a:lnTo>
                  <a:pt x="990600" y="6858000"/>
                </a:lnTo>
                <a:lnTo>
                  <a:pt x="0" y="6858000"/>
                </a:lnTo>
                <a:close/>
              </a:path>
            </a:pathLst>
          </a:custGeom>
          <a:gradFill flip="none" rotWithShape="0">
            <a:gsLst>
              <a:gs pos="0">
                <a:srgbClr val="00338D">
                  <a:alpha val="90980"/>
                </a:srgbClr>
              </a:gs>
              <a:gs pos="100000">
                <a:srgbClr val="7A2582">
                  <a:alpha val="9098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de-DE">
              <a:solidFill>
                <a:prstClr val="white">
                  <a:alpha val="44000"/>
                </a:prstClr>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ct 6" hidden="1">
            <a:extLst>
              <a:ext uri="{FF2B5EF4-FFF2-40B4-BE49-F238E27FC236}">
                <a16:creationId xmlns:a16="http://schemas.microsoft.com/office/drawing/2014/main" id="{2D46B078-CEFE-09BD-85FE-560ABB3E8AEE}"/>
              </a:ext>
            </a:extLst>
          </p:cNvPr>
          <p:cNvGraphicFramePr>
            <a:graphicFrameLocks noChangeAspect="1"/>
          </p:cNvGraphicFramePr>
          <p:nvPr userDrawn="1">
            <p:custDataLst>
              <p:tags r:id="rId1"/>
            </p:custDataLst>
            <p:extLst>
              <p:ext uri="{D42A27DB-BD31-4B8C-83A1-F6EECF244321}">
                <p14:modId xmlns:p14="http://schemas.microsoft.com/office/powerpoint/2010/main" val="531307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7" name="Object 6" hidden="1">
                        <a:extLst>
                          <a:ext uri="{FF2B5EF4-FFF2-40B4-BE49-F238E27FC236}">
                            <a16:creationId xmlns:a16="http://schemas.microsoft.com/office/drawing/2014/main" id="{2D46B078-CEFE-09BD-85FE-560ABB3E8A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Graphic 2">
            <a:extLst>
              <a:ext uri="{FF2B5EF4-FFF2-40B4-BE49-F238E27FC236}">
                <a16:creationId xmlns:a16="http://schemas.microsoft.com/office/drawing/2014/main" id="{978CC8C7-891F-16E0-F5D4-5F8AAB6951C8}"/>
              </a:ext>
            </a:extLst>
          </p:cNvPr>
          <p:cNvSpPr/>
          <p:nvPr userDrawn="1"/>
        </p:nvSpPr>
        <p:spPr>
          <a:xfrm>
            <a:off x="4860602" y="0"/>
            <a:ext cx="6858000" cy="6858000"/>
          </a:xfrm>
          <a:custGeom>
            <a:avLst/>
            <a:gdLst>
              <a:gd name="connsiteX0" fmla="*/ 2898529 w 6858000"/>
              <a:gd name="connsiteY0" fmla="*/ 6858000 h 6858000"/>
              <a:gd name="connsiteX1" fmla="*/ 6858000 w 6858000"/>
              <a:gd name="connsiteY1" fmla="*/ 0 h 6858000"/>
              <a:gd name="connsiteX2" fmla="*/ 3959471 w 6858000"/>
              <a:gd name="connsiteY2" fmla="*/ 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2898529" y="6858000"/>
                </a:moveTo>
                <a:lnTo>
                  <a:pt x="6858000" y="0"/>
                </a:lnTo>
                <a:lnTo>
                  <a:pt x="3959471" y="0"/>
                </a:lnTo>
                <a:lnTo>
                  <a:pt x="0" y="6858000"/>
                </a:lnTo>
                <a:close/>
              </a:path>
            </a:pathLst>
          </a:custGeom>
          <a:gradFill flip="none" rotWithShape="1">
            <a:gsLst>
              <a:gs pos="0">
                <a:schemeClr val="bg2">
                  <a:alpha val="0"/>
                </a:schemeClr>
              </a:gs>
              <a:gs pos="100000">
                <a:schemeClr val="bg2">
                  <a:alpha val="20000"/>
                </a:schemeClr>
              </a:gs>
            </a:gsLst>
            <a:lin ang="16200000" scaled="1"/>
            <a:tileRect/>
          </a:gradFill>
          <a:ln w="7938" cap="flat">
            <a:noFill/>
            <a:prstDash val="solid"/>
            <a:miter/>
          </a:ln>
        </p:spPr>
        <p:txBody>
          <a:bodyPr rtlCol="0" anchor="ctr"/>
          <a:lstStyle/>
          <a:p>
            <a:endParaRPr lang="en-US">
              <a:solidFill>
                <a:prstClr val="black"/>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30" name="Text Placeholder 27">
            <a:extLst>
              <a:ext uri="{FF2B5EF4-FFF2-40B4-BE49-F238E27FC236}">
                <a16:creationId xmlns:a16="http://schemas.microsoft.com/office/drawing/2014/main" id="{E586DFEC-49D0-20F6-028A-C02D4CE48ADF}"/>
              </a:ext>
            </a:extLst>
          </p:cNvPr>
          <p:cNvSpPr>
            <a:spLocks noGrp="1"/>
          </p:cNvSpPr>
          <p:nvPr>
            <p:ph type="body" sz="quarter" idx="19"/>
          </p:nvPr>
        </p:nvSpPr>
        <p:spPr>
          <a:xfrm>
            <a:off x="1325899" y="4581329"/>
            <a:ext cx="3017710" cy="360612"/>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1"/>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28" name="Text Placeholder 27">
            <a:extLst>
              <a:ext uri="{FF2B5EF4-FFF2-40B4-BE49-F238E27FC236}">
                <a16:creationId xmlns:a16="http://schemas.microsoft.com/office/drawing/2014/main" id="{7383A3EC-21F5-3A41-BA55-C9369FA86F71}"/>
              </a:ext>
            </a:extLst>
          </p:cNvPr>
          <p:cNvSpPr>
            <a:spLocks noGrp="1"/>
          </p:cNvSpPr>
          <p:nvPr>
            <p:ph type="body" sz="quarter" idx="17"/>
          </p:nvPr>
        </p:nvSpPr>
        <p:spPr>
          <a:xfrm>
            <a:off x="546625" y="2317715"/>
            <a:ext cx="4313977" cy="1446550"/>
          </a:xfrm>
          <a:prstGeom prst="rect">
            <a:avLst/>
          </a:prstGeom>
        </p:spPr>
        <p:txBody>
          <a:bodyPr/>
          <a:lstStyle>
            <a:lvl1pPr marL="0" indent="0" algn="l" defTabSz="914400" rtl="0" eaLnBrk="1" latinLnBrk="0" hangingPunct="1">
              <a:buNone/>
              <a:defRPr lang="en-GB" sz="4400" b="1" kern="1200" dirty="0">
                <a:solidFill>
                  <a:schemeClr val="accent4"/>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lvl="0"/>
            <a:endParaRPr lang="en-GB" dirty="0"/>
          </a:p>
        </p:txBody>
      </p:sp>
      <p:sp>
        <p:nvSpPr>
          <p:cNvPr id="29" name="Text Placeholder 27">
            <a:extLst>
              <a:ext uri="{FF2B5EF4-FFF2-40B4-BE49-F238E27FC236}">
                <a16:creationId xmlns:a16="http://schemas.microsoft.com/office/drawing/2014/main" id="{427BB830-D4F7-8D1A-8CBB-651545BB1C81}"/>
              </a:ext>
            </a:extLst>
          </p:cNvPr>
          <p:cNvSpPr>
            <a:spLocks noGrp="1"/>
          </p:cNvSpPr>
          <p:nvPr>
            <p:ph type="body" sz="quarter" idx="18"/>
          </p:nvPr>
        </p:nvSpPr>
        <p:spPr>
          <a:xfrm>
            <a:off x="546625" y="3810504"/>
            <a:ext cx="4313977" cy="424732"/>
          </a:xfrm>
          <a:prstGeom prst="rect">
            <a:avLst/>
          </a:prstGeom>
        </p:spPr>
        <p:txBody>
          <a:bodyPr/>
          <a:lstStyle>
            <a:lvl1pPr marL="0" indent="0" algn="l" defTabSz="914400" rtl="0" eaLnBrk="1" latinLnBrk="0" hangingPunct="1">
              <a:buNone/>
              <a:defRPr kumimoji="0" lang="en-GB" sz="2000" strike="noStrike" kern="1200" cap="none" spc="0" normalizeH="0" baseline="0" dirty="0">
                <a:ln>
                  <a:noFill/>
                </a:ln>
                <a:solidFill>
                  <a:srgbClr val="FFFFFF"/>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GB" dirty="0"/>
          </a:p>
        </p:txBody>
      </p:sp>
      <p:sp>
        <p:nvSpPr>
          <p:cNvPr id="16" name="Parallelogram 15">
            <a:extLst>
              <a:ext uri="{FF2B5EF4-FFF2-40B4-BE49-F238E27FC236}">
                <a16:creationId xmlns:a16="http://schemas.microsoft.com/office/drawing/2014/main" id="{2094E519-8E2B-2B93-448C-9B89575F52FD}"/>
              </a:ext>
            </a:extLst>
          </p:cNvPr>
          <p:cNvSpPr/>
          <p:nvPr userDrawn="1"/>
        </p:nvSpPr>
        <p:spPr>
          <a:xfrm>
            <a:off x="596420" y="5183268"/>
            <a:ext cx="745946" cy="436894"/>
          </a:xfrm>
          <a:prstGeom prst="parallelogram">
            <a:avLst>
              <a:gd name="adj" fmla="val 56566"/>
            </a:avLst>
          </a:pr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black"/>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pic>
        <p:nvPicPr>
          <p:cNvPr id="22" name="Graphic 21" descr="Email with solid fill">
            <a:extLst>
              <a:ext uri="{FF2B5EF4-FFF2-40B4-BE49-F238E27FC236}">
                <a16:creationId xmlns:a16="http://schemas.microsoft.com/office/drawing/2014/main" id="{28F40432-BA67-3D8B-E014-1C9F27AF8E40}"/>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30098" y="5262420"/>
            <a:ext cx="278590" cy="278590"/>
          </a:xfrm>
          <a:prstGeom prst="rect">
            <a:avLst/>
          </a:prstGeom>
        </p:spPr>
      </p:pic>
      <p:sp>
        <p:nvSpPr>
          <p:cNvPr id="24" name="Parallelogram 23">
            <a:extLst>
              <a:ext uri="{FF2B5EF4-FFF2-40B4-BE49-F238E27FC236}">
                <a16:creationId xmlns:a16="http://schemas.microsoft.com/office/drawing/2014/main" id="{1CA3B60A-FF37-458E-B2F3-CFAB4BD31051}"/>
              </a:ext>
            </a:extLst>
          </p:cNvPr>
          <p:cNvSpPr/>
          <p:nvPr userDrawn="1"/>
        </p:nvSpPr>
        <p:spPr>
          <a:xfrm>
            <a:off x="596420" y="4543188"/>
            <a:ext cx="745946" cy="436894"/>
          </a:xfrm>
          <a:prstGeom prst="parallelogram">
            <a:avLst>
              <a:gd name="adj" fmla="val 56566"/>
            </a:avLst>
          </a:pr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pic>
        <p:nvPicPr>
          <p:cNvPr id="26" name="Graphic 25" descr="World with solid fill">
            <a:extLst>
              <a:ext uri="{FF2B5EF4-FFF2-40B4-BE49-F238E27FC236}">
                <a16:creationId xmlns:a16="http://schemas.microsoft.com/office/drawing/2014/main" id="{EC193956-BE70-B75F-90F6-BD72444196FD}"/>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0098" y="4622340"/>
            <a:ext cx="278590" cy="278590"/>
          </a:xfrm>
          <a:prstGeom prst="rect">
            <a:avLst/>
          </a:prstGeom>
        </p:spPr>
      </p:pic>
      <p:sp>
        <p:nvSpPr>
          <p:cNvPr id="27" name="Text Placeholder 27">
            <a:extLst>
              <a:ext uri="{FF2B5EF4-FFF2-40B4-BE49-F238E27FC236}">
                <a16:creationId xmlns:a16="http://schemas.microsoft.com/office/drawing/2014/main" id="{C771B09C-8A2C-AF59-F935-D71348795E5A}"/>
              </a:ext>
            </a:extLst>
          </p:cNvPr>
          <p:cNvSpPr>
            <a:spLocks noGrp="1"/>
          </p:cNvSpPr>
          <p:nvPr>
            <p:ph type="body" sz="quarter" idx="21"/>
          </p:nvPr>
        </p:nvSpPr>
        <p:spPr>
          <a:xfrm>
            <a:off x="1325899" y="5221409"/>
            <a:ext cx="3017710" cy="360612"/>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1"/>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pic>
        <p:nvPicPr>
          <p:cNvPr id="3" name="Picture 2" descr="A black and white sign with white text&#10;&#10;Description automatically generated">
            <a:extLst>
              <a:ext uri="{FF2B5EF4-FFF2-40B4-BE49-F238E27FC236}">
                <a16:creationId xmlns:a16="http://schemas.microsoft.com/office/drawing/2014/main" id="{8EA7E4C2-F485-FEBB-79C2-515E1BB21163}"/>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571087" y="1237838"/>
            <a:ext cx="3406554" cy="716526"/>
          </a:xfrm>
          <a:prstGeom prst="rect">
            <a:avLst/>
          </a:prstGeom>
        </p:spPr>
      </p:pic>
    </p:spTree>
    <p:extLst>
      <p:ext uri="{BB962C8B-B14F-4D97-AF65-F5344CB8AC3E}">
        <p14:creationId xmlns:p14="http://schemas.microsoft.com/office/powerpoint/2010/main" val="145129048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Agenda Slide">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DC3F75C2-AFA4-382C-5BFD-1D67086F30F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0" y="0"/>
            <a:ext cx="9474616" cy="6857999"/>
          </a:xfrm>
          <a:custGeom>
            <a:avLst/>
            <a:gdLst>
              <a:gd name="connsiteX0" fmla="*/ 0 w 9474616"/>
              <a:gd name="connsiteY0" fmla="*/ 0 h 6857999"/>
              <a:gd name="connsiteX1" fmla="*/ 756997 w 9474616"/>
              <a:gd name="connsiteY1" fmla="*/ 0 h 6857999"/>
              <a:gd name="connsiteX2" fmla="*/ 968064 w 9474616"/>
              <a:gd name="connsiteY2" fmla="*/ 0 h 6857999"/>
              <a:gd name="connsiteX3" fmla="*/ 1190314 w 9474616"/>
              <a:gd name="connsiteY3" fmla="*/ 0 h 6857999"/>
              <a:gd name="connsiteX4" fmla="*/ 2537404 w 9474616"/>
              <a:gd name="connsiteY4" fmla="*/ 0 h 6857999"/>
              <a:gd name="connsiteX5" fmla="*/ 2741740 w 9474616"/>
              <a:gd name="connsiteY5" fmla="*/ 0 h 6857999"/>
              <a:gd name="connsiteX6" fmla="*/ 3331949 w 9474616"/>
              <a:gd name="connsiteY6" fmla="*/ 0 h 6857999"/>
              <a:gd name="connsiteX7" fmla="*/ 9474616 w 9474616"/>
              <a:gd name="connsiteY7" fmla="*/ 0 h 6857999"/>
              <a:gd name="connsiteX8" fmla="*/ 5515149 w 9474616"/>
              <a:gd name="connsiteY8" fmla="*/ 6857997 h 6857999"/>
              <a:gd name="connsiteX9" fmla="*/ 3425952 w 9474616"/>
              <a:gd name="connsiteY9" fmla="*/ 6857997 h 6857999"/>
              <a:gd name="connsiteX10" fmla="*/ 3425952 w 9474616"/>
              <a:gd name="connsiteY10" fmla="*/ 6857999 h 6857999"/>
              <a:gd name="connsiteX11" fmla="*/ 3331949 w 9474616"/>
              <a:gd name="connsiteY11" fmla="*/ 6857999 h 6857999"/>
              <a:gd name="connsiteX12" fmla="*/ 2741740 w 9474616"/>
              <a:gd name="connsiteY12" fmla="*/ 6857999 h 6857999"/>
              <a:gd name="connsiteX13" fmla="*/ 1190314 w 9474616"/>
              <a:gd name="connsiteY13" fmla="*/ 6857999 h 6857999"/>
              <a:gd name="connsiteX14" fmla="*/ 968064 w 9474616"/>
              <a:gd name="connsiteY14" fmla="*/ 6857999 h 6857999"/>
              <a:gd name="connsiteX15" fmla="*/ 756997 w 9474616"/>
              <a:gd name="connsiteY15" fmla="*/ 6857999 h 6857999"/>
              <a:gd name="connsiteX16" fmla="*/ 0 w 9474616"/>
              <a:gd name="connsiteY1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74616" h="6857999">
                <a:moveTo>
                  <a:pt x="0" y="0"/>
                </a:moveTo>
                <a:lnTo>
                  <a:pt x="756997" y="0"/>
                </a:lnTo>
                <a:lnTo>
                  <a:pt x="968064" y="0"/>
                </a:lnTo>
                <a:lnTo>
                  <a:pt x="1190314" y="0"/>
                </a:lnTo>
                <a:lnTo>
                  <a:pt x="2537404" y="0"/>
                </a:lnTo>
                <a:lnTo>
                  <a:pt x="2741740" y="0"/>
                </a:lnTo>
                <a:lnTo>
                  <a:pt x="3331949" y="0"/>
                </a:lnTo>
                <a:lnTo>
                  <a:pt x="9474616" y="0"/>
                </a:lnTo>
                <a:lnTo>
                  <a:pt x="5515149" y="6857997"/>
                </a:lnTo>
                <a:lnTo>
                  <a:pt x="3425952" y="6857997"/>
                </a:lnTo>
                <a:lnTo>
                  <a:pt x="3425952" y="6857999"/>
                </a:lnTo>
                <a:lnTo>
                  <a:pt x="3331949" y="6857999"/>
                </a:lnTo>
                <a:lnTo>
                  <a:pt x="2741740" y="6857999"/>
                </a:lnTo>
                <a:lnTo>
                  <a:pt x="1190314" y="6857999"/>
                </a:lnTo>
                <a:lnTo>
                  <a:pt x="968064" y="6857999"/>
                </a:lnTo>
                <a:lnTo>
                  <a:pt x="756997" y="6857999"/>
                </a:lnTo>
                <a:lnTo>
                  <a:pt x="0" y="6857999"/>
                </a:lnTo>
                <a:close/>
              </a:path>
            </a:pathLst>
          </a:custGeom>
        </p:spPr>
      </p:pic>
      <p:sp>
        <p:nvSpPr>
          <p:cNvPr id="5" name="Freeform: Shape 4">
            <a:extLst>
              <a:ext uri="{FF2B5EF4-FFF2-40B4-BE49-F238E27FC236}">
                <a16:creationId xmlns:a16="http://schemas.microsoft.com/office/drawing/2014/main" id="{590FD2E3-466A-E4AF-F55C-6717E595DD51}"/>
              </a:ext>
            </a:extLst>
          </p:cNvPr>
          <p:cNvSpPr/>
          <p:nvPr userDrawn="1"/>
        </p:nvSpPr>
        <p:spPr>
          <a:xfrm>
            <a:off x="0" y="1"/>
            <a:ext cx="9474616" cy="6857999"/>
          </a:xfrm>
          <a:custGeom>
            <a:avLst/>
            <a:gdLst>
              <a:gd name="connsiteX0" fmla="*/ 0 w 9474616"/>
              <a:gd name="connsiteY0" fmla="*/ 0 h 6857999"/>
              <a:gd name="connsiteX1" fmla="*/ 756997 w 9474616"/>
              <a:gd name="connsiteY1" fmla="*/ 0 h 6857999"/>
              <a:gd name="connsiteX2" fmla="*/ 968064 w 9474616"/>
              <a:gd name="connsiteY2" fmla="*/ 0 h 6857999"/>
              <a:gd name="connsiteX3" fmla="*/ 1190314 w 9474616"/>
              <a:gd name="connsiteY3" fmla="*/ 0 h 6857999"/>
              <a:gd name="connsiteX4" fmla="*/ 2537404 w 9474616"/>
              <a:gd name="connsiteY4" fmla="*/ 0 h 6857999"/>
              <a:gd name="connsiteX5" fmla="*/ 2741740 w 9474616"/>
              <a:gd name="connsiteY5" fmla="*/ 0 h 6857999"/>
              <a:gd name="connsiteX6" fmla="*/ 3331949 w 9474616"/>
              <a:gd name="connsiteY6" fmla="*/ 0 h 6857999"/>
              <a:gd name="connsiteX7" fmla="*/ 9474616 w 9474616"/>
              <a:gd name="connsiteY7" fmla="*/ 0 h 6857999"/>
              <a:gd name="connsiteX8" fmla="*/ 5515149 w 9474616"/>
              <a:gd name="connsiteY8" fmla="*/ 6857997 h 6857999"/>
              <a:gd name="connsiteX9" fmla="*/ 3425952 w 9474616"/>
              <a:gd name="connsiteY9" fmla="*/ 6857997 h 6857999"/>
              <a:gd name="connsiteX10" fmla="*/ 3425952 w 9474616"/>
              <a:gd name="connsiteY10" fmla="*/ 6857999 h 6857999"/>
              <a:gd name="connsiteX11" fmla="*/ 3331949 w 9474616"/>
              <a:gd name="connsiteY11" fmla="*/ 6857999 h 6857999"/>
              <a:gd name="connsiteX12" fmla="*/ 2741740 w 9474616"/>
              <a:gd name="connsiteY12" fmla="*/ 6857999 h 6857999"/>
              <a:gd name="connsiteX13" fmla="*/ 1190314 w 9474616"/>
              <a:gd name="connsiteY13" fmla="*/ 6857999 h 6857999"/>
              <a:gd name="connsiteX14" fmla="*/ 968064 w 9474616"/>
              <a:gd name="connsiteY14" fmla="*/ 6857999 h 6857999"/>
              <a:gd name="connsiteX15" fmla="*/ 756997 w 9474616"/>
              <a:gd name="connsiteY15" fmla="*/ 6857999 h 6857999"/>
              <a:gd name="connsiteX16" fmla="*/ 0 w 9474616"/>
              <a:gd name="connsiteY1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74616" h="6857999">
                <a:moveTo>
                  <a:pt x="0" y="0"/>
                </a:moveTo>
                <a:lnTo>
                  <a:pt x="756997" y="0"/>
                </a:lnTo>
                <a:lnTo>
                  <a:pt x="968064" y="0"/>
                </a:lnTo>
                <a:lnTo>
                  <a:pt x="1190314" y="0"/>
                </a:lnTo>
                <a:lnTo>
                  <a:pt x="2537404" y="0"/>
                </a:lnTo>
                <a:lnTo>
                  <a:pt x="2741740" y="0"/>
                </a:lnTo>
                <a:lnTo>
                  <a:pt x="3331949" y="0"/>
                </a:lnTo>
                <a:lnTo>
                  <a:pt x="9474616" y="0"/>
                </a:lnTo>
                <a:lnTo>
                  <a:pt x="5515149" y="6857997"/>
                </a:lnTo>
                <a:lnTo>
                  <a:pt x="3425952" y="6857997"/>
                </a:lnTo>
                <a:lnTo>
                  <a:pt x="3425952" y="6857999"/>
                </a:lnTo>
                <a:lnTo>
                  <a:pt x="3331949" y="6857999"/>
                </a:lnTo>
                <a:lnTo>
                  <a:pt x="2741740" y="6857999"/>
                </a:lnTo>
                <a:lnTo>
                  <a:pt x="1190314" y="6857999"/>
                </a:lnTo>
                <a:lnTo>
                  <a:pt x="968064" y="6857999"/>
                </a:lnTo>
                <a:lnTo>
                  <a:pt x="756997" y="6857999"/>
                </a:lnTo>
                <a:lnTo>
                  <a:pt x="0" y="6857999"/>
                </a:lnTo>
                <a:close/>
              </a:path>
            </a:pathLst>
          </a:custGeom>
          <a:gradFill flip="none" rotWithShape="0">
            <a:gsLst>
              <a:gs pos="0">
                <a:srgbClr val="00338D">
                  <a:alpha val="90980"/>
                </a:srgbClr>
              </a:gs>
              <a:gs pos="100000">
                <a:srgbClr val="7A2582">
                  <a:alpha val="9098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GB">
              <a:solidFill>
                <a:schemeClr val="lt1">
                  <a:alpha val="44000"/>
                </a:schemeClr>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3" name="think-cell data - do not delete" hidden="1">
            <a:extLst>
              <a:ext uri="{FF2B5EF4-FFF2-40B4-BE49-F238E27FC236}">
                <a16:creationId xmlns:a16="http://schemas.microsoft.com/office/drawing/2014/main" id="{76F581E1-3F64-53E7-19C2-F1CD0DE57F8A}"/>
              </a:ext>
            </a:extLst>
          </p:cNvPr>
          <p:cNvGraphicFramePr>
            <a:graphicFrameLocks noChangeAspect="1"/>
          </p:cNvGraphicFramePr>
          <p:nvPr userDrawn="1">
            <p:custDataLst>
              <p:tags r:id="rId1"/>
            </p:custDataLst>
            <p:extLst>
              <p:ext uri="{D42A27DB-BD31-4B8C-83A1-F6EECF244321}">
                <p14:modId xmlns:p14="http://schemas.microsoft.com/office/powerpoint/2010/main" val="2017951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3" progId="TCLayout.ActiveDocument.1">
                  <p:embed/>
                </p:oleObj>
              </mc:Choice>
              <mc:Fallback>
                <p:oleObj name="think-cell Slide" r:id="rId4" imgW="344" imgH="343" progId="TCLayout.ActiveDocument.1">
                  <p:embed/>
                  <p:pic>
                    <p:nvPicPr>
                      <p:cNvPr id="3" name="think-cell data - do not delete" hidden="1">
                        <a:extLst>
                          <a:ext uri="{FF2B5EF4-FFF2-40B4-BE49-F238E27FC236}">
                            <a16:creationId xmlns:a16="http://schemas.microsoft.com/office/drawing/2014/main" id="{76F581E1-3F64-53E7-19C2-F1CD0DE57F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Background - Solid">
            <a:extLst>
              <a:ext uri="{FF2B5EF4-FFF2-40B4-BE49-F238E27FC236}">
                <a16:creationId xmlns:a16="http://schemas.microsoft.com/office/drawing/2014/main" id="{A27A1177-E685-2C8E-9B9F-F0E84CFF82F6}"/>
              </a:ext>
            </a:extLst>
          </p:cNvPr>
          <p:cNvSpPr/>
          <p:nvPr/>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5" name="Text Placeholder 27">
            <a:extLst>
              <a:ext uri="{FF2B5EF4-FFF2-40B4-BE49-F238E27FC236}">
                <a16:creationId xmlns:a16="http://schemas.microsoft.com/office/drawing/2014/main" id="{17D8A2FC-EDEA-5DC2-3D48-71DB04C5050B}"/>
              </a:ext>
            </a:extLst>
          </p:cNvPr>
          <p:cNvSpPr>
            <a:spLocks noGrp="1"/>
          </p:cNvSpPr>
          <p:nvPr>
            <p:ph type="body" sz="quarter" idx="17" hasCustomPrompt="1"/>
          </p:nvPr>
        </p:nvSpPr>
        <p:spPr>
          <a:xfrm>
            <a:off x="453915" y="547529"/>
            <a:ext cx="3434826" cy="840230"/>
          </a:xfrm>
          <a:prstGeom prst="rect">
            <a:avLst/>
          </a:prstGeom>
        </p:spPr>
        <p:txBody>
          <a:bodyPr anchor="ctr"/>
          <a:lstStyle>
            <a:lvl1pPr marL="0" indent="0" algn="l" defTabSz="914400" rtl="0" eaLnBrk="1" latinLnBrk="0" hangingPunct="1">
              <a:lnSpc>
                <a:spcPct val="90000"/>
              </a:lnSpc>
              <a:buNone/>
              <a:defRPr lang="en-GB" sz="5400" b="1" kern="1200" dirty="0">
                <a:solidFill>
                  <a:schemeClr val="bg2"/>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lvl="0"/>
            <a:r>
              <a:rPr lang="en-GB" dirty="0"/>
              <a:t>Agenda</a:t>
            </a:r>
          </a:p>
        </p:txBody>
      </p:sp>
      <p:sp>
        <p:nvSpPr>
          <p:cNvPr id="7" name="Slide Number Placeholder 5">
            <a:extLst>
              <a:ext uri="{FF2B5EF4-FFF2-40B4-BE49-F238E27FC236}">
                <a16:creationId xmlns:a16="http://schemas.microsoft.com/office/drawing/2014/main" id="{06721091-94E7-22C5-270C-85E85E0E2B3D}"/>
              </a:ext>
            </a:extLst>
          </p:cNvPr>
          <p:cNvSpPr txBox="1">
            <a:spLocks/>
          </p:cNvSpPr>
          <p:nvPr userDrawn="1"/>
        </p:nvSpPr>
        <p:spPr>
          <a:xfrm>
            <a:off x="9141577" y="629920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EB7FA4-D16D-498B-9843-862279835448}" type="slidenum">
              <a:rPr lang="en-GB" sz="1100" b="1" smtClean="0">
                <a:solidFill>
                  <a:schemeClr val="accent1"/>
                </a:solidFill>
                <a:latin typeface="Arial" panose="020B0604020202020204" pitchFamily="34" charset="0"/>
                <a:cs typeface="Arial" panose="020B0604020202020204" pitchFamily="34" charset="0"/>
                <a:sym typeface="Arial" panose="020B0604020202020204" pitchFamily="34" charset="0"/>
              </a:rPr>
              <a:pPr/>
              <a:t>‹Nr.›</a:t>
            </a:fld>
            <a:endParaRPr lang="en-GB" sz="1100" b="1" dirty="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10" name="Text Placeholder 27">
            <a:extLst>
              <a:ext uri="{FF2B5EF4-FFF2-40B4-BE49-F238E27FC236}">
                <a16:creationId xmlns:a16="http://schemas.microsoft.com/office/drawing/2014/main" id="{CCA5758D-A45F-1B00-0186-FB486BD57B95}"/>
              </a:ext>
            </a:extLst>
          </p:cNvPr>
          <p:cNvSpPr>
            <a:spLocks noGrp="1"/>
          </p:cNvSpPr>
          <p:nvPr>
            <p:ph type="body" sz="quarter" idx="20"/>
          </p:nvPr>
        </p:nvSpPr>
        <p:spPr>
          <a:xfrm>
            <a:off x="1367590" y="1671618"/>
            <a:ext cx="3944703" cy="337400"/>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11" name="Text Placeholder 27">
            <a:extLst>
              <a:ext uri="{FF2B5EF4-FFF2-40B4-BE49-F238E27FC236}">
                <a16:creationId xmlns:a16="http://schemas.microsoft.com/office/drawing/2014/main" id="{58678B6C-902F-62F2-8828-B0282C612FDC}"/>
              </a:ext>
            </a:extLst>
          </p:cNvPr>
          <p:cNvSpPr>
            <a:spLocks noGrp="1"/>
          </p:cNvSpPr>
          <p:nvPr>
            <p:ph type="body" sz="quarter" idx="32"/>
          </p:nvPr>
        </p:nvSpPr>
        <p:spPr>
          <a:xfrm>
            <a:off x="1367590" y="2253658"/>
            <a:ext cx="3944703" cy="337400"/>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12" name="Text Placeholder 27">
            <a:extLst>
              <a:ext uri="{FF2B5EF4-FFF2-40B4-BE49-F238E27FC236}">
                <a16:creationId xmlns:a16="http://schemas.microsoft.com/office/drawing/2014/main" id="{834CB27E-23C3-D325-A089-986CE5BC3AE3}"/>
              </a:ext>
            </a:extLst>
          </p:cNvPr>
          <p:cNvSpPr>
            <a:spLocks noGrp="1"/>
          </p:cNvSpPr>
          <p:nvPr>
            <p:ph type="body" sz="quarter" idx="33"/>
          </p:nvPr>
        </p:nvSpPr>
        <p:spPr>
          <a:xfrm>
            <a:off x="1367590" y="2835698"/>
            <a:ext cx="3944703" cy="337400"/>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13" name="Text Placeholder 27">
            <a:extLst>
              <a:ext uri="{FF2B5EF4-FFF2-40B4-BE49-F238E27FC236}">
                <a16:creationId xmlns:a16="http://schemas.microsoft.com/office/drawing/2014/main" id="{7869C244-524B-6398-CC49-14852BA7EFFC}"/>
              </a:ext>
            </a:extLst>
          </p:cNvPr>
          <p:cNvSpPr>
            <a:spLocks noGrp="1"/>
          </p:cNvSpPr>
          <p:nvPr>
            <p:ph type="body" sz="quarter" idx="34"/>
          </p:nvPr>
        </p:nvSpPr>
        <p:spPr>
          <a:xfrm>
            <a:off x="1367590" y="3417738"/>
            <a:ext cx="3944703" cy="337400"/>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14" name="Text Placeholder 27">
            <a:extLst>
              <a:ext uri="{FF2B5EF4-FFF2-40B4-BE49-F238E27FC236}">
                <a16:creationId xmlns:a16="http://schemas.microsoft.com/office/drawing/2014/main" id="{E052C9CC-9204-BA0A-ED28-25B1835CF9FA}"/>
              </a:ext>
            </a:extLst>
          </p:cNvPr>
          <p:cNvSpPr>
            <a:spLocks noGrp="1"/>
          </p:cNvSpPr>
          <p:nvPr>
            <p:ph type="body" sz="quarter" idx="35"/>
          </p:nvPr>
        </p:nvSpPr>
        <p:spPr>
          <a:xfrm>
            <a:off x="1367590" y="3999778"/>
            <a:ext cx="3944703" cy="337400"/>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15" name="Text Placeholder 27">
            <a:extLst>
              <a:ext uri="{FF2B5EF4-FFF2-40B4-BE49-F238E27FC236}">
                <a16:creationId xmlns:a16="http://schemas.microsoft.com/office/drawing/2014/main" id="{5BC88091-9936-FA76-2475-3B2101604A47}"/>
              </a:ext>
            </a:extLst>
          </p:cNvPr>
          <p:cNvSpPr>
            <a:spLocks noGrp="1"/>
          </p:cNvSpPr>
          <p:nvPr>
            <p:ph type="body" sz="quarter" idx="36"/>
          </p:nvPr>
        </p:nvSpPr>
        <p:spPr>
          <a:xfrm>
            <a:off x="1367590" y="4581818"/>
            <a:ext cx="3944703" cy="337400"/>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16" name="Text Placeholder 27">
            <a:extLst>
              <a:ext uri="{FF2B5EF4-FFF2-40B4-BE49-F238E27FC236}">
                <a16:creationId xmlns:a16="http://schemas.microsoft.com/office/drawing/2014/main" id="{D4718337-DAF2-2A88-8F27-A6ECB83161C4}"/>
              </a:ext>
            </a:extLst>
          </p:cNvPr>
          <p:cNvSpPr>
            <a:spLocks noGrp="1"/>
          </p:cNvSpPr>
          <p:nvPr>
            <p:ph type="body" sz="quarter" idx="37"/>
          </p:nvPr>
        </p:nvSpPr>
        <p:spPr>
          <a:xfrm>
            <a:off x="1367590" y="5163858"/>
            <a:ext cx="3944703" cy="337400"/>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17" name="Text Placeholder 27">
            <a:extLst>
              <a:ext uri="{FF2B5EF4-FFF2-40B4-BE49-F238E27FC236}">
                <a16:creationId xmlns:a16="http://schemas.microsoft.com/office/drawing/2014/main" id="{DC2B8864-71BF-2C01-3E7B-7CEC6D675FDA}"/>
              </a:ext>
            </a:extLst>
          </p:cNvPr>
          <p:cNvSpPr>
            <a:spLocks noGrp="1"/>
          </p:cNvSpPr>
          <p:nvPr>
            <p:ph type="body" sz="quarter" idx="38"/>
          </p:nvPr>
        </p:nvSpPr>
        <p:spPr>
          <a:xfrm>
            <a:off x="1367590" y="5745901"/>
            <a:ext cx="3944703" cy="337400"/>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2" name="Parallelogram 1">
            <a:extLst>
              <a:ext uri="{FF2B5EF4-FFF2-40B4-BE49-F238E27FC236}">
                <a16:creationId xmlns:a16="http://schemas.microsoft.com/office/drawing/2014/main" id="{00C86F5B-5A13-27EA-CD89-537A995F8208}"/>
              </a:ext>
            </a:extLst>
          </p:cNvPr>
          <p:cNvSpPr/>
          <p:nvPr userDrawn="1"/>
        </p:nvSpPr>
        <p:spPr>
          <a:xfrm>
            <a:off x="-10510" y="698920"/>
            <a:ext cx="325820" cy="488750"/>
          </a:xfrm>
          <a:prstGeom prst="parallelogram">
            <a:avLst>
              <a:gd name="adj" fmla="val 0"/>
            </a:avLst>
          </a:pr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Text Placeholder 7">
            <a:extLst>
              <a:ext uri="{FF2B5EF4-FFF2-40B4-BE49-F238E27FC236}">
                <a16:creationId xmlns:a16="http://schemas.microsoft.com/office/drawing/2014/main" id="{71F00C39-3ABF-83CC-261F-1EA732CAC8A0}"/>
              </a:ext>
            </a:extLst>
          </p:cNvPr>
          <p:cNvSpPr>
            <a:spLocks noGrp="1"/>
          </p:cNvSpPr>
          <p:nvPr>
            <p:ph type="body" sz="quarter" idx="39" hasCustomPrompt="1"/>
          </p:nvPr>
        </p:nvSpPr>
        <p:spPr>
          <a:xfrm>
            <a:off x="588963" y="1611294"/>
            <a:ext cx="778392" cy="458048"/>
          </a:xfrm>
          <a:custGeom>
            <a:avLst/>
            <a:gdLst>
              <a:gd name="connsiteX0" fmla="*/ 259099 w 778392"/>
              <a:gd name="connsiteY0" fmla="*/ 0 h 458048"/>
              <a:gd name="connsiteX1" fmla="*/ 778392 w 778392"/>
              <a:gd name="connsiteY1" fmla="*/ 0 h 458048"/>
              <a:gd name="connsiteX2" fmla="*/ 519293 w 778392"/>
              <a:gd name="connsiteY2" fmla="*/ 458048 h 458048"/>
              <a:gd name="connsiteX3" fmla="*/ 0 w 778392"/>
              <a:gd name="connsiteY3" fmla="*/ 458048 h 458048"/>
            </a:gdLst>
            <a:ahLst/>
            <a:cxnLst>
              <a:cxn ang="0">
                <a:pos x="connsiteX0" y="connsiteY0"/>
              </a:cxn>
              <a:cxn ang="0">
                <a:pos x="connsiteX1" y="connsiteY1"/>
              </a:cxn>
              <a:cxn ang="0">
                <a:pos x="connsiteX2" y="connsiteY2"/>
              </a:cxn>
              <a:cxn ang="0">
                <a:pos x="connsiteX3" y="connsiteY3"/>
              </a:cxn>
            </a:cxnLst>
            <a:rect l="l" t="t" r="r" b="b"/>
            <a:pathLst>
              <a:path w="778392" h="458048">
                <a:moveTo>
                  <a:pt x="259099" y="0"/>
                </a:moveTo>
                <a:lnTo>
                  <a:pt x="778392" y="0"/>
                </a:lnTo>
                <a:lnTo>
                  <a:pt x="519293" y="458048"/>
                </a:lnTo>
                <a:lnTo>
                  <a:pt x="0" y="458048"/>
                </a:lnTo>
                <a:close/>
              </a:path>
            </a:pathLst>
          </a:custGeom>
          <a:no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US" sz="2000" b="1" i="0" u="none" strike="noStrike" cap="none" spc="0" normalizeH="0" baseline="0" dirty="0" smtClean="0">
                <a:ln>
                  <a:noFill/>
                </a:ln>
                <a:solidFill>
                  <a:schemeClr val="accent4"/>
                </a:solidFill>
                <a:effectLst/>
                <a:uLnTx/>
                <a:uFillTx/>
                <a:latin typeface="Arial" panose="020B0604020202020204" pitchFamily="34" charset="0"/>
                <a:cs typeface="Arial" panose="020B0604020202020204" pitchFamily="34" charset="0"/>
                <a:sym typeface="Arial" panose="020B0604020202020204" pitchFamily="34" charset="0"/>
              </a:defRPr>
            </a:lvl1pPr>
            <a:lvl2pPr algn="ctr">
              <a:defRPr lang="en-US" sz="1800" dirty="0" smtClean="0"/>
            </a:lvl2pPr>
            <a:lvl3pPr algn="ctr">
              <a:defRPr lang="en-US" sz="1800" dirty="0" smtClean="0"/>
            </a:lvl3pPr>
            <a:lvl4pPr algn="ctr">
              <a:defRPr lang="en-US" dirty="0" smtClean="0"/>
            </a:lvl4pPr>
            <a:lvl5pPr algn="ctr">
              <a:defRPr lang="en-US" dirty="0"/>
            </a:lvl5pPr>
          </a:lstStyle>
          <a:p>
            <a:pPr marL="228600" marR="0" lvl="0" indent="-228600" algn="ctr" fontAlgn="auto">
              <a:lnSpc>
                <a:spcPct val="100000"/>
              </a:lnSpc>
              <a:spcBef>
                <a:spcPts val="0"/>
              </a:spcBef>
              <a:spcAft>
                <a:spcPts val="0"/>
              </a:spcAft>
              <a:buClrTx/>
              <a:buSzTx/>
              <a:tabLst/>
            </a:pPr>
            <a:r>
              <a:rPr lang="en-US" dirty="0"/>
              <a:t>X</a:t>
            </a:r>
          </a:p>
        </p:txBody>
      </p:sp>
      <p:sp>
        <p:nvSpPr>
          <p:cNvPr id="9" name="Text Placeholder 8">
            <a:extLst>
              <a:ext uri="{FF2B5EF4-FFF2-40B4-BE49-F238E27FC236}">
                <a16:creationId xmlns:a16="http://schemas.microsoft.com/office/drawing/2014/main" id="{53DC2534-D461-D2F2-CC80-E8E698EB11D1}"/>
              </a:ext>
            </a:extLst>
          </p:cNvPr>
          <p:cNvSpPr>
            <a:spLocks noGrp="1"/>
          </p:cNvSpPr>
          <p:nvPr>
            <p:ph type="body" sz="quarter" idx="40" hasCustomPrompt="1"/>
          </p:nvPr>
        </p:nvSpPr>
        <p:spPr>
          <a:xfrm>
            <a:off x="588963" y="2193334"/>
            <a:ext cx="778392" cy="458048"/>
          </a:xfrm>
          <a:custGeom>
            <a:avLst/>
            <a:gdLst>
              <a:gd name="connsiteX0" fmla="*/ 259099 w 778392"/>
              <a:gd name="connsiteY0" fmla="*/ 0 h 458048"/>
              <a:gd name="connsiteX1" fmla="*/ 778392 w 778392"/>
              <a:gd name="connsiteY1" fmla="*/ 0 h 458048"/>
              <a:gd name="connsiteX2" fmla="*/ 519293 w 778392"/>
              <a:gd name="connsiteY2" fmla="*/ 458048 h 458048"/>
              <a:gd name="connsiteX3" fmla="*/ 0 w 778392"/>
              <a:gd name="connsiteY3" fmla="*/ 458048 h 458048"/>
            </a:gdLst>
            <a:ahLst/>
            <a:cxnLst>
              <a:cxn ang="0">
                <a:pos x="connsiteX0" y="connsiteY0"/>
              </a:cxn>
              <a:cxn ang="0">
                <a:pos x="connsiteX1" y="connsiteY1"/>
              </a:cxn>
              <a:cxn ang="0">
                <a:pos x="connsiteX2" y="connsiteY2"/>
              </a:cxn>
              <a:cxn ang="0">
                <a:pos x="connsiteX3" y="connsiteY3"/>
              </a:cxn>
            </a:cxnLst>
            <a:rect l="l" t="t" r="r" b="b"/>
            <a:pathLst>
              <a:path w="778392" h="458048">
                <a:moveTo>
                  <a:pt x="259099" y="0"/>
                </a:moveTo>
                <a:lnTo>
                  <a:pt x="778392" y="0"/>
                </a:lnTo>
                <a:lnTo>
                  <a:pt x="519293" y="458048"/>
                </a:lnTo>
                <a:lnTo>
                  <a:pt x="0" y="458048"/>
                </a:lnTo>
                <a:close/>
              </a:path>
            </a:pathLst>
          </a:custGeom>
          <a:no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US" sz="2000" b="1" i="0" u="none" strike="noStrike" cap="none" spc="0" normalizeH="0" baseline="0" dirty="0" smtClean="0">
                <a:ln>
                  <a:noFill/>
                </a:ln>
                <a:solidFill>
                  <a:schemeClr val="accent4"/>
                </a:solidFill>
                <a:effectLst/>
                <a:uLnTx/>
                <a:uFillTx/>
                <a:latin typeface="Arial" panose="020B0604020202020204" pitchFamily="34" charset="0"/>
                <a:cs typeface="Arial" panose="020B0604020202020204" pitchFamily="34" charset="0"/>
                <a:sym typeface="Arial" panose="020B0604020202020204" pitchFamily="34" charset="0"/>
              </a:defRPr>
            </a:lvl1pPr>
            <a:lvl2pPr algn="ctr">
              <a:defRPr lang="en-US" sz="1800" dirty="0" smtClean="0"/>
            </a:lvl2pPr>
            <a:lvl3pPr algn="ctr">
              <a:defRPr lang="en-US" sz="1800" dirty="0" smtClean="0"/>
            </a:lvl3pPr>
            <a:lvl4pPr algn="ctr">
              <a:defRPr lang="en-US" dirty="0" smtClean="0"/>
            </a:lvl4pPr>
            <a:lvl5pPr algn="ctr">
              <a:defRPr lang="en-US" dirty="0"/>
            </a:lvl5pPr>
          </a:lstStyle>
          <a:p>
            <a:pPr marL="228600" marR="0" lvl="0" indent="-228600" algn="ctr" fontAlgn="auto">
              <a:lnSpc>
                <a:spcPct val="100000"/>
              </a:lnSpc>
              <a:spcBef>
                <a:spcPts val="0"/>
              </a:spcBef>
              <a:spcAft>
                <a:spcPts val="0"/>
              </a:spcAft>
              <a:buClrTx/>
              <a:buSzTx/>
              <a:tabLst/>
            </a:pPr>
            <a:r>
              <a:rPr lang="en-US" dirty="0"/>
              <a:t>X</a:t>
            </a:r>
          </a:p>
        </p:txBody>
      </p:sp>
      <p:sp>
        <p:nvSpPr>
          <p:cNvPr id="18" name="Text Placeholder 17">
            <a:extLst>
              <a:ext uri="{FF2B5EF4-FFF2-40B4-BE49-F238E27FC236}">
                <a16:creationId xmlns:a16="http://schemas.microsoft.com/office/drawing/2014/main" id="{3309BA17-C6DA-5501-5091-C61B2A3E74BD}"/>
              </a:ext>
            </a:extLst>
          </p:cNvPr>
          <p:cNvSpPr>
            <a:spLocks noGrp="1"/>
          </p:cNvSpPr>
          <p:nvPr>
            <p:ph type="body" sz="quarter" idx="41" hasCustomPrompt="1"/>
          </p:nvPr>
        </p:nvSpPr>
        <p:spPr>
          <a:xfrm>
            <a:off x="588963" y="2775374"/>
            <a:ext cx="778392" cy="458048"/>
          </a:xfrm>
          <a:custGeom>
            <a:avLst/>
            <a:gdLst>
              <a:gd name="connsiteX0" fmla="*/ 259099 w 778392"/>
              <a:gd name="connsiteY0" fmla="*/ 0 h 458048"/>
              <a:gd name="connsiteX1" fmla="*/ 778392 w 778392"/>
              <a:gd name="connsiteY1" fmla="*/ 0 h 458048"/>
              <a:gd name="connsiteX2" fmla="*/ 519293 w 778392"/>
              <a:gd name="connsiteY2" fmla="*/ 458048 h 458048"/>
              <a:gd name="connsiteX3" fmla="*/ 0 w 778392"/>
              <a:gd name="connsiteY3" fmla="*/ 458048 h 458048"/>
            </a:gdLst>
            <a:ahLst/>
            <a:cxnLst>
              <a:cxn ang="0">
                <a:pos x="connsiteX0" y="connsiteY0"/>
              </a:cxn>
              <a:cxn ang="0">
                <a:pos x="connsiteX1" y="connsiteY1"/>
              </a:cxn>
              <a:cxn ang="0">
                <a:pos x="connsiteX2" y="connsiteY2"/>
              </a:cxn>
              <a:cxn ang="0">
                <a:pos x="connsiteX3" y="connsiteY3"/>
              </a:cxn>
            </a:cxnLst>
            <a:rect l="l" t="t" r="r" b="b"/>
            <a:pathLst>
              <a:path w="778392" h="458048">
                <a:moveTo>
                  <a:pt x="259099" y="0"/>
                </a:moveTo>
                <a:lnTo>
                  <a:pt x="778392" y="0"/>
                </a:lnTo>
                <a:lnTo>
                  <a:pt x="519293" y="458048"/>
                </a:lnTo>
                <a:lnTo>
                  <a:pt x="0" y="458048"/>
                </a:lnTo>
                <a:close/>
              </a:path>
            </a:pathLst>
          </a:custGeom>
          <a:no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US" sz="2000" b="1" i="0" u="none" strike="noStrike" cap="none" spc="0" normalizeH="0" baseline="0" dirty="0" smtClean="0">
                <a:ln>
                  <a:noFill/>
                </a:ln>
                <a:solidFill>
                  <a:schemeClr val="accent4"/>
                </a:solidFill>
                <a:effectLst/>
                <a:uLnTx/>
                <a:uFillTx/>
                <a:latin typeface="Arial" panose="020B0604020202020204" pitchFamily="34" charset="0"/>
                <a:cs typeface="Arial" panose="020B0604020202020204" pitchFamily="34" charset="0"/>
                <a:sym typeface="Arial" panose="020B0604020202020204" pitchFamily="34" charset="0"/>
              </a:defRPr>
            </a:lvl1pPr>
            <a:lvl2pPr algn="ctr">
              <a:defRPr lang="en-US" sz="1800" dirty="0" smtClean="0"/>
            </a:lvl2pPr>
            <a:lvl3pPr algn="ctr">
              <a:defRPr lang="en-US" sz="1800" dirty="0" smtClean="0"/>
            </a:lvl3pPr>
            <a:lvl4pPr algn="ctr">
              <a:defRPr lang="en-US" dirty="0" smtClean="0"/>
            </a:lvl4pPr>
            <a:lvl5pPr algn="ctr">
              <a:defRPr lang="en-US" dirty="0"/>
            </a:lvl5pPr>
          </a:lstStyle>
          <a:p>
            <a:pPr marL="228600" marR="0" lvl="0" indent="-228600" algn="ctr" fontAlgn="auto">
              <a:lnSpc>
                <a:spcPct val="100000"/>
              </a:lnSpc>
              <a:spcBef>
                <a:spcPts val="0"/>
              </a:spcBef>
              <a:spcAft>
                <a:spcPts val="0"/>
              </a:spcAft>
              <a:buClrTx/>
              <a:buSzTx/>
              <a:tabLst/>
            </a:pPr>
            <a:r>
              <a:rPr lang="en-US" dirty="0"/>
              <a:t>X</a:t>
            </a:r>
          </a:p>
        </p:txBody>
      </p:sp>
      <p:sp>
        <p:nvSpPr>
          <p:cNvPr id="21" name="Text Placeholder 20">
            <a:extLst>
              <a:ext uri="{FF2B5EF4-FFF2-40B4-BE49-F238E27FC236}">
                <a16:creationId xmlns:a16="http://schemas.microsoft.com/office/drawing/2014/main" id="{C3021D06-E2EA-1C39-5A7F-3BA6F673A272}"/>
              </a:ext>
            </a:extLst>
          </p:cNvPr>
          <p:cNvSpPr>
            <a:spLocks noGrp="1"/>
          </p:cNvSpPr>
          <p:nvPr>
            <p:ph type="body" sz="quarter" idx="42" hasCustomPrompt="1"/>
          </p:nvPr>
        </p:nvSpPr>
        <p:spPr>
          <a:xfrm>
            <a:off x="588963" y="3357414"/>
            <a:ext cx="778392" cy="458048"/>
          </a:xfrm>
          <a:custGeom>
            <a:avLst/>
            <a:gdLst>
              <a:gd name="connsiteX0" fmla="*/ 259099 w 778392"/>
              <a:gd name="connsiteY0" fmla="*/ 0 h 458048"/>
              <a:gd name="connsiteX1" fmla="*/ 778392 w 778392"/>
              <a:gd name="connsiteY1" fmla="*/ 0 h 458048"/>
              <a:gd name="connsiteX2" fmla="*/ 519293 w 778392"/>
              <a:gd name="connsiteY2" fmla="*/ 458048 h 458048"/>
              <a:gd name="connsiteX3" fmla="*/ 0 w 778392"/>
              <a:gd name="connsiteY3" fmla="*/ 458048 h 458048"/>
            </a:gdLst>
            <a:ahLst/>
            <a:cxnLst>
              <a:cxn ang="0">
                <a:pos x="connsiteX0" y="connsiteY0"/>
              </a:cxn>
              <a:cxn ang="0">
                <a:pos x="connsiteX1" y="connsiteY1"/>
              </a:cxn>
              <a:cxn ang="0">
                <a:pos x="connsiteX2" y="connsiteY2"/>
              </a:cxn>
              <a:cxn ang="0">
                <a:pos x="connsiteX3" y="connsiteY3"/>
              </a:cxn>
            </a:cxnLst>
            <a:rect l="l" t="t" r="r" b="b"/>
            <a:pathLst>
              <a:path w="778392" h="458048">
                <a:moveTo>
                  <a:pt x="259099" y="0"/>
                </a:moveTo>
                <a:lnTo>
                  <a:pt x="778392" y="0"/>
                </a:lnTo>
                <a:lnTo>
                  <a:pt x="519293" y="458048"/>
                </a:lnTo>
                <a:lnTo>
                  <a:pt x="0" y="458048"/>
                </a:lnTo>
                <a:close/>
              </a:path>
            </a:pathLst>
          </a:custGeom>
          <a:no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US" sz="2000" b="1" i="0" u="none" strike="noStrike" cap="none" spc="0" normalizeH="0" baseline="0" dirty="0" smtClean="0">
                <a:ln>
                  <a:noFill/>
                </a:ln>
                <a:solidFill>
                  <a:schemeClr val="accent4"/>
                </a:solidFill>
                <a:effectLst/>
                <a:uLnTx/>
                <a:uFillTx/>
                <a:latin typeface="Arial" panose="020B0604020202020204" pitchFamily="34" charset="0"/>
                <a:cs typeface="Arial" panose="020B0604020202020204" pitchFamily="34" charset="0"/>
                <a:sym typeface="Arial" panose="020B0604020202020204" pitchFamily="34" charset="0"/>
              </a:defRPr>
            </a:lvl1pPr>
            <a:lvl2pPr algn="ctr">
              <a:defRPr lang="en-US" sz="1800" dirty="0" smtClean="0"/>
            </a:lvl2pPr>
            <a:lvl3pPr algn="ctr">
              <a:defRPr lang="en-US" sz="1800" dirty="0" smtClean="0"/>
            </a:lvl3pPr>
            <a:lvl4pPr algn="ctr">
              <a:defRPr lang="en-US" dirty="0" smtClean="0"/>
            </a:lvl4pPr>
            <a:lvl5pPr algn="ctr">
              <a:defRPr lang="en-US" dirty="0"/>
            </a:lvl5pPr>
          </a:lstStyle>
          <a:p>
            <a:pPr marL="228600" marR="0" lvl="0" indent="-228600" algn="ctr" fontAlgn="auto">
              <a:lnSpc>
                <a:spcPct val="100000"/>
              </a:lnSpc>
              <a:spcBef>
                <a:spcPts val="0"/>
              </a:spcBef>
              <a:spcAft>
                <a:spcPts val="0"/>
              </a:spcAft>
              <a:buClrTx/>
              <a:buSzTx/>
              <a:tabLst/>
            </a:pPr>
            <a:r>
              <a:rPr lang="en-US" dirty="0"/>
              <a:t>X</a:t>
            </a:r>
          </a:p>
        </p:txBody>
      </p:sp>
      <p:sp>
        <p:nvSpPr>
          <p:cNvPr id="23" name="Text Placeholder 22">
            <a:extLst>
              <a:ext uri="{FF2B5EF4-FFF2-40B4-BE49-F238E27FC236}">
                <a16:creationId xmlns:a16="http://schemas.microsoft.com/office/drawing/2014/main" id="{1C31977D-8A8B-B5E3-938C-5C6DC21EBCA6}"/>
              </a:ext>
            </a:extLst>
          </p:cNvPr>
          <p:cNvSpPr>
            <a:spLocks noGrp="1"/>
          </p:cNvSpPr>
          <p:nvPr>
            <p:ph type="body" sz="quarter" idx="43" hasCustomPrompt="1"/>
          </p:nvPr>
        </p:nvSpPr>
        <p:spPr>
          <a:xfrm>
            <a:off x="588963" y="3939454"/>
            <a:ext cx="778392" cy="458048"/>
          </a:xfrm>
          <a:custGeom>
            <a:avLst/>
            <a:gdLst>
              <a:gd name="connsiteX0" fmla="*/ 259099 w 778392"/>
              <a:gd name="connsiteY0" fmla="*/ 0 h 458048"/>
              <a:gd name="connsiteX1" fmla="*/ 778392 w 778392"/>
              <a:gd name="connsiteY1" fmla="*/ 0 h 458048"/>
              <a:gd name="connsiteX2" fmla="*/ 519293 w 778392"/>
              <a:gd name="connsiteY2" fmla="*/ 458048 h 458048"/>
              <a:gd name="connsiteX3" fmla="*/ 0 w 778392"/>
              <a:gd name="connsiteY3" fmla="*/ 458048 h 458048"/>
            </a:gdLst>
            <a:ahLst/>
            <a:cxnLst>
              <a:cxn ang="0">
                <a:pos x="connsiteX0" y="connsiteY0"/>
              </a:cxn>
              <a:cxn ang="0">
                <a:pos x="connsiteX1" y="connsiteY1"/>
              </a:cxn>
              <a:cxn ang="0">
                <a:pos x="connsiteX2" y="connsiteY2"/>
              </a:cxn>
              <a:cxn ang="0">
                <a:pos x="connsiteX3" y="connsiteY3"/>
              </a:cxn>
            </a:cxnLst>
            <a:rect l="l" t="t" r="r" b="b"/>
            <a:pathLst>
              <a:path w="778392" h="458048">
                <a:moveTo>
                  <a:pt x="259099" y="0"/>
                </a:moveTo>
                <a:lnTo>
                  <a:pt x="778392" y="0"/>
                </a:lnTo>
                <a:lnTo>
                  <a:pt x="519293" y="458048"/>
                </a:lnTo>
                <a:lnTo>
                  <a:pt x="0" y="458048"/>
                </a:lnTo>
                <a:close/>
              </a:path>
            </a:pathLst>
          </a:custGeom>
          <a:no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US" sz="2000" b="1" i="0" u="none" strike="noStrike" cap="none" spc="0" normalizeH="0" baseline="0" dirty="0" smtClean="0">
                <a:ln>
                  <a:noFill/>
                </a:ln>
                <a:solidFill>
                  <a:schemeClr val="accent4"/>
                </a:solidFill>
                <a:effectLst/>
                <a:uLnTx/>
                <a:uFillTx/>
                <a:latin typeface="Arial" panose="020B0604020202020204" pitchFamily="34" charset="0"/>
                <a:cs typeface="Arial" panose="020B0604020202020204" pitchFamily="34" charset="0"/>
                <a:sym typeface="Arial" panose="020B0604020202020204" pitchFamily="34" charset="0"/>
              </a:defRPr>
            </a:lvl1pPr>
            <a:lvl2pPr algn="ctr">
              <a:defRPr lang="en-US" sz="1800" dirty="0" smtClean="0"/>
            </a:lvl2pPr>
            <a:lvl3pPr algn="ctr">
              <a:defRPr lang="en-US" sz="1800" dirty="0" smtClean="0"/>
            </a:lvl3pPr>
            <a:lvl4pPr algn="ctr">
              <a:defRPr lang="en-US" dirty="0" smtClean="0"/>
            </a:lvl4pPr>
            <a:lvl5pPr algn="ctr">
              <a:defRPr lang="en-US" dirty="0"/>
            </a:lvl5pPr>
          </a:lstStyle>
          <a:p>
            <a:pPr marL="228600" marR="0" lvl="0" indent="-228600" algn="ctr" fontAlgn="auto">
              <a:lnSpc>
                <a:spcPct val="100000"/>
              </a:lnSpc>
              <a:spcBef>
                <a:spcPts val="0"/>
              </a:spcBef>
              <a:spcAft>
                <a:spcPts val="0"/>
              </a:spcAft>
              <a:buClrTx/>
              <a:buSzTx/>
              <a:tabLst/>
            </a:pPr>
            <a:r>
              <a:rPr lang="en-US" dirty="0"/>
              <a:t>X</a:t>
            </a:r>
          </a:p>
        </p:txBody>
      </p:sp>
      <p:sp>
        <p:nvSpPr>
          <p:cNvPr id="25" name="Text Placeholder 24">
            <a:extLst>
              <a:ext uri="{FF2B5EF4-FFF2-40B4-BE49-F238E27FC236}">
                <a16:creationId xmlns:a16="http://schemas.microsoft.com/office/drawing/2014/main" id="{4B78785F-D9E2-9E52-C3A8-EC3E6338F373}"/>
              </a:ext>
            </a:extLst>
          </p:cNvPr>
          <p:cNvSpPr>
            <a:spLocks noGrp="1"/>
          </p:cNvSpPr>
          <p:nvPr>
            <p:ph type="body" sz="quarter" idx="44" hasCustomPrompt="1"/>
          </p:nvPr>
        </p:nvSpPr>
        <p:spPr>
          <a:xfrm>
            <a:off x="588963" y="4521494"/>
            <a:ext cx="778392" cy="458048"/>
          </a:xfrm>
          <a:custGeom>
            <a:avLst/>
            <a:gdLst>
              <a:gd name="connsiteX0" fmla="*/ 259099 w 778392"/>
              <a:gd name="connsiteY0" fmla="*/ 0 h 458048"/>
              <a:gd name="connsiteX1" fmla="*/ 778392 w 778392"/>
              <a:gd name="connsiteY1" fmla="*/ 0 h 458048"/>
              <a:gd name="connsiteX2" fmla="*/ 519293 w 778392"/>
              <a:gd name="connsiteY2" fmla="*/ 458048 h 458048"/>
              <a:gd name="connsiteX3" fmla="*/ 0 w 778392"/>
              <a:gd name="connsiteY3" fmla="*/ 458048 h 458048"/>
            </a:gdLst>
            <a:ahLst/>
            <a:cxnLst>
              <a:cxn ang="0">
                <a:pos x="connsiteX0" y="connsiteY0"/>
              </a:cxn>
              <a:cxn ang="0">
                <a:pos x="connsiteX1" y="connsiteY1"/>
              </a:cxn>
              <a:cxn ang="0">
                <a:pos x="connsiteX2" y="connsiteY2"/>
              </a:cxn>
              <a:cxn ang="0">
                <a:pos x="connsiteX3" y="connsiteY3"/>
              </a:cxn>
            </a:cxnLst>
            <a:rect l="l" t="t" r="r" b="b"/>
            <a:pathLst>
              <a:path w="778392" h="458048">
                <a:moveTo>
                  <a:pt x="259099" y="0"/>
                </a:moveTo>
                <a:lnTo>
                  <a:pt x="778392" y="0"/>
                </a:lnTo>
                <a:lnTo>
                  <a:pt x="519293" y="458048"/>
                </a:lnTo>
                <a:lnTo>
                  <a:pt x="0" y="458048"/>
                </a:lnTo>
                <a:close/>
              </a:path>
            </a:pathLst>
          </a:custGeom>
          <a:no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US" sz="2000" b="1" i="0" u="none" strike="noStrike" cap="none" spc="0" normalizeH="0" baseline="0" dirty="0" smtClean="0">
                <a:ln>
                  <a:noFill/>
                </a:ln>
                <a:solidFill>
                  <a:schemeClr val="accent4"/>
                </a:solidFill>
                <a:effectLst/>
                <a:uLnTx/>
                <a:uFillTx/>
                <a:latin typeface="Arial" panose="020B0604020202020204" pitchFamily="34" charset="0"/>
                <a:cs typeface="Arial" panose="020B0604020202020204" pitchFamily="34" charset="0"/>
                <a:sym typeface="Arial" panose="020B0604020202020204" pitchFamily="34" charset="0"/>
              </a:defRPr>
            </a:lvl1pPr>
            <a:lvl2pPr algn="ctr">
              <a:defRPr lang="en-US" sz="1800" dirty="0" smtClean="0"/>
            </a:lvl2pPr>
            <a:lvl3pPr algn="ctr">
              <a:defRPr lang="en-US" sz="1800" dirty="0" smtClean="0"/>
            </a:lvl3pPr>
            <a:lvl4pPr algn="ctr">
              <a:defRPr lang="en-US" dirty="0" smtClean="0"/>
            </a:lvl4pPr>
            <a:lvl5pPr algn="ctr">
              <a:defRPr lang="en-US" dirty="0"/>
            </a:lvl5pPr>
          </a:lstStyle>
          <a:p>
            <a:pPr marL="228600" marR="0" lvl="0" indent="-228600" algn="ctr" fontAlgn="auto">
              <a:lnSpc>
                <a:spcPct val="100000"/>
              </a:lnSpc>
              <a:spcBef>
                <a:spcPts val="0"/>
              </a:spcBef>
              <a:spcAft>
                <a:spcPts val="0"/>
              </a:spcAft>
              <a:buClrTx/>
              <a:buSzTx/>
              <a:tabLst/>
            </a:pPr>
            <a:r>
              <a:rPr lang="en-US" dirty="0"/>
              <a:t>X</a:t>
            </a:r>
          </a:p>
        </p:txBody>
      </p:sp>
      <p:sp>
        <p:nvSpPr>
          <p:cNvPr id="27" name="Text Placeholder 26">
            <a:extLst>
              <a:ext uri="{FF2B5EF4-FFF2-40B4-BE49-F238E27FC236}">
                <a16:creationId xmlns:a16="http://schemas.microsoft.com/office/drawing/2014/main" id="{7126B34F-2B6D-9372-01D6-5ED4500D2AE6}"/>
              </a:ext>
            </a:extLst>
          </p:cNvPr>
          <p:cNvSpPr>
            <a:spLocks noGrp="1"/>
          </p:cNvSpPr>
          <p:nvPr>
            <p:ph type="body" sz="quarter" idx="45" hasCustomPrompt="1"/>
          </p:nvPr>
        </p:nvSpPr>
        <p:spPr>
          <a:xfrm>
            <a:off x="588963" y="5103534"/>
            <a:ext cx="778392" cy="458048"/>
          </a:xfrm>
          <a:custGeom>
            <a:avLst/>
            <a:gdLst>
              <a:gd name="connsiteX0" fmla="*/ 259099 w 778392"/>
              <a:gd name="connsiteY0" fmla="*/ 0 h 458048"/>
              <a:gd name="connsiteX1" fmla="*/ 778392 w 778392"/>
              <a:gd name="connsiteY1" fmla="*/ 0 h 458048"/>
              <a:gd name="connsiteX2" fmla="*/ 519293 w 778392"/>
              <a:gd name="connsiteY2" fmla="*/ 458048 h 458048"/>
              <a:gd name="connsiteX3" fmla="*/ 0 w 778392"/>
              <a:gd name="connsiteY3" fmla="*/ 458048 h 458048"/>
            </a:gdLst>
            <a:ahLst/>
            <a:cxnLst>
              <a:cxn ang="0">
                <a:pos x="connsiteX0" y="connsiteY0"/>
              </a:cxn>
              <a:cxn ang="0">
                <a:pos x="connsiteX1" y="connsiteY1"/>
              </a:cxn>
              <a:cxn ang="0">
                <a:pos x="connsiteX2" y="connsiteY2"/>
              </a:cxn>
              <a:cxn ang="0">
                <a:pos x="connsiteX3" y="connsiteY3"/>
              </a:cxn>
            </a:cxnLst>
            <a:rect l="l" t="t" r="r" b="b"/>
            <a:pathLst>
              <a:path w="778392" h="458048">
                <a:moveTo>
                  <a:pt x="259099" y="0"/>
                </a:moveTo>
                <a:lnTo>
                  <a:pt x="778392" y="0"/>
                </a:lnTo>
                <a:lnTo>
                  <a:pt x="519293" y="458048"/>
                </a:lnTo>
                <a:lnTo>
                  <a:pt x="0" y="458048"/>
                </a:lnTo>
                <a:close/>
              </a:path>
            </a:pathLst>
          </a:custGeom>
          <a:no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US" sz="2000" b="1" i="0" u="none" strike="noStrike" cap="none" spc="0" normalizeH="0" baseline="0" dirty="0" smtClean="0">
                <a:ln>
                  <a:noFill/>
                </a:ln>
                <a:solidFill>
                  <a:schemeClr val="accent4"/>
                </a:solidFill>
                <a:effectLst/>
                <a:uLnTx/>
                <a:uFillTx/>
                <a:latin typeface="Arial" panose="020B0604020202020204" pitchFamily="34" charset="0"/>
                <a:cs typeface="Arial" panose="020B0604020202020204" pitchFamily="34" charset="0"/>
                <a:sym typeface="Arial" panose="020B0604020202020204" pitchFamily="34" charset="0"/>
              </a:defRPr>
            </a:lvl1pPr>
            <a:lvl2pPr algn="ctr">
              <a:defRPr lang="en-US" sz="1800" dirty="0" smtClean="0"/>
            </a:lvl2pPr>
            <a:lvl3pPr algn="ctr">
              <a:defRPr lang="en-US" sz="1800" dirty="0" smtClean="0"/>
            </a:lvl3pPr>
            <a:lvl4pPr algn="ctr">
              <a:defRPr lang="en-US" dirty="0" smtClean="0"/>
            </a:lvl4pPr>
            <a:lvl5pPr algn="ctr">
              <a:defRPr lang="en-US" dirty="0"/>
            </a:lvl5pPr>
          </a:lstStyle>
          <a:p>
            <a:pPr marL="228600" marR="0" lvl="0" indent="-228600" algn="ctr" fontAlgn="auto">
              <a:lnSpc>
                <a:spcPct val="100000"/>
              </a:lnSpc>
              <a:spcBef>
                <a:spcPts val="0"/>
              </a:spcBef>
              <a:spcAft>
                <a:spcPts val="0"/>
              </a:spcAft>
              <a:buClrTx/>
              <a:buSzTx/>
              <a:tabLst/>
            </a:pPr>
            <a:r>
              <a:rPr lang="en-US" dirty="0"/>
              <a:t>X</a:t>
            </a:r>
          </a:p>
        </p:txBody>
      </p:sp>
      <p:sp>
        <p:nvSpPr>
          <p:cNvPr id="29" name="Text Placeholder 28">
            <a:extLst>
              <a:ext uri="{FF2B5EF4-FFF2-40B4-BE49-F238E27FC236}">
                <a16:creationId xmlns:a16="http://schemas.microsoft.com/office/drawing/2014/main" id="{573FA1CA-BCC4-5E1B-7605-11A6FDC255CA}"/>
              </a:ext>
            </a:extLst>
          </p:cNvPr>
          <p:cNvSpPr>
            <a:spLocks noGrp="1"/>
          </p:cNvSpPr>
          <p:nvPr>
            <p:ph type="body" sz="quarter" idx="46" hasCustomPrompt="1"/>
          </p:nvPr>
        </p:nvSpPr>
        <p:spPr>
          <a:xfrm>
            <a:off x="588963" y="5685577"/>
            <a:ext cx="778392" cy="458048"/>
          </a:xfrm>
          <a:custGeom>
            <a:avLst/>
            <a:gdLst>
              <a:gd name="connsiteX0" fmla="*/ 259099 w 778392"/>
              <a:gd name="connsiteY0" fmla="*/ 0 h 458048"/>
              <a:gd name="connsiteX1" fmla="*/ 778392 w 778392"/>
              <a:gd name="connsiteY1" fmla="*/ 0 h 458048"/>
              <a:gd name="connsiteX2" fmla="*/ 519293 w 778392"/>
              <a:gd name="connsiteY2" fmla="*/ 458048 h 458048"/>
              <a:gd name="connsiteX3" fmla="*/ 0 w 778392"/>
              <a:gd name="connsiteY3" fmla="*/ 458048 h 458048"/>
            </a:gdLst>
            <a:ahLst/>
            <a:cxnLst>
              <a:cxn ang="0">
                <a:pos x="connsiteX0" y="connsiteY0"/>
              </a:cxn>
              <a:cxn ang="0">
                <a:pos x="connsiteX1" y="connsiteY1"/>
              </a:cxn>
              <a:cxn ang="0">
                <a:pos x="connsiteX2" y="connsiteY2"/>
              </a:cxn>
              <a:cxn ang="0">
                <a:pos x="connsiteX3" y="connsiteY3"/>
              </a:cxn>
            </a:cxnLst>
            <a:rect l="l" t="t" r="r" b="b"/>
            <a:pathLst>
              <a:path w="778392" h="458048">
                <a:moveTo>
                  <a:pt x="259099" y="0"/>
                </a:moveTo>
                <a:lnTo>
                  <a:pt x="778392" y="0"/>
                </a:lnTo>
                <a:lnTo>
                  <a:pt x="519293" y="458048"/>
                </a:lnTo>
                <a:lnTo>
                  <a:pt x="0" y="458048"/>
                </a:lnTo>
                <a:close/>
              </a:path>
            </a:pathLst>
          </a:custGeom>
          <a:no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US" sz="2000" b="1" i="0" u="none" strike="noStrike" cap="none" spc="0" normalizeH="0" baseline="0" dirty="0" smtClean="0">
                <a:ln>
                  <a:noFill/>
                </a:ln>
                <a:solidFill>
                  <a:schemeClr val="accent4"/>
                </a:solidFill>
                <a:effectLst/>
                <a:uLnTx/>
                <a:uFillTx/>
                <a:latin typeface="Arial" panose="020B0604020202020204" pitchFamily="34" charset="0"/>
                <a:cs typeface="Arial" panose="020B0604020202020204" pitchFamily="34" charset="0"/>
                <a:sym typeface="Arial" panose="020B0604020202020204" pitchFamily="34" charset="0"/>
              </a:defRPr>
            </a:lvl1pPr>
            <a:lvl2pPr algn="ctr">
              <a:defRPr lang="en-US" sz="1800" dirty="0" smtClean="0"/>
            </a:lvl2pPr>
            <a:lvl3pPr algn="ctr">
              <a:defRPr lang="en-US" sz="1800" dirty="0" smtClean="0"/>
            </a:lvl3pPr>
            <a:lvl4pPr algn="ctr">
              <a:defRPr lang="en-US" dirty="0" smtClean="0"/>
            </a:lvl4pPr>
            <a:lvl5pPr algn="ctr">
              <a:defRPr lang="en-US" dirty="0"/>
            </a:lvl5pPr>
          </a:lstStyle>
          <a:p>
            <a:pPr marL="228600" marR="0" lvl="0" indent="-228600" algn="ctr" fontAlgn="auto">
              <a:lnSpc>
                <a:spcPct val="100000"/>
              </a:lnSpc>
              <a:spcBef>
                <a:spcPts val="0"/>
              </a:spcBef>
              <a:spcAft>
                <a:spcPts val="0"/>
              </a:spcAft>
              <a:buClrTx/>
              <a:buSzTx/>
              <a:tabLst/>
            </a:pPr>
            <a:r>
              <a:rPr lang="en-US" dirty="0"/>
              <a:t>X</a:t>
            </a:r>
          </a:p>
        </p:txBody>
      </p:sp>
      <p:pic>
        <p:nvPicPr>
          <p:cNvPr id="4" name="Picture 3" descr="A black and white sign with white text&#10;&#10;Description automatically generated">
            <a:extLst>
              <a:ext uri="{FF2B5EF4-FFF2-40B4-BE49-F238E27FC236}">
                <a16:creationId xmlns:a16="http://schemas.microsoft.com/office/drawing/2014/main" id="{589988D7-B2E4-B1F1-2ED3-2C2739A8090F}"/>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947649" y="2923071"/>
            <a:ext cx="4810646" cy="1011859"/>
          </a:xfrm>
          <a:prstGeom prst="rect">
            <a:avLst/>
          </a:prstGeom>
        </p:spPr>
      </p:pic>
    </p:spTree>
    <p:extLst>
      <p:ext uri="{BB962C8B-B14F-4D97-AF65-F5344CB8AC3E}">
        <p14:creationId xmlns:p14="http://schemas.microsoft.com/office/powerpoint/2010/main" val="2454029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ide Le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C840F4-0922-D813-0848-C747D879ABA6}"/>
              </a:ext>
            </a:extLst>
          </p:cNvPr>
          <p:cNvGraphicFramePr>
            <a:graphicFrameLocks noChangeAspect="1"/>
          </p:cNvGraphicFramePr>
          <p:nvPr userDrawn="1">
            <p:custDataLst>
              <p:tags r:id="rId1"/>
            </p:custDataLst>
            <p:extLst>
              <p:ext uri="{D42A27DB-BD31-4B8C-83A1-F6EECF244321}">
                <p14:modId xmlns:p14="http://schemas.microsoft.com/office/powerpoint/2010/main" val="3180989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3">
            <a:extLst>
              <a:ext uri="{FF2B5EF4-FFF2-40B4-BE49-F238E27FC236}">
                <a16:creationId xmlns:a16="http://schemas.microsoft.com/office/drawing/2014/main" id="{5BAB156B-E814-5E01-5730-ECA2171C4837}"/>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1">
                    <a:lumMod val="7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endParaRPr lang="de-DE" dirty="0"/>
          </a:p>
        </p:txBody>
      </p:sp>
    </p:spTree>
    <p:extLst>
      <p:ext uri="{BB962C8B-B14F-4D97-AF65-F5344CB8AC3E}">
        <p14:creationId xmlns:p14="http://schemas.microsoft.com/office/powerpoint/2010/main" val="25934004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_Text+Bild 2">
    <p:spTree>
      <p:nvGrpSpPr>
        <p:cNvPr id="1" name=""/>
        <p:cNvGrpSpPr/>
        <p:nvPr/>
      </p:nvGrpSpPr>
      <p:grpSpPr>
        <a:xfrm>
          <a:off x="0" y="0"/>
          <a:ext cx="0" cy="0"/>
          <a:chOff x="0" y="0"/>
          <a:chExt cx="0" cy="0"/>
        </a:xfrm>
      </p:grpSpPr>
      <p:sp>
        <p:nvSpPr>
          <p:cNvPr id="13" name="Text Placeholder 27">
            <a:extLst>
              <a:ext uri="{FF2B5EF4-FFF2-40B4-BE49-F238E27FC236}">
                <a16:creationId xmlns:a16="http://schemas.microsoft.com/office/drawing/2014/main" id="{4BAD6098-2769-717D-0E48-A332E468DD34}"/>
              </a:ext>
            </a:extLst>
          </p:cNvPr>
          <p:cNvSpPr>
            <a:spLocks noGrp="1"/>
          </p:cNvSpPr>
          <p:nvPr>
            <p:ph type="body" sz="quarter" idx="17"/>
          </p:nvPr>
        </p:nvSpPr>
        <p:spPr>
          <a:xfrm>
            <a:off x="8548484" y="1889391"/>
            <a:ext cx="3434826" cy="1588127"/>
          </a:xfrm>
          <a:prstGeom prst="rect">
            <a:avLst/>
          </a:prstGeom>
        </p:spPr>
        <p:txBody>
          <a:bodyPr anchor="b"/>
          <a:lstStyle>
            <a:lvl1pPr marL="0" indent="0" algn="l" defTabSz="914400" rtl="0" eaLnBrk="1" latinLnBrk="0" hangingPunct="1">
              <a:lnSpc>
                <a:spcPct val="90000"/>
              </a:lnSpc>
              <a:buNone/>
              <a:defRPr lang="en-GB" sz="3600" b="1" kern="1200" dirty="0">
                <a:solidFill>
                  <a:schemeClr val="accent1"/>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lvl="0"/>
            <a:endParaRPr lang="en-GB" dirty="0"/>
          </a:p>
        </p:txBody>
      </p:sp>
      <p:sp>
        <p:nvSpPr>
          <p:cNvPr id="14" name="Text Placeholder 27">
            <a:extLst>
              <a:ext uri="{FF2B5EF4-FFF2-40B4-BE49-F238E27FC236}">
                <a16:creationId xmlns:a16="http://schemas.microsoft.com/office/drawing/2014/main" id="{6DF6C56C-D155-D9B8-21C2-B5EB89A1AFB3}"/>
              </a:ext>
            </a:extLst>
          </p:cNvPr>
          <p:cNvSpPr>
            <a:spLocks noGrp="1"/>
          </p:cNvSpPr>
          <p:nvPr>
            <p:ph type="body" sz="quarter" idx="18"/>
          </p:nvPr>
        </p:nvSpPr>
        <p:spPr>
          <a:xfrm>
            <a:off x="8548484" y="3956988"/>
            <a:ext cx="3434826" cy="2267544"/>
          </a:xfrm>
          <a:prstGeom prst="rect">
            <a:avLst/>
          </a:prstGeom>
        </p:spPr>
        <p:txBody>
          <a:bodyPr/>
          <a:lstStyle>
            <a:lvl1pPr marL="0" indent="0" algn="l" defTabSz="914400" rtl="0" eaLnBrk="1" latinLnBrk="0" hangingPunct="1">
              <a:lnSpc>
                <a:spcPct val="120000"/>
              </a:lnSpc>
              <a:buNone/>
              <a:defRPr lang="en-GB" sz="2000" kern="1200" dirty="0">
                <a:solidFill>
                  <a:schemeClr val="tx1">
                    <a:lumMod val="75000"/>
                    <a:lumOff val="2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pPr lvl="0"/>
            <a:endParaRPr lang="en-GB" dirty="0"/>
          </a:p>
        </p:txBody>
      </p:sp>
      <p:graphicFrame>
        <p:nvGraphicFramePr>
          <p:cNvPr id="7" name="think-cell data - do not delete" hidden="1">
            <a:extLst>
              <a:ext uri="{FF2B5EF4-FFF2-40B4-BE49-F238E27FC236}">
                <a16:creationId xmlns:a16="http://schemas.microsoft.com/office/drawing/2014/main" id="{BA5991F7-235A-4AA2-7712-663D68DA775F}"/>
              </a:ext>
            </a:extLst>
          </p:cNvPr>
          <p:cNvGraphicFramePr>
            <a:graphicFrameLocks noChangeAspect="1"/>
          </p:cNvGraphicFramePr>
          <p:nvPr userDrawn="1">
            <p:custDataLst>
              <p:tags r:id="rId1"/>
            </p:custDataLst>
            <p:extLst>
              <p:ext uri="{D42A27DB-BD31-4B8C-83A1-F6EECF244321}">
                <p14:modId xmlns:p14="http://schemas.microsoft.com/office/powerpoint/2010/main" val="3859076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7" name="think-cell data - do not delete" hidden="1">
                        <a:extLst>
                          <a:ext uri="{FF2B5EF4-FFF2-40B4-BE49-F238E27FC236}">
                            <a16:creationId xmlns:a16="http://schemas.microsoft.com/office/drawing/2014/main" id="{BA5991F7-235A-4AA2-7712-663D68DA77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reeform: Shape 2">
            <a:extLst>
              <a:ext uri="{FF2B5EF4-FFF2-40B4-BE49-F238E27FC236}">
                <a16:creationId xmlns:a16="http://schemas.microsoft.com/office/drawing/2014/main" id="{EF73A822-636D-294A-A497-FE0506906034}"/>
              </a:ext>
            </a:extLst>
          </p:cNvPr>
          <p:cNvSpPr/>
          <p:nvPr userDrawn="1"/>
        </p:nvSpPr>
        <p:spPr>
          <a:xfrm>
            <a:off x="0" y="2"/>
            <a:ext cx="3301036" cy="5717561"/>
          </a:xfrm>
          <a:custGeom>
            <a:avLst/>
            <a:gdLst>
              <a:gd name="connsiteX0" fmla="*/ 0 w 3301036"/>
              <a:gd name="connsiteY0" fmla="*/ 0 h 5717561"/>
              <a:gd name="connsiteX1" fmla="*/ 3301036 w 3301036"/>
              <a:gd name="connsiteY1" fmla="*/ 0 h 5717561"/>
              <a:gd name="connsiteX2" fmla="*/ 0 w 3301036"/>
              <a:gd name="connsiteY2" fmla="*/ 5717561 h 5717561"/>
            </a:gdLst>
            <a:ahLst/>
            <a:cxnLst>
              <a:cxn ang="0">
                <a:pos x="connsiteX0" y="connsiteY0"/>
              </a:cxn>
              <a:cxn ang="0">
                <a:pos x="connsiteX1" y="connsiteY1"/>
              </a:cxn>
              <a:cxn ang="0">
                <a:pos x="connsiteX2" y="connsiteY2"/>
              </a:cxn>
            </a:cxnLst>
            <a:rect l="l" t="t" r="r" b="b"/>
            <a:pathLst>
              <a:path w="3301036" h="5717561">
                <a:moveTo>
                  <a:pt x="0" y="0"/>
                </a:moveTo>
                <a:lnTo>
                  <a:pt x="3301036" y="0"/>
                </a:lnTo>
                <a:lnTo>
                  <a:pt x="0" y="5717561"/>
                </a:lnTo>
                <a:close/>
              </a:path>
            </a:pathLst>
          </a:custGeom>
          <a:gradFill flip="none" rotWithShape="0">
            <a:gsLst>
              <a:gs pos="0">
                <a:srgbClr val="00338D"/>
              </a:gs>
              <a:gs pos="100000">
                <a:srgbClr val="7A258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GB">
              <a:solidFill>
                <a:schemeClr val="lt1">
                  <a:alpha val="44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1" name="Picture Placeholder 10">
            <a:extLst>
              <a:ext uri="{FF2B5EF4-FFF2-40B4-BE49-F238E27FC236}">
                <a16:creationId xmlns:a16="http://schemas.microsoft.com/office/drawing/2014/main" id="{007D5C0E-CF10-F5EA-1855-FD3ABAD67A4E}"/>
              </a:ext>
            </a:extLst>
          </p:cNvPr>
          <p:cNvSpPr>
            <a:spLocks noGrp="1"/>
          </p:cNvSpPr>
          <p:nvPr>
            <p:ph type="pic" sz="quarter" idx="10"/>
          </p:nvPr>
        </p:nvSpPr>
        <p:spPr>
          <a:xfrm>
            <a:off x="0" y="114300"/>
            <a:ext cx="9134304" cy="6743701"/>
          </a:xfrm>
          <a:custGeom>
            <a:avLst/>
            <a:gdLst>
              <a:gd name="connsiteX0" fmla="*/ 3256620 w 9289120"/>
              <a:gd name="connsiteY0" fmla="*/ 0 h 6857999"/>
              <a:gd name="connsiteX1" fmla="*/ 5453720 w 9289120"/>
              <a:gd name="connsiteY1" fmla="*/ 0 h 6857999"/>
              <a:gd name="connsiteX2" fmla="*/ 7092020 w 9289120"/>
              <a:gd name="connsiteY2" fmla="*/ 0 h 6857999"/>
              <a:gd name="connsiteX3" fmla="*/ 9289120 w 9289120"/>
              <a:gd name="connsiteY3" fmla="*/ 0 h 6857999"/>
              <a:gd name="connsiteX4" fmla="*/ 5329653 w 9289120"/>
              <a:gd name="connsiteY4" fmla="*/ 6857997 h 6857999"/>
              <a:gd name="connsiteX5" fmla="*/ 3240456 w 9289120"/>
              <a:gd name="connsiteY5" fmla="*/ 6857997 h 6857999"/>
              <a:gd name="connsiteX6" fmla="*/ 3240456 w 9289120"/>
              <a:gd name="connsiteY6" fmla="*/ 6857999 h 6857999"/>
              <a:gd name="connsiteX7" fmla="*/ 3146453 w 9289120"/>
              <a:gd name="connsiteY7" fmla="*/ 6857999 h 6857999"/>
              <a:gd name="connsiteX8" fmla="*/ 1043356 w 9289120"/>
              <a:gd name="connsiteY8" fmla="*/ 6857999 h 6857999"/>
              <a:gd name="connsiteX9" fmla="*/ 1004818 w 9289120"/>
              <a:gd name="connsiteY9" fmla="*/ 6857999 h 6857999"/>
              <a:gd name="connsiteX10" fmla="*/ 949353 w 9289120"/>
              <a:gd name="connsiteY10" fmla="*/ 6857999 h 6857999"/>
              <a:gd name="connsiteX11" fmla="*/ 782568 w 9289120"/>
              <a:gd name="connsiteY11" fmla="*/ 6857999 h 6857999"/>
              <a:gd name="connsiteX12" fmla="*/ 571501 w 9289120"/>
              <a:gd name="connsiteY12" fmla="*/ 6857999 h 6857999"/>
              <a:gd name="connsiteX13" fmla="*/ 0 w 9289120"/>
              <a:gd name="connsiteY13" fmla="*/ 6857999 h 6857999"/>
              <a:gd name="connsiteX14" fmla="*/ 0 w 9289120"/>
              <a:gd name="connsiteY14" fmla="*/ 564063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89120" h="6857999">
                <a:moveTo>
                  <a:pt x="3256620" y="0"/>
                </a:moveTo>
                <a:lnTo>
                  <a:pt x="5453720" y="0"/>
                </a:lnTo>
                <a:lnTo>
                  <a:pt x="7092020" y="0"/>
                </a:lnTo>
                <a:lnTo>
                  <a:pt x="9289120" y="0"/>
                </a:lnTo>
                <a:lnTo>
                  <a:pt x="5329653" y="6857997"/>
                </a:lnTo>
                <a:lnTo>
                  <a:pt x="3240456" y="6857997"/>
                </a:lnTo>
                <a:lnTo>
                  <a:pt x="3240456" y="6857999"/>
                </a:lnTo>
                <a:lnTo>
                  <a:pt x="3146453" y="6857999"/>
                </a:lnTo>
                <a:lnTo>
                  <a:pt x="1043356" y="6857999"/>
                </a:lnTo>
                <a:lnTo>
                  <a:pt x="1004818" y="6857999"/>
                </a:lnTo>
                <a:lnTo>
                  <a:pt x="949353" y="6857999"/>
                </a:lnTo>
                <a:lnTo>
                  <a:pt x="782568" y="6857999"/>
                </a:lnTo>
                <a:lnTo>
                  <a:pt x="571501" y="6857999"/>
                </a:lnTo>
                <a:lnTo>
                  <a:pt x="0" y="6857999"/>
                </a:lnTo>
                <a:lnTo>
                  <a:pt x="0" y="5640631"/>
                </a:lnTo>
                <a:close/>
              </a:path>
            </a:pathLst>
          </a:custGeom>
          <a:pattFill prst="pct20">
            <a:fgClr>
              <a:schemeClr val="accent2"/>
            </a:fgClr>
            <a:bgClr>
              <a:schemeClr val="bg1"/>
            </a:bgClr>
          </a:pattFill>
          <a:ln w="12700" cap="flat">
            <a:noFill/>
            <a:prstDash val="solid"/>
            <a:miter/>
          </a:ln>
          <a:effectLst>
            <a:outerShdw blurRad="685800" dist="38100" dir="10800000" algn="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1800"/>
            </a:lvl1pPr>
          </a:lstStyle>
          <a:p>
            <a:pPr marL="0" lvl="0"/>
            <a:endParaRPr lang="en-GB"/>
          </a:p>
        </p:txBody>
      </p:sp>
      <p:sp>
        <p:nvSpPr>
          <p:cNvPr id="2" name="Background - Solid">
            <a:extLst>
              <a:ext uri="{FF2B5EF4-FFF2-40B4-BE49-F238E27FC236}">
                <a16:creationId xmlns:a16="http://schemas.microsoft.com/office/drawing/2014/main" id="{E33C63DB-1BB0-6A57-45E2-9DE0A519DC11}"/>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9" name="Straight Connector 8">
            <a:extLst>
              <a:ext uri="{FF2B5EF4-FFF2-40B4-BE49-F238E27FC236}">
                <a16:creationId xmlns:a16="http://schemas.microsoft.com/office/drawing/2014/main" id="{4C194383-1266-6877-20DB-F9419DF7B597}"/>
              </a:ext>
            </a:extLst>
          </p:cNvPr>
          <p:cNvCxnSpPr>
            <a:cxnSpLocks/>
          </p:cNvCxnSpPr>
          <p:nvPr userDrawn="1"/>
        </p:nvCxnSpPr>
        <p:spPr>
          <a:xfrm>
            <a:off x="8692331" y="3552058"/>
            <a:ext cx="2683692"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071595C-2276-630E-2B28-CF5B61074498}"/>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1">
                    <a:lumMod val="7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p>
        </p:txBody>
      </p:sp>
      <p:pic>
        <p:nvPicPr>
          <p:cNvPr id="4" name="Picture 3">
            <a:extLst>
              <a:ext uri="{FF2B5EF4-FFF2-40B4-BE49-F238E27FC236}">
                <a16:creationId xmlns:a16="http://schemas.microsoft.com/office/drawing/2014/main" id="{A1D0F329-D60E-F776-E282-9CB4E1565C0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22015" y="6266696"/>
            <a:ext cx="2044957" cy="430131"/>
          </a:xfrm>
          <a:prstGeom prst="rect">
            <a:avLst/>
          </a:prstGeom>
        </p:spPr>
      </p:pic>
    </p:spTree>
    <p:extLst>
      <p:ext uri="{BB962C8B-B14F-4D97-AF65-F5344CB8AC3E}">
        <p14:creationId xmlns:p14="http://schemas.microsoft.com/office/powerpoint/2010/main" val="29786867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_Text+Bild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73A822-636D-294A-A497-FE0506906034}"/>
              </a:ext>
            </a:extLst>
          </p:cNvPr>
          <p:cNvSpPr/>
          <p:nvPr userDrawn="1"/>
        </p:nvSpPr>
        <p:spPr>
          <a:xfrm>
            <a:off x="0" y="1"/>
            <a:ext cx="12192000" cy="6857998"/>
          </a:xfrm>
          <a:prstGeom prst="rect">
            <a:avLst/>
          </a:prstGeom>
          <a:gradFill flip="none" rotWithShape="0">
            <a:gsLst>
              <a:gs pos="0">
                <a:srgbClr val="00338D"/>
              </a:gs>
              <a:gs pos="100000">
                <a:srgbClr val="7A258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GB">
              <a:solidFill>
                <a:schemeClr val="lt1">
                  <a:alpha val="44000"/>
                </a:schemeClr>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think-cell data - do not delete" hidden="1">
            <a:extLst>
              <a:ext uri="{FF2B5EF4-FFF2-40B4-BE49-F238E27FC236}">
                <a16:creationId xmlns:a16="http://schemas.microsoft.com/office/drawing/2014/main" id="{BA5991F7-235A-4AA2-7712-663D68DA775F}"/>
              </a:ext>
            </a:extLst>
          </p:cNvPr>
          <p:cNvGraphicFramePr>
            <a:graphicFrameLocks noChangeAspect="1"/>
          </p:cNvGraphicFramePr>
          <p:nvPr userDrawn="1">
            <p:custDataLst>
              <p:tags r:id="rId1"/>
            </p:custDataLst>
            <p:extLst>
              <p:ext uri="{D42A27DB-BD31-4B8C-83A1-F6EECF244321}">
                <p14:modId xmlns:p14="http://schemas.microsoft.com/office/powerpoint/2010/main" val="3943081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7" name="think-cell data - do not delete" hidden="1">
                        <a:extLst>
                          <a:ext uri="{FF2B5EF4-FFF2-40B4-BE49-F238E27FC236}">
                            <a16:creationId xmlns:a16="http://schemas.microsoft.com/office/drawing/2014/main" id="{BA5991F7-235A-4AA2-7712-663D68DA77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AEE8DE26-9B1D-95C0-30AD-5611A06331A6}"/>
              </a:ext>
            </a:extLst>
          </p:cNvPr>
          <p:cNvSpPr>
            <a:spLocks noGrp="1"/>
          </p:cNvSpPr>
          <p:nvPr>
            <p:ph type="pic" sz="quarter" idx="11"/>
          </p:nvPr>
        </p:nvSpPr>
        <p:spPr>
          <a:xfrm>
            <a:off x="0" y="114300"/>
            <a:ext cx="7460865" cy="6743700"/>
          </a:xfrm>
          <a:custGeom>
            <a:avLst/>
            <a:gdLst>
              <a:gd name="connsiteX0" fmla="*/ 0 w 7587320"/>
              <a:gd name="connsiteY0" fmla="*/ 0 h 6858000"/>
              <a:gd name="connsiteX1" fmla="*/ 2921000 w 7587320"/>
              <a:gd name="connsiteY1" fmla="*/ 0 h 6858000"/>
              <a:gd name="connsiteX2" fmla="*/ 2921000 w 7587320"/>
              <a:gd name="connsiteY2" fmla="*/ 2 h 6858000"/>
              <a:gd name="connsiteX3" fmla="*/ 3751920 w 7587320"/>
              <a:gd name="connsiteY3" fmla="*/ 2 h 6858000"/>
              <a:gd name="connsiteX4" fmla="*/ 5390220 w 7587320"/>
              <a:gd name="connsiteY4" fmla="*/ 2 h 6858000"/>
              <a:gd name="connsiteX5" fmla="*/ 7587320 w 7587320"/>
              <a:gd name="connsiteY5" fmla="*/ 2 h 6858000"/>
              <a:gd name="connsiteX6" fmla="*/ 3627853 w 7587320"/>
              <a:gd name="connsiteY6" fmla="*/ 6857999 h 6858000"/>
              <a:gd name="connsiteX7" fmla="*/ 1538656 w 7587320"/>
              <a:gd name="connsiteY7" fmla="*/ 6857999 h 6858000"/>
              <a:gd name="connsiteX8" fmla="*/ 1538656 w 7587320"/>
              <a:gd name="connsiteY8" fmla="*/ 6858000 h 6858000"/>
              <a:gd name="connsiteX9" fmla="*/ 0 w 7587320"/>
              <a:gd name="connsiteY9" fmla="*/ 6858000 h 6858000"/>
              <a:gd name="connsiteX10" fmla="*/ 0 w 7587320"/>
              <a:gd name="connsiteY10" fmla="*/ 3454400 h 6858000"/>
              <a:gd name="connsiteX11" fmla="*/ 0 w 7587320"/>
              <a:gd name="connsiteY11" fmla="*/ 269302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87320" h="6858000">
                <a:moveTo>
                  <a:pt x="0" y="0"/>
                </a:moveTo>
                <a:lnTo>
                  <a:pt x="2921000" y="0"/>
                </a:lnTo>
                <a:lnTo>
                  <a:pt x="2921000" y="2"/>
                </a:lnTo>
                <a:lnTo>
                  <a:pt x="3751920" y="2"/>
                </a:lnTo>
                <a:lnTo>
                  <a:pt x="5390220" y="2"/>
                </a:lnTo>
                <a:lnTo>
                  <a:pt x="7587320" y="2"/>
                </a:lnTo>
                <a:lnTo>
                  <a:pt x="3627853" y="6857999"/>
                </a:lnTo>
                <a:lnTo>
                  <a:pt x="1538656" y="6857999"/>
                </a:lnTo>
                <a:lnTo>
                  <a:pt x="1538656" y="6858000"/>
                </a:lnTo>
                <a:lnTo>
                  <a:pt x="0" y="6858000"/>
                </a:lnTo>
                <a:lnTo>
                  <a:pt x="0" y="3454400"/>
                </a:lnTo>
                <a:lnTo>
                  <a:pt x="0" y="2693029"/>
                </a:lnTo>
                <a:close/>
              </a:path>
            </a:pathLst>
          </a:custGeom>
          <a:pattFill prst="pct20">
            <a:fgClr>
              <a:schemeClr val="accent2"/>
            </a:fgClr>
            <a:bgClr>
              <a:schemeClr val="bg1"/>
            </a:bgClr>
          </a:pattFill>
          <a:ln w="12700" cap="flat">
            <a:noFill/>
            <a:prstDash val="solid"/>
            <a:miter/>
          </a:ln>
          <a:effectLst>
            <a:outerShdw blurRad="685800" dist="38100" dir="10800000" algn="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1800"/>
            </a:lvl1pPr>
          </a:lstStyle>
          <a:p>
            <a:pPr marL="0" lvl="0"/>
            <a:endParaRPr lang="en-GB" dirty="0"/>
          </a:p>
        </p:txBody>
      </p:sp>
      <p:sp>
        <p:nvSpPr>
          <p:cNvPr id="8" name="Background - Solid">
            <a:extLst>
              <a:ext uri="{FF2B5EF4-FFF2-40B4-BE49-F238E27FC236}">
                <a16:creationId xmlns:a16="http://schemas.microsoft.com/office/drawing/2014/main" id="{8CD07E67-8FD7-9CB8-09EC-ECA806BAA1DC}"/>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4" name="Straight Connector 13">
            <a:extLst>
              <a:ext uri="{FF2B5EF4-FFF2-40B4-BE49-F238E27FC236}">
                <a16:creationId xmlns:a16="http://schemas.microsoft.com/office/drawing/2014/main" id="{9FF41CE3-1DD7-CD00-78A3-8EE51A0F820C}"/>
              </a:ext>
            </a:extLst>
          </p:cNvPr>
          <p:cNvCxnSpPr>
            <a:cxnSpLocks/>
          </p:cNvCxnSpPr>
          <p:nvPr/>
        </p:nvCxnSpPr>
        <p:spPr>
          <a:xfrm>
            <a:off x="6533025" y="3995882"/>
            <a:ext cx="2683692"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 Placeholder 27">
            <a:extLst>
              <a:ext uri="{FF2B5EF4-FFF2-40B4-BE49-F238E27FC236}">
                <a16:creationId xmlns:a16="http://schemas.microsoft.com/office/drawing/2014/main" id="{13A6B062-3C84-AD24-7C78-E9DF9AE96BBE}"/>
              </a:ext>
            </a:extLst>
          </p:cNvPr>
          <p:cNvSpPr>
            <a:spLocks noGrp="1"/>
          </p:cNvSpPr>
          <p:nvPr>
            <p:ph type="body" sz="quarter" idx="17"/>
          </p:nvPr>
        </p:nvSpPr>
        <p:spPr>
          <a:xfrm>
            <a:off x="6389179" y="3081112"/>
            <a:ext cx="5233617" cy="840230"/>
          </a:xfrm>
          <a:prstGeom prst="rect">
            <a:avLst/>
          </a:prstGeom>
        </p:spPr>
        <p:txBody>
          <a:bodyPr/>
          <a:lstStyle>
            <a:lvl1pPr marL="0" indent="0" algn="l" defTabSz="914400" rtl="0" eaLnBrk="1" latinLnBrk="0" hangingPunct="1">
              <a:lnSpc>
                <a:spcPct val="90000"/>
              </a:lnSpc>
              <a:buNone/>
              <a:defRPr lang="en-GB" sz="5400" b="1" kern="1200" dirty="0">
                <a:solidFill>
                  <a:schemeClr val="bg2"/>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lvl="0"/>
            <a:endParaRPr lang="en-GB" dirty="0"/>
          </a:p>
        </p:txBody>
      </p:sp>
      <p:sp>
        <p:nvSpPr>
          <p:cNvPr id="16" name="Text Placeholder 27">
            <a:extLst>
              <a:ext uri="{FF2B5EF4-FFF2-40B4-BE49-F238E27FC236}">
                <a16:creationId xmlns:a16="http://schemas.microsoft.com/office/drawing/2014/main" id="{776BF528-A474-6794-308A-7FBF4217DFF1}"/>
              </a:ext>
            </a:extLst>
          </p:cNvPr>
          <p:cNvSpPr>
            <a:spLocks noGrp="1"/>
          </p:cNvSpPr>
          <p:nvPr>
            <p:ph type="body" sz="quarter" idx="18"/>
          </p:nvPr>
        </p:nvSpPr>
        <p:spPr>
          <a:xfrm>
            <a:off x="6389179" y="4400813"/>
            <a:ext cx="5233617" cy="1381147"/>
          </a:xfrm>
          <a:prstGeom prst="rect">
            <a:avLst/>
          </a:prstGeom>
        </p:spPr>
        <p:txBody>
          <a:bodyPr/>
          <a:lstStyle>
            <a:lvl1pPr marL="0" indent="0" algn="l" defTabSz="914400" rtl="0" eaLnBrk="1" latinLnBrk="0" hangingPunct="1">
              <a:lnSpc>
                <a:spcPct val="120000"/>
              </a:lnSpc>
              <a:buNone/>
              <a:defRPr lang="en-GB" sz="2400" kern="1200" dirty="0">
                <a:solidFill>
                  <a:schemeClr val="bg2"/>
                </a:solidFill>
                <a:latin typeface="Arial" panose="020B0604020202020204" pitchFamily="34" charset="0"/>
                <a:ea typeface="+mn-ea"/>
                <a:cs typeface="Arial" panose="020B0604020202020204" pitchFamily="34" charset="0"/>
                <a:sym typeface="Arial" panose="020B0604020202020204" pitchFamily="34" charset="0"/>
              </a:defRPr>
            </a:lvl1pPr>
          </a:lstStyle>
          <a:p>
            <a:pPr lvl="0"/>
            <a:endParaRPr lang="en-GB" dirty="0"/>
          </a:p>
        </p:txBody>
      </p:sp>
      <p:sp>
        <p:nvSpPr>
          <p:cNvPr id="10" name="Slide Number Placeholder 5">
            <a:extLst>
              <a:ext uri="{FF2B5EF4-FFF2-40B4-BE49-F238E27FC236}">
                <a16:creationId xmlns:a16="http://schemas.microsoft.com/office/drawing/2014/main" id="{4C024DBE-130F-ABD4-89F8-A2C92046A164}"/>
              </a:ext>
            </a:extLst>
          </p:cNvPr>
          <p:cNvSpPr txBox="1">
            <a:spLocks/>
          </p:cNvSpPr>
          <p:nvPr userDrawn="1"/>
        </p:nvSpPr>
        <p:spPr>
          <a:xfrm>
            <a:off x="9141577" y="629920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EB7FA4-D16D-498B-9843-862279835448}" type="slidenum">
              <a:rPr lang="en-GB" sz="1100" b="1" smtClean="0">
                <a:solidFill>
                  <a:schemeClr val="accent4"/>
                </a:solidFill>
                <a:latin typeface="Arial" panose="020B0604020202020204" pitchFamily="34" charset="0"/>
                <a:cs typeface="Arial" panose="020B0604020202020204" pitchFamily="34" charset="0"/>
                <a:sym typeface="Arial" panose="020B0604020202020204" pitchFamily="34" charset="0"/>
              </a:rPr>
              <a:pPr/>
              <a:t>‹Nr.›</a:t>
            </a:fld>
            <a:endParaRPr lang="en-GB" sz="1100" b="1" dirty="0">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
        <p:nvSpPr>
          <p:cNvPr id="4" name="Footer Placeholder 3">
            <a:extLst>
              <a:ext uri="{FF2B5EF4-FFF2-40B4-BE49-F238E27FC236}">
                <a16:creationId xmlns:a16="http://schemas.microsoft.com/office/drawing/2014/main" id="{67DAB6BB-5D11-638B-05B7-4407A9FACB95}"/>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2"/>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p>
        </p:txBody>
      </p:sp>
      <p:pic>
        <p:nvPicPr>
          <p:cNvPr id="5" name="Picture 4">
            <a:extLst>
              <a:ext uri="{FF2B5EF4-FFF2-40B4-BE49-F238E27FC236}">
                <a16:creationId xmlns:a16="http://schemas.microsoft.com/office/drawing/2014/main" id="{10B94DE0-BB5F-63E8-AD05-7295949224F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22015" y="6266696"/>
            <a:ext cx="2044957" cy="430131"/>
          </a:xfrm>
          <a:prstGeom prst="rect">
            <a:avLst/>
          </a:prstGeom>
        </p:spPr>
      </p:pic>
    </p:spTree>
    <p:extLst>
      <p:ext uri="{BB962C8B-B14F-4D97-AF65-F5344CB8AC3E}">
        <p14:creationId xmlns:p14="http://schemas.microsoft.com/office/powerpoint/2010/main" val="27889272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_Headline + le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6174022-CBCF-04BB-EABB-A3D857F2E9DD}"/>
              </a:ext>
            </a:extLst>
          </p:cNvPr>
          <p:cNvGraphicFramePr>
            <a:graphicFrameLocks noChangeAspect="1"/>
          </p:cNvGraphicFramePr>
          <p:nvPr userDrawn="1">
            <p:custDataLst>
              <p:tags r:id="rId1"/>
            </p:custDataLst>
            <p:extLst>
              <p:ext uri="{D42A27DB-BD31-4B8C-83A1-F6EECF244321}">
                <p14:modId xmlns:p14="http://schemas.microsoft.com/office/powerpoint/2010/main" val="185977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B20EFF45-AF23-527A-74FE-FD2324CEA34A}"/>
              </a:ext>
            </a:extLst>
          </p:cNvPr>
          <p:cNvSpPr>
            <a:spLocks noGrp="1"/>
          </p:cNvSpPr>
          <p:nvPr>
            <p:ph type="body" sz="quarter" idx="10"/>
          </p:nvPr>
        </p:nvSpPr>
        <p:spPr>
          <a:xfrm>
            <a:off x="323129" y="407551"/>
            <a:ext cx="10283909" cy="480131"/>
          </a:xfrm>
          <a:prstGeom prst="rect">
            <a:avLst/>
          </a:prstGeom>
        </p:spPr>
        <p:txBody>
          <a:bodyPr/>
          <a:lstStyle>
            <a:lvl1pPr marL="0" indent="0" algn="l" defTabSz="914400" rtl="0" eaLnBrk="1" latinLnBrk="0" hangingPunct="1">
              <a:lnSpc>
                <a:spcPct val="90000"/>
              </a:lnSpc>
              <a:buNone/>
              <a:defRPr lang="en-US" sz="2800" b="1" kern="1200" dirty="0" smtClean="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lnSpc>
                <a:spcPct val="90000"/>
              </a:lnSpc>
              <a:defRPr lang="en-US" sz="2800" b="1" kern="1200" dirty="0" smtClean="0">
                <a:solidFill>
                  <a:schemeClr val="accent1"/>
                </a:solidFill>
                <a:latin typeface="Arial"/>
                <a:ea typeface="+mn-ea"/>
                <a:cs typeface="+mn-cs"/>
              </a:defRPr>
            </a:lvl2pPr>
            <a:lvl3pPr marL="0" algn="l" defTabSz="914400" rtl="0" eaLnBrk="1" latinLnBrk="0" hangingPunct="1">
              <a:lnSpc>
                <a:spcPct val="90000"/>
              </a:lnSpc>
              <a:defRPr lang="en-US" sz="2800" b="1" kern="1200" dirty="0" smtClean="0">
                <a:solidFill>
                  <a:schemeClr val="accent1"/>
                </a:solidFill>
                <a:latin typeface="Arial"/>
                <a:ea typeface="+mn-ea"/>
                <a:cs typeface="+mn-cs"/>
              </a:defRPr>
            </a:lvl3pPr>
            <a:lvl4pPr marL="0" algn="l" defTabSz="914400" rtl="0" eaLnBrk="1" latinLnBrk="0" hangingPunct="1">
              <a:lnSpc>
                <a:spcPct val="90000"/>
              </a:lnSpc>
              <a:defRPr lang="en-US" sz="2800" b="1" kern="1200" dirty="0" smtClean="0">
                <a:solidFill>
                  <a:schemeClr val="accent1"/>
                </a:solidFill>
                <a:latin typeface="Arial"/>
                <a:ea typeface="+mn-ea"/>
                <a:cs typeface="+mn-cs"/>
              </a:defRPr>
            </a:lvl4pPr>
            <a:lvl5pPr marL="0" algn="l" defTabSz="914400" rtl="0" eaLnBrk="1" latinLnBrk="0" hangingPunct="1">
              <a:lnSpc>
                <a:spcPct val="90000"/>
              </a:lnSpc>
              <a:defRPr lang="de-DE" sz="2800" b="1" kern="1200" dirty="0">
                <a:solidFill>
                  <a:schemeClr val="accent1"/>
                </a:solidFill>
                <a:latin typeface="Arial"/>
                <a:ea typeface="+mn-ea"/>
                <a:cs typeface="+mn-cs"/>
              </a:defRPr>
            </a:lvl5pPr>
          </a:lstStyle>
          <a:p>
            <a:pPr lvl="0"/>
            <a:endParaRPr lang="de-DE" dirty="0"/>
          </a:p>
        </p:txBody>
      </p:sp>
      <p:cxnSp>
        <p:nvCxnSpPr>
          <p:cNvPr id="3" name="Straight Connector 2">
            <a:extLst>
              <a:ext uri="{FF2B5EF4-FFF2-40B4-BE49-F238E27FC236}">
                <a16:creationId xmlns:a16="http://schemas.microsoft.com/office/drawing/2014/main" id="{A3A3DC9E-EFBF-E486-9164-A5E7F07D2440}"/>
              </a:ext>
            </a:extLst>
          </p:cNvPr>
          <p:cNvCxnSpPr>
            <a:cxnSpLocks/>
          </p:cNvCxnSpPr>
          <p:nvPr userDrawn="1"/>
        </p:nvCxnSpPr>
        <p:spPr>
          <a:xfrm>
            <a:off x="431800" y="964407"/>
            <a:ext cx="466407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3066FC9D-D802-D040-A419-9B6AAB7DA01F}"/>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1">
                    <a:lumMod val="7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p>
        </p:txBody>
      </p:sp>
      <p:sp>
        <p:nvSpPr>
          <p:cNvPr id="2" name="Text Placeholder 9">
            <a:extLst>
              <a:ext uri="{FF2B5EF4-FFF2-40B4-BE49-F238E27FC236}">
                <a16:creationId xmlns:a16="http://schemas.microsoft.com/office/drawing/2014/main" id="{FF24C9A4-BC1B-1BFB-DA25-9853170A2C9F}"/>
              </a:ext>
            </a:extLst>
          </p:cNvPr>
          <p:cNvSpPr>
            <a:spLocks noGrp="1"/>
          </p:cNvSpPr>
          <p:nvPr>
            <p:ph type="body" sz="quarter" idx="11"/>
          </p:nvPr>
        </p:nvSpPr>
        <p:spPr>
          <a:xfrm>
            <a:off x="323129" y="1055965"/>
            <a:ext cx="10283908" cy="338554"/>
          </a:xfrm>
          <a:prstGeom prst="rect">
            <a:avLst/>
          </a:prstGeom>
        </p:spPr>
        <p:txBody>
          <a:bodyPr/>
          <a:lstStyle>
            <a:lvl1pPr marL="0" indent="0" algn="l" defTabSz="914400" rtl="0" eaLnBrk="1" latinLnBrk="0" hangingPunct="1">
              <a:buNone/>
              <a:defRPr lang="en-US" sz="2400" kern="1200" dirty="0" smtClean="0">
                <a:solidFill>
                  <a:schemeClr val="tx1">
                    <a:lumMod val="75000"/>
                    <a:lumOff val="25000"/>
                  </a:schemeClr>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defRPr lang="en-US" sz="1600" kern="1200" dirty="0" smtClean="0">
                <a:solidFill>
                  <a:schemeClr val="tx1">
                    <a:lumMod val="75000"/>
                    <a:lumOff val="25000"/>
                  </a:schemeClr>
                </a:solidFill>
                <a:latin typeface="+mn-lt"/>
                <a:ea typeface="+mn-ea"/>
                <a:cs typeface="+mn-cs"/>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lvl="0"/>
            <a:endParaRPr lang="de-DE" dirty="0"/>
          </a:p>
        </p:txBody>
      </p:sp>
    </p:spTree>
    <p:extLst>
      <p:ext uri="{BB962C8B-B14F-4D97-AF65-F5344CB8AC3E}">
        <p14:creationId xmlns:p14="http://schemas.microsoft.com/office/powerpoint/2010/main" val="7318381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_Text lan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205CF5-25D2-516C-04F9-F9E0C6AA4134}"/>
              </a:ext>
            </a:extLst>
          </p:cNvPr>
          <p:cNvGraphicFramePr>
            <a:graphicFrameLocks noChangeAspect="1"/>
          </p:cNvGraphicFramePr>
          <p:nvPr userDrawn="1">
            <p:custDataLst>
              <p:tags r:id="rId1"/>
            </p:custDataLst>
            <p:extLst>
              <p:ext uri="{D42A27DB-BD31-4B8C-83A1-F6EECF244321}">
                <p14:modId xmlns:p14="http://schemas.microsoft.com/office/powerpoint/2010/main" val="1783123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EDE8570E-CD61-BD4C-DEF4-16295810CC32}"/>
              </a:ext>
            </a:extLst>
          </p:cNvPr>
          <p:cNvSpPr>
            <a:spLocks noGrp="1"/>
          </p:cNvSpPr>
          <p:nvPr>
            <p:ph type="body" sz="quarter" idx="12"/>
          </p:nvPr>
        </p:nvSpPr>
        <p:spPr>
          <a:xfrm>
            <a:off x="323128" y="1562100"/>
            <a:ext cx="11543051" cy="4408071"/>
          </a:xfrm>
          <a:prstGeom prst="rect">
            <a:avLst/>
          </a:prstGeom>
        </p:spPr>
        <p:txBody>
          <a:bodyPr/>
          <a:lstStyle>
            <a:lvl1pPr marL="0" indent="0" algn="l" defTabSz="914400" rtl="0" eaLnBrk="1" latinLnBrk="0" hangingPunct="1">
              <a:lnSpc>
                <a:spcPct val="110000"/>
              </a:lnSpc>
              <a:spcAft>
                <a:spcPts val="1200"/>
              </a:spcAft>
              <a:buNone/>
              <a:defRPr lang="de-DE" sz="2000" kern="1200" dirty="0">
                <a:solidFill>
                  <a:schemeClr val="tx1">
                    <a:lumMod val="75000"/>
                    <a:lumOff val="25000"/>
                  </a:schemeClr>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defRPr lang="en-US" sz="1600" kern="1200" dirty="0" smtClean="0">
                <a:solidFill>
                  <a:schemeClr val="tx1">
                    <a:lumMod val="75000"/>
                    <a:lumOff val="25000"/>
                  </a:schemeClr>
                </a:solidFill>
                <a:latin typeface="+mn-lt"/>
                <a:ea typeface="+mn-ea"/>
                <a:cs typeface="+mn-cs"/>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lvl="0"/>
            <a:endParaRPr lang="de-DE" dirty="0"/>
          </a:p>
        </p:txBody>
      </p:sp>
      <p:sp>
        <p:nvSpPr>
          <p:cNvPr id="8" name="Text Placeholder 7">
            <a:extLst>
              <a:ext uri="{FF2B5EF4-FFF2-40B4-BE49-F238E27FC236}">
                <a16:creationId xmlns:a16="http://schemas.microsoft.com/office/drawing/2014/main" id="{B20EFF45-AF23-527A-74FE-FD2324CEA34A}"/>
              </a:ext>
            </a:extLst>
          </p:cNvPr>
          <p:cNvSpPr>
            <a:spLocks noGrp="1"/>
          </p:cNvSpPr>
          <p:nvPr>
            <p:ph type="body" sz="quarter" idx="10"/>
          </p:nvPr>
        </p:nvSpPr>
        <p:spPr>
          <a:xfrm>
            <a:off x="323129" y="407551"/>
            <a:ext cx="10283909" cy="480131"/>
          </a:xfrm>
          <a:prstGeom prst="rect">
            <a:avLst/>
          </a:prstGeom>
        </p:spPr>
        <p:txBody>
          <a:bodyPr/>
          <a:lstStyle>
            <a:lvl1pPr marL="0" indent="0" algn="l" defTabSz="914400" rtl="0" eaLnBrk="1" latinLnBrk="0" hangingPunct="1">
              <a:lnSpc>
                <a:spcPct val="90000"/>
              </a:lnSpc>
              <a:buNone/>
              <a:defRPr lang="en-US" sz="2800" b="1" kern="1200" dirty="0" smtClean="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lnSpc>
                <a:spcPct val="90000"/>
              </a:lnSpc>
              <a:defRPr lang="en-US" sz="2800" b="1" kern="1200" dirty="0" smtClean="0">
                <a:solidFill>
                  <a:schemeClr val="accent1"/>
                </a:solidFill>
                <a:latin typeface="Arial"/>
                <a:ea typeface="+mn-ea"/>
                <a:cs typeface="+mn-cs"/>
              </a:defRPr>
            </a:lvl2pPr>
            <a:lvl3pPr marL="0" algn="l" defTabSz="914400" rtl="0" eaLnBrk="1" latinLnBrk="0" hangingPunct="1">
              <a:lnSpc>
                <a:spcPct val="90000"/>
              </a:lnSpc>
              <a:defRPr lang="en-US" sz="2800" b="1" kern="1200" dirty="0" smtClean="0">
                <a:solidFill>
                  <a:schemeClr val="accent1"/>
                </a:solidFill>
                <a:latin typeface="Arial"/>
                <a:ea typeface="+mn-ea"/>
                <a:cs typeface="+mn-cs"/>
              </a:defRPr>
            </a:lvl3pPr>
            <a:lvl4pPr marL="0" algn="l" defTabSz="914400" rtl="0" eaLnBrk="1" latinLnBrk="0" hangingPunct="1">
              <a:lnSpc>
                <a:spcPct val="90000"/>
              </a:lnSpc>
              <a:defRPr lang="en-US" sz="2800" b="1" kern="1200" dirty="0" smtClean="0">
                <a:solidFill>
                  <a:schemeClr val="accent1"/>
                </a:solidFill>
                <a:latin typeface="Arial"/>
                <a:ea typeface="+mn-ea"/>
                <a:cs typeface="+mn-cs"/>
              </a:defRPr>
            </a:lvl4pPr>
            <a:lvl5pPr marL="0" algn="l" defTabSz="914400" rtl="0" eaLnBrk="1" latinLnBrk="0" hangingPunct="1">
              <a:lnSpc>
                <a:spcPct val="90000"/>
              </a:lnSpc>
              <a:defRPr lang="de-DE" sz="2800" b="1" kern="1200" dirty="0">
                <a:solidFill>
                  <a:schemeClr val="accent1"/>
                </a:solidFill>
                <a:latin typeface="Arial"/>
                <a:ea typeface="+mn-ea"/>
                <a:cs typeface="+mn-cs"/>
              </a:defRPr>
            </a:lvl5pPr>
          </a:lstStyle>
          <a:p>
            <a:pPr lvl="0"/>
            <a:endParaRPr lang="de-DE" dirty="0"/>
          </a:p>
        </p:txBody>
      </p:sp>
      <p:sp>
        <p:nvSpPr>
          <p:cNvPr id="10" name="Text Placeholder 9">
            <a:extLst>
              <a:ext uri="{FF2B5EF4-FFF2-40B4-BE49-F238E27FC236}">
                <a16:creationId xmlns:a16="http://schemas.microsoft.com/office/drawing/2014/main" id="{700E0242-A582-2F8D-3824-F27570387852}"/>
              </a:ext>
            </a:extLst>
          </p:cNvPr>
          <p:cNvSpPr>
            <a:spLocks noGrp="1"/>
          </p:cNvSpPr>
          <p:nvPr>
            <p:ph type="body" sz="quarter" idx="11"/>
          </p:nvPr>
        </p:nvSpPr>
        <p:spPr>
          <a:xfrm>
            <a:off x="323129" y="1055965"/>
            <a:ext cx="10283908" cy="338554"/>
          </a:xfrm>
          <a:prstGeom prst="rect">
            <a:avLst/>
          </a:prstGeom>
        </p:spPr>
        <p:txBody>
          <a:bodyPr/>
          <a:lstStyle>
            <a:lvl1pPr marL="0" indent="0" algn="l" defTabSz="914400" rtl="0" eaLnBrk="1" latinLnBrk="0" hangingPunct="1">
              <a:buNone/>
              <a:defRPr lang="en-US" sz="2400" kern="1200" dirty="0" smtClean="0">
                <a:solidFill>
                  <a:schemeClr val="tx1">
                    <a:lumMod val="75000"/>
                    <a:lumOff val="25000"/>
                  </a:schemeClr>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defRPr lang="en-US" sz="1600" kern="1200" dirty="0" smtClean="0">
                <a:solidFill>
                  <a:schemeClr val="tx1">
                    <a:lumMod val="75000"/>
                    <a:lumOff val="25000"/>
                  </a:schemeClr>
                </a:solidFill>
                <a:latin typeface="+mn-lt"/>
                <a:ea typeface="+mn-ea"/>
                <a:cs typeface="+mn-cs"/>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lvl="0"/>
            <a:endParaRPr lang="de-DE" dirty="0"/>
          </a:p>
        </p:txBody>
      </p:sp>
      <p:cxnSp>
        <p:nvCxnSpPr>
          <p:cNvPr id="4" name="Straight Connector 3">
            <a:extLst>
              <a:ext uri="{FF2B5EF4-FFF2-40B4-BE49-F238E27FC236}">
                <a16:creationId xmlns:a16="http://schemas.microsoft.com/office/drawing/2014/main" id="{9B865E8F-F6A6-9495-2525-01537214DC44}"/>
              </a:ext>
            </a:extLst>
          </p:cNvPr>
          <p:cNvCxnSpPr>
            <a:cxnSpLocks/>
          </p:cNvCxnSpPr>
          <p:nvPr userDrawn="1"/>
        </p:nvCxnSpPr>
        <p:spPr>
          <a:xfrm>
            <a:off x="431800" y="964407"/>
            <a:ext cx="466407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Footer Placeholder 3">
            <a:extLst>
              <a:ext uri="{FF2B5EF4-FFF2-40B4-BE49-F238E27FC236}">
                <a16:creationId xmlns:a16="http://schemas.microsoft.com/office/drawing/2014/main" id="{B8B47E3D-E6DB-C108-13E3-10EA088A3A39}"/>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1">
                    <a:lumMod val="7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p>
        </p:txBody>
      </p:sp>
    </p:spTree>
    <p:extLst>
      <p:ext uri="{BB962C8B-B14F-4D97-AF65-F5344CB8AC3E}">
        <p14:creationId xmlns:p14="http://schemas.microsoft.com/office/powerpoint/2010/main" val="30843828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ent_Text+Bild+Icon">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FBA2D7BE-E944-E466-C75F-ADBF3598CC2B}"/>
              </a:ext>
            </a:extLst>
          </p:cNvPr>
          <p:cNvSpPr>
            <a:spLocks noGrp="1"/>
          </p:cNvSpPr>
          <p:nvPr>
            <p:ph type="pic" sz="quarter" idx="20"/>
          </p:nvPr>
        </p:nvSpPr>
        <p:spPr>
          <a:xfrm>
            <a:off x="0" y="1562101"/>
            <a:ext cx="6631152" cy="4581525"/>
          </a:xfrm>
          <a:custGeom>
            <a:avLst/>
            <a:gdLst>
              <a:gd name="connsiteX0" fmla="*/ 0 w 6631152"/>
              <a:gd name="connsiteY0" fmla="*/ 0 h 4581525"/>
              <a:gd name="connsiteX1" fmla="*/ 6631152 w 6631152"/>
              <a:gd name="connsiteY1" fmla="*/ 0 h 4581525"/>
              <a:gd name="connsiteX2" fmla="*/ 4039567 w 6631152"/>
              <a:gd name="connsiteY2" fmla="*/ 4581525 h 4581525"/>
              <a:gd name="connsiteX3" fmla="*/ 0 w 6631152"/>
              <a:gd name="connsiteY3" fmla="*/ 4581525 h 4581525"/>
            </a:gdLst>
            <a:ahLst/>
            <a:cxnLst>
              <a:cxn ang="0">
                <a:pos x="connsiteX0" y="connsiteY0"/>
              </a:cxn>
              <a:cxn ang="0">
                <a:pos x="connsiteX1" y="connsiteY1"/>
              </a:cxn>
              <a:cxn ang="0">
                <a:pos x="connsiteX2" y="connsiteY2"/>
              </a:cxn>
              <a:cxn ang="0">
                <a:pos x="connsiteX3" y="connsiteY3"/>
              </a:cxn>
            </a:cxnLst>
            <a:rect l="l" t="t" r="r" b="b"/>
            <a:pathLst>
              <a:path w="6631152" h="4581525">
                <a:moveTo>
                  <a:pt x="0" y="0"/>
                </a:moveTo>
                <a:lnTo>
                  <a:pt x="6631152" y="0"/>
                </a:lnTo>
                <a:lnTo>
                  <a:pt x="4039567" y="4581525"/>
                </a:lnTo>
                <a:lnTo>
                  <a:pt x="0" y="4581525"/>
                </a:lnTo>
                <a:close/>
              </a:path>
            </a:pathLst>
          </a:custGeom>
          <a:pattFill prst="pct20">
            <a:fgClr>
              <a:schemeClr val="accent2"/>
            </a:fgClr>
            <a:bgClr>
              <a:schemeClr val="bg1"/>
            </a:bgClr>
          </a:pattFill>
          <a:ln w="12700" cap="flat">
            <a:noFill/>
            <a:prstDash val="solid"/>
            <a:miter/>
          </a:ln>
          <a:effectLst>
            <a:outerShdw blurRad="685800" dist="38100" dir="10800000" algn="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1800"/>
            </a:lvl1pPr>
          </a:lstStyle>
          <a:p>
            <a:pPr marL="0" lvl="0"/>
            <a:endParaRPr lang="en-GB"/>
          </a:p>
        </p:txBody>
      </p:sp>
      <p:graphicFrame>
        <p:nvGraphicFramePr>
          <p:cNvPr id="32" name="think-cell data - do not delete" hidden="1">
            <a:extLst>
              <a:ext uri="{FF2B5EF4-FFF2-40B4-BE49-F238E27FC236}">
                <a16:creationId xmlns:a16="http://schemas.microsoft.com/office/drawing/2014/main" id="{82D475CC-8DA5-DD91-5644-CEBF9A1C7987}"/>
              </a:ext>
            </a:extLst>
          </p:cNvPr>
          <p:cNvGraphicFramePr>
            <a:graphicFrameLocks noChangeAspect="1"/>
          </p:cNvGraphicFramePr>
          <p:nvPr userDrawn="1">
            <p:custDataLst>
              <p:tags r:id="rId1"/>
            </p:custDataLst>
            <p:extLst>
              <p:ext uri="{D42A27DB-BD31-4B8C-83A1-F6EECF244321}">
                <p14:modId xmlns:p14="http://schemas.microsoft.com/office/powerpoint/2010/main" val="1203542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32" name="think-cell data - do not delete" hidden="1">
                        <a:extLst>
                          <a:ext uri="{FF2B5EF4-FFF2-40B4-BE49-F238E27FC236}">
                            <a16:creationId xmlns:a16="http://schemas.microsoft.com/office/drawing/2014/main" id="{82D475CC-8DA5-DD91-5644-CEBF9A1C7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B20EFF45-AF23-527A-74FE-FD2324CEA34A}"/>
              </a:ext>
            </a:extLst>
          </p:cNvPr>
          <p:cNvSpPr>
            <a:spLocks noGrp="1"/>
          </p:cNvSpPr>
          <p:nvPr>
            <p:ph type="body" sz="quarter" idx="10"/>
          </p:nvPr>
        </p:nvSpPr>
        <p:spPr>
          <a:xfrm>
            <a:off x="323129" y="407551"/>
            <a:ext cx="10283909" cy="480131"/>
          </a:xfrm>
          <a:prstGeom prst="rect">
            <a:avLst/>
          </a:prstGeom>
        </p:spPr>
        <p:txBody>
          <a:bodyPr/>
          <a:lstStyle>
            <a:lvl1pPr marL="0" indent="0" algn="l" defTabSz="914400" rtl="0" eaLnBrk="1" latinLnBrk="0" hangingPunct="1">
              <a:lnSpc>
                <a:spcPct val="90000"/>
              </a:lnSpc>
              <a:buNone/>
              <a:defRPr lang="de-DE" sz="2800" b="1" kern="1200" dirty="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lnSpc>
                <a:spcPct val="90000"/>
              </a:lnSpc>
              <a:defRPr lang="en-US" sz="2800" b="1" kern="1200" dirty="0" smtClean="0">
                <a:solidFill>
                  <a:schemeClr val="accent1"/>
                </a:solidFill>
                <a:latin typeface="Arial"/>
                <a:ea typeface="+mn-ea"/>
                <a:cs typeface="+mn-cs"/>
              </a:defRPr>
            </a:lvl2pPr>
            <a:lvl3pPr marL="0" algn="l" defTabSz="914400" rtl="0" eaLnBrk="1" latinLnBrk="0" hangingPunct="1">
              <a:lnSpc>
                <a:spcPct val="90000"/>
              </a:lnSpc>
              <a:defRPr lang="en-US" sz="2800" b="1" kern="1200" dirty="0" smtClean="0">
                <a:solidFill>
                  <a:schemeClr val="accent1"/>
                </a:solidFill>
                <a:latin typeface="Arial"/>
                <a:ea typeface="+mn-ea"/>
                <a:cs typeface="+mn-cs"/>
              </a:defRPr>
            </a:lvl3pPr>
            <a:lvl4pPr marL="0" algn="l" defTabSz="914400" rtl="0" eaLnBrk="1" latinLnBrk="0" hangingPunct="1">
              <a:lnSpc>
                <a:spcPct val="90000"/>
              </a:lnSpc>
              <a:defRPr lang="en-US" sz="2800" b="1" kern="1200" dirty="0" smtClean="0">
                <a:solidFill>
                  <a:schemeClr val="accent1"/>
                </a:solidFill>
                <a:latin typeface="Arial"/>
                <a:ea typeface="+mn-ea"/>
                <a:cs typeface="+mn-cs"/>
              </a:defRPr>
            </a:lvl4pPr>
            <a:lvl5pPr marL="0" algn="l" defTabSz="914400" rtl="0" eaLnBrk="1" latinLnBrk="0" hangingPunct="1">
              <a:lnSpc>
                <a:spcPct val="90000"/>
              </a:lnSpc>
              <a:defRPr lang="de-DE" sz="2800" b="1" kern="1200" dirty="0">
                <a:solidFill>
                  <a:schemeClr val="accent1"/>
                </a:solidFill>
                <a:latin typeface="Arial"/>
                <a:ea typeface="+mn-ea"/>
                <a:cs typeface="+mn-cs"/>
              </a:defRPr>
            </a:lvl5pPr>
          </a:lstStyle>
          <a:p>
            <a:pPr marL="0" lvl="0" indent="0" algn="l" defTabSz="914400" rtl="0" eaLnBrk="1" latinLnBrk="0" hangingPunct="1">
              <a:lnSpc>
                <a:spcPct val="90000"/>
              </a:lnSpc>
              <a:spcBef>
                <a:spcPts val="1000"/>
              </a:spcBef>
              <a:buFont typeface="Arial" panose="020B0604020202020204" pitchFamily="34" charset="0"/>
              <a:buNone/>
            </a:pPr>
            <a:endParaRPr lang="de-DE" dirty="0"/>
          </a:p>
        </p:txBody>
      </p:sp>
      <p:sp>
        <p:nvSpPr>
          <p:cNvPr id="4" name="Background - Solid">
            <a:extLst>
              <a:ext uri="{FF2B5EF4-FFF2-40B4-BE49-F238E27FC236}">
                <a16:creationId xmlns:a16="http://schemas.microsoft.com/office/drawing/2014/main" id="{841E4FA6-7F3C-2C2D-37F1-7444C6BF7F13}"/>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5">
            <a:extLst>
              <a:ext uri="{FF2B5EF4-FFF2-40B4-BE49-F238E27FC236}">
                <a16:creationId xmlns:a16="http://schemas.microsoft.com/office/drawing/2014/main" id="{4A1036E1-081C-3694-F336-57602AF2D084}"/>
              </a:ext>
            </a:extLst>
          </p:cNvPr>
          <p:cNvSpPr txBox="1">
            <a:spLocks/>
          </p:cNvSpPr>
          <p:nvPr userDrawn="1"/>
        </p:nvSpPr>
        <p:spPr>
          <a:xfrm>
            <a:off x="9141577" y="629920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EB7FA4-D16D-498B-9843-862279835448}" type="slidenum">
              <a:rPr lang="en-GB" sz="1100" b="1" smtClean="0">
                <a:solidFill>
                  <a:schemeClr val="accent1"/>
                </a:solidFill>
                <a:latin typeface="Arial" panose="020B0604020202020204" pitchFamily="34" charset="0"/>
                <a:cs typeface="Arial" panose="020B0604020202020204" pitchFamily="34" charset="0"/>
                <a:sym typeface="Arial" panose="020B0604020202020204" pitchFamily="34" charset="0"/>
              </a:rPr>
              <a:pPr/>
              <a:t>‹Nr.›</a:t>
            </a:fld>
            <a:endParaRPr lang="en-GB" sz="1100" b="1" dirty="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cxnSp>
        <p:nvCxnSpPr>
          <p:cNvPr id="2" name="Straight Connector 1">
            <a:extLst>
              <a:ext uri="{FF2B5EF4-FFF2-40B4-BE49-F238E27FC236}">
                <a16:creationId xmlns:a16="http://schemas.microsoft.com/office/drawing/2014/main" id="{A4030C13-A2F0-F157-B66D-3114CF6F964B}"/>
              </a:ext>
            </a:extLst>
          </p:cNvPr>
          <p:cNvCxnSpPr>
            <a:cxnSpLocks/>
          </p:cNvCxnSpPr>
          <p:nvPr userDrawn="1"/>
        </p:nvCxnSpPr>
        <p:spPr>
          <a:xfrm>
            <a:off x="431800" y="964407"/>
            <a:ext cx="466407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Parallelogram 16">
            <a:extLst>
              <a:ext uri="{FF2B5EF4-FFF2-40B4-BE49-F238E27FC236}">
                <a16:creationId xmlns:a16="http://schemas.microsoft.com/office/drawing/2014/main" id="{157F0812-F4DE-151D-925A-D15EEE6C1178}"/>
              </a:ext>
            </a:extLst>
          </p:cNvPr>
          <p:cNvSpPr/>
          <p:nvPr userDrawn="1"/>
        </p:nvSpPr>
        <p:spPr>
          <a:xfrm>
            <a:off x="6312808" y="1856596"/>
            <a:ext cx="5622017" cy="1121442"/>
          </a:xfrm>
          <a:prstGeom prst="parallelogram">
            <a:avLst>
              <a:gd name="adj" fmla="val 56566"/>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20" name="Parallelogram 19">
            <a:extLst>
              <a:ext uri="{FF2B5EF4-FFF2-40B4-BE49-F238E27FC236}">
                <a16:creationId xmlns:a16="http://schemas.microsoft.com/office/drawing/2014/main" id="{EE7408D0-E486-A3D2-7976-2F2F35D2D306}"/>
              </a:ext>
            </a:extLst>
          </p:cNvPr>
          <p:cNvSpPr/>
          <p:nvPr userDrawn="1"/>
        </p:nvSpPr>
        <p:spPr>
          <a:xfrm>
            <a:off x="6152341" y="2110546"/>
            <a:ext cx="1042632" cy="613542"/>
          </a:xfrm>
          <a:prstGeom prst="parallelogram">
            <a:avLst>
              <a:gd name="adj" fmla="val 56566"/>
            </a:avLst>
          </a:pr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Parallelogram 20">
            <a:extLst>
              <a:ext uri="{FF2B5EF4-FFF2-40B4-BE49-F238E27FC236}">
                <a16:creationId xmlns:a16="http://schemas.microsoft.com/office/drawing/2014/main" id="{83470334-AC47-464E-54EA-743E7CFFA53F}"/>
              </a:ext>
            </a:extLst>
          </p:cNvPr>
          <p:cNvSpPr/>
          <p:nvPr userDrawn="1"/>
        </p:nvSpPr>
        <p:spPr>
          <a:xfrm>
            <a:off x="5500008" y="3292141"/>
            <a:ext cx="5622017" cy="1121442"/>
          </a:xfrm>
          <a:prstGeom prst="parallelogram">
            <a:avLst>
              <a:gd name="adj" fmla="val 56566"/>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22" name="Parallelogram 21">
            <a:extLst>
              <a:ext uri="{FF2B5EF4-FFF2-40B4-BE49-F238E27FC236}">
                <a16:creationId xmlns:a16="http://schemas.microsoft.com/office/drawing/2014/main" id="{5A5F7840-40D5-3D4C-7FA0-505CD0E3DD5F}"/>
              </a:ext>
            </a:extLst>
          </p:cNvPr>
          <p:cNvSpPr/>
          <p:nvPr userDrawn="1"/>
        </p:nvSpPr>
        <p:spPr>
          <a:xfrm>
            <a:off x="5339541" y="3546091"/>
            <a:ext cx="1042632" cy="613542"/>
          </a:xfrm>
          <a:prstGeom prst="parallelogram">
            <a:avLst>
              <a:gd name="adj" fmla="val 56566"/>
            </a:avLst>
          </a:pr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3" name="Parallelogram 22">
            <a:extLst>
              <a:ext uri="{FF2B5EF4-FFF2-40B4-BE49-F238E27FC236}">
                <a16:creationId xmlns:a16="http://schemas.microsoft.com/office/drawing/2014/main" id="{F4DDADC4-0B39-6840-656E-383EDF0F731F}"/>
              </a:ext>
            </a:extLst>
          </p:cNvPr>
          <p:cNvSpPr/>
          <p:nvPr userDrawn="1"/>
        </p:nvSpPr>
        <p:spPr>
          <a:xfrm>
            <a:off x="4684668" y="4727687"/>
            <a:ext cx="5622017" cy="1121442"/>
          </a:xfrm>
          <a:prstGeom prst="parallelogram">
            <a:avLst>
              <a:gd name="adj" fmla="val 56566"/>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27" name="Parallelogram 26">
            <a:extLst>
              <a:ext uri="{FF2B5EF4-FFF2-40B4-BE49-F238E27FC236}">
                <a16:creationId xmlns:a16="http://schemas.microsoft.com/office/drawing/2014/main" id="{D969D4BD-0F42-931C-A168-7082674E633E}"/>
              </a:ext>
            </a:extLst>
          </p:cNvPr>
          <p:cNvSpPr/>
          <p:nvPr userDrawn="1"/>
        </p:nvSpPr>
        <p:spPr>
          <a:xfrm>
            <a:off x="4524201" y="4981637"/>
            <a:ext cx="1042632" cy="613542"/>
          </a:xfrm>
          <a:prstGeom prst="parallelogram">
            <a:avLst>
              <a:gd name="adj" fmla="val 56566"/>
            </a:avLst>
          </a:pr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3" name="Text Placeholder 9">
            <a:extLst>
              <a:ext uri="{FF2B5EF4-FFF2-40B4-BE49-F238E27FC236}">
                <a16:creationId xmlns:a16="http://schemas.microsoft.com/office/drawing/2014/main" id="{BE1D29CB-AF40-A9A5-2A9B-CCDDFD98E8F9}"/>
              </a:ext>
            </a:extLst>
          </p:cNvPr>
          <p:cNvSpPr>
            <a:spLocks noGrp="1"/>
          </p:cNvSpPr>
          <p:nvPr>
            <p:ph type="body" sz="quarter" idx="13"/>
          </p:nvPr>
        </p:nvSpPr>
        <p:spPr>
          <a:xfrm>
            <a:off x="7232950" y="1953152"/>
            <a:ext cx="4131028" cy="928331"/>
          </a:xfrm>
          <a:prstGeom prst="rect">
            <a:avLst/>
          </a:prstGeom>
        </p:spPr>
        <p:txBody>
          <a:bodyPr anchor="ctr"/>
          <a:lstStyle>
            <a:lvl1pPr marL="0" indent="0" algn="just" defTabSz="914400" rtl="0" eaLnBrk="1" latinLnBrk="0" hangingPunct="1">
              <a:lnSpc>
                <a:spcPct val="110000"/>
              </a:lnSpc>
              <a:spcAft>
                <a:spcPts val="1200"/>
              </a:spcAft>
              <a:buNone/>
              <a:defRPr lang="de-DE" sz="2000" kern="1200" dirty="0">
                <a:solidFill>
                  <a:schemeClr val="tx1">
                    <a:lumMod val="75000"/>
                    <a:lumOff val="25000"/>
                  </a:schemeClr>
                </a:solidFill>
                <a:latin typeface="+mn-lt"/>
                <a:ea typeface="+mn-ea"/>
                <a:cs typeface="+mn-cs"/>
              </a:defRPr>
            </a:lvl1pPr>
            <a:lvl2pPr marL="0" indent="0" algn="l" defTabSz="914400" rtl="0" eaLnBrk="1" latinLnBrk="0" hangingPunct="1">
              <a:lnSpc>
                <a:spcPct val="150000"/>
              </a:lnSpc>
              <a:buNone/>
              <a:defRPr lang="de-DE" sz="2000" kern="1200" dirty="0">
                <a:solidFill>
                  <a:schemeClr val="tx1">
                    <a:lumMod val="75000"/>
                    <a:lumOff val="25000"/>
                  </a:schemeClr>
                </a:solidFill>
                <a:latin typeface="Arial" panose="020B0604020202020204" pitchFamily="34" charset="0"/>
                <a:ea typeface="+mn-ea"/>
                <a:cs typeface="Arial" panose="020B0604020202020204" pitchFamily="34" charset="0"/>
                <a:sym typeface="Arial" panose="020B0604020202020204" pitchFamily="34" charset="0"/>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marL="0" lvl="1" algn="l" defTabSz="422039" rtl="0" eaLnBrk="1" fontAlgn="b" latinLnBrk="0" hangingPunct="1">
              <a:lnSpc>
                <a:spcPct val="120000"/>
              </a:lnSpc>
              <a:spcAft>
                <a:spcPts val="600"/>
              </a:spcAft>
              <a:buClr>
                <a:schemeClr val="accent1"/>
              </a:buClr>
              <a:defRPr/>
            </a:pPr>
            <a:endParaRPr lang="de-DE" dirty="0"/>
          </a:p>
        </p:txBody>
      </p:sp>
      <p:sp>
        <p:nvSpPr>
          <p:cNvPr id="34" name="Text Placeholder 9">
            <a:extLst>
              <a:ext uri="{FF2B5EF4-FFF2-40B4-BE49-F238E27FC236}">
                <a16:creationId xmlns:a16="http://schemas.microsoft.com/office/drawing/2014/main" id="{07B21197-FCE0-677E-711C-E71D86281577}"/>
              </a:ext>
            </a:extLst>
          </p:cNvPr>
          <p:cNvSpPr>
            <a:spLocks noGrp="1"/>
          </p:cNvSpPr>
          <p:nvPr>
            <p:ph type="body" sz="quarter" idx="14"/>
          </p:nvPr>
        </p:nvSpPr>
        <p:spPr>
          <a:xfrm>
            <a:off x="6420150" y="3388697"/>
            <a:ext cx="4131028" cy="928331"/>
          </a:xfrm>
          <a:prstGeom prst="rect">
            <a:avLst/>
          </a:prstGeom>
        </p:spPr>
        <p:txBody>
          <a:bodyPr anchor="ctr"/>
          <a:lstStyle>
            <a:lvl1pPr marL="0" indent="0" algn="just" defTabSz="914400" rtl="0" eaLnBrk="1" latinLnBrk="0" hangingPunct="1">
              <a:lnSpc>
                <a:spcPct val="110000"/>
              </a:lnSpc>
              <a:spcAft>
                <a:spcPts val="1200"/>
              </a:spcAft>
              <a:buNone/>
              <a:defRPr lang="de-DE" sz="2000" kern="1200" dirty="0">
                <a:solidFill>
                  <a:schemeClr val="tx1">
                    <a:lumMod val="75000"/>
                    <a:lumOff val="25000"/>
                  </a:schemeClr>
                </a:solidFill>
                <a:latin typeface="+mn-lt"/>
                <a:ea typeface="+mn-ea"/>
                <a:cs typeface="+mn-cs"/>
              </a:defRPr>
            </a:lvl1pPr>
            <a:lvl2pPr marL="0" indent="0" algn="l" defTabSz="914400" rtl="0" eaLnBrk="1" latinLnBrk="0" hangingPunct="1">
              <a:lnSpc>
                <a:spcPct val="150000"/>
              </a:lnSpc>
              <a:buNone/>
              <a:defRPr lang="de-DE" sz="2000" kern="1200" dirty="0">
                <a:solidFill>
                  <a:schemeClr val="tx1">
                    <a:lumMod val="75000"/>
                    <a:lumOff val="25000"/>
                  </a:schemeClr>
                </a:solidFill>
                <a:latin typeface="Arial" panose="020B0604020202020204" pitchFamily="34" charset="0"/>
                <a:ea typeface="+mn-ea"/>
                <a:cs typeface="Arial" panose="020B0604020202020204" pitchFamily="34" charset="0"/>
                <a:sym typeface="Arial" panose="020B0604020202020204" pitchFamily="34" charset="0"/>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marL="0" lvl="1" algn="l" defTabSz="422039" rtl="0" eaLnBrk="1" fontAlgn="b" latinLnBrk="0" hangingPunct="1">
              <a:lnSpc>
                <a:spcPct val="120000"/>
              </a:lnSpc>
              <a:spcAft>
                <a:spcPts val="600"/>
              </a:spcAft>
              <a:buClr>
                <a:schemeClr val="accent1"/>
              </a:buClr>
              <a:defRPr/>
            </a:pPr>
            <a:endParaRPr lang="de-DE" dirty="0"/>
          </a:p>
        </p:txBody>
      </p:sp>
      <p:sp>
        <p:nvSpPr>
          <p:cNvPr id="35" name="Text Placeholder 9">
            <a:extLst>
              <a:ext uri="{FF2B5EF4-FFF2-40B4-BE49-F238E27FC236}">
                <a16:creationId xmlns:a16="http://schemas.microsoft.com/office/drawing/2014/main" id="{FF14DAAC-675C-AB77-3A38-7D50ED66C97B}"/>
              </a:ext>
            </a:extLst>
          </p:cNvPr>
          <p:cNvSpPr>
            <a:spLocks noGrp="1"/>
          </p:cNvSpPr>
          <p:nvPr>
            <p:ph type="body" sz="quarter" idx="15"/>
          </p:nvPr>
        </p:nvSpPr>
        <p:spPr>
          <a:xfrm>
            <a:off x="5604810" y="4824243"/>
            <a:ext cx="4131028" cy="928331"/>
          </a:xfrm>
          <a:prstGeom prst="rect">
            <a:avLst/>
          </a:prstGeom>
        </p:spPr>
        <p:txBody>
          <a:bodyPr anchor="ctr"/>
          <a:lstStyle>
            <a:lvl1pPr marL="0" indent="0" algn="just" defTabSz="914400" rtl="0" eaLnBrk="1" latinLnBrk="0" hangingPunct="1">
              <a:lnSpc>
                <a:spcPct val="110000"/>
              </a:lnSpc>
              <a:spcAft>
                <a:spcPts val="1200"/>
              </a:spcAft>
              <a:buNone/>
              <a:defRPr lang="de-DE" sz="2000" kern="1200" dirty="0">
                <a:solidFill>
                  <a:schemeClr val="tx1">
                    <a:lumMod val="75000"/>
                    <a:lumOff val="25000"/>
                  </a:schemeClr>
                </a:solidFill>
                <a:latin typeface="+mn-lt"/>
                <a:ea typeface="+mn-ea"/>
                <a:cs typeface="+mn-cs"/>
              </a:defRPr>
            </a:lvl1pPr>
            <a:lvl2pPr marL="0" indent="0" algn="l" defTabSz="914400" rtl="0" eaLnBrk="1" latinLnBrk="0" hangingPunct="1">
              <a:lnSpc>
                <a:spcPct val="150000"/>
              </a:lnSpc>
              <a:buNone/>
              <a:defRPr lang="de-DE" sz="2000" kern="1200" dirty="0">
                <a:solidFill>
                  <a:schemeClr val="tx1">
                    <a:lumMod val="75000"/>
                    <a:lumOff val="25000"/>
                  </a:schemeClr>
                </a:solidFill>
                <a:latin typeface="Arial" panose="020B0604020202020204" pitchFamily="34" charset="0"/>
                <a:ea typeface="+mn-ea"/>
                <a:cs typeface="Arial" panose="020B0604020202020204" pitchFamily="34" charset="0"/>
                <a:sym typeface="Arial" panose="020B0604020202020204" pitchFamily="34" charset="0"/>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marL="0" lvl="1" algn="l" defTabSz="422039" rtl="0" eaLnBrk="1" fontAlgn="b" latinLnBrk="0" hangingPunct="1">
              <a:lnSpc>
                <a:spcPct val="120000"/>
              </a:lnSpc>
              <a:spcAft>
                <a:spcPts val="600"/>
              </a:spcAft>
              <a:buClr>
                <a:schemeClr val="accent1"/>
              </a:buClr>
              <a:defRPr/>
            </a:pPr>
            <a:endParaRPr lang="de-DE" dirty="0"/>
          </a:p>
        </p:txBody>
      </p:sp>
      <p:sp>
        <p:nvSpPr>
          <p:cNvPr id="36" name="Picture Placeholder 27">
            <a:extLst>
              <a:ext uri="{FF2B5EF4-FFF2-40B4-BE49-F238E27FC236}">
                <a16:creationId xmlns:a16="http://schemas.microsoft.com/office/drawing/2014/main" id="{757125ED-7C70-801D-7DBD-EA090B4B7C0B}"/>
              </a:ext>
            </a:extLst>
          </p:cNvPr>
          <p:cNvSpPr>
            <a:spLocks noGrp="1"/>
          </p:cNvSpPr>
          <p:nvPr>
            <p:ph type="pic" sz="quarter" idx="16"/>
          </p:nvPr>
        </p:nvSpPr>
        <p:spPr>
          <a:xfrm>
            <a:off x="6152341" y="2110546"/>
            <a:ext cx="1042632" cy="613541"/>
          </a:xfrm>
          <a:prstGeom prst="rect">
            <a:avLst/>
          </a:prstGeom>
        </p:spPr>
        <p:txBody>
          <a:bodyPr anchor="ctr"/>
          <a:lstStyle>
            <a:lvl1pPr marL="0" indent="0" algn="ctr">
              <a:buNone/>
              <a:defRPr sz="800"/>
            </a:lvl1pPr>
          </a:lstStyle>
          <a:p>
            <a:endParaRPr lang="en-GB" dirty="0"/>
          </a:p>
        </p:txBody>
      </p:sp>
      <p:sp>
        <p:nvSpPr>
          <p:cNvPr id="37" name="Picture Placeholder 27">
            <a:extLst>
              <a:ext uri="{FF2B5EF4-FFF2-40B4-BE49-F238E27FC236}">
                <a16:creationId xmlns:a16="http://schemas.microsoft.com/office/drawing/2014/main" id="{78EADC45-D688-945D-3695-F2CACD5BCD5E}"/>
              </a:ext>
            </a:extLst>
          </p:cNvPr>
          <p:cNvSpPr>
            <a:spLocks noGrp="1"/>
          </p:cNvSpPr>
          <p:nvPr>
            <p:ph type="pic" sz="quarter" idx="17"/>
          </p:nvPr>
        </p:nvSpPr>
        <p:spPr>
          <a:xfrm>
            <a:off x="5339541" y="3546092"/>
            <a:ext cx="1042632" cy="613541"/>
          </a:xfrm>
          <a:prstGeom prst="rect">
            <a:avLst/>
          </a:prstGeom>
        </p:spPr>
        <p:txBody>
          <a:bodyPr anchor="ctr"/>
          <a:lstStyle>
            <a:lvl1pPr marL="0" indent="0" algn="ctr">
              <a:buNone/>
              <a:defRPr sz="800"/>
            </a:lvl1pPr>
          </a:lstStyle>
          <a:p>
            <a:endParaRPr lang="en-GB" dirty="0"/>
          </a:p>
        </p:txBody>
      </p:sp>
      <p:sp>
        <p:nvSpPr>
          <p:cNvPr id="38" name="Picture Placeholder 27">
            <a:extLst>
              <a:ext uri="{FF2B5EF4-FFF2-40B4-BE49-F238E27FC236}">
                <a16:creationId xmlns:a16="http://schemas.microsoft.com/office/drawing/2014/main" id="{95F6203C-23E5-EA52-B937-205CA8BDA5A0}"/>
              </a:ext>
            </a:extLst>
          </p:cNvPr>
          <p:cNvSpPr>
            <a:spLocks noGrp="1"/>
          </p:cNvSpPr>
          <p:nvPr>
            <p:ph type="pic" sz="quarter" idx="18"/>
          </p:nvPr>
        </p:nvSpPr>
        <p:spPr>
          <a:xfrm>
            <a:off x="4524201" y="4981638"/>
            <a:ext cx="1042632" cy="613541"/>
          </a:xfrm>
          <a:prstGeom prst="rect">
            <a:avLst/>
          </a:prstGeom>
        </p:spPr>
        <p:txBody>
          <a:bodyPr anchor="ctr"/>
          <a:lstStyle>
            <a:lvl1pPr marL="0" indent="0" algn="ctr">
              <a:buNone/>
              <a:defRPr sz="800"/>
            </a:lvl1pPr>
          </a:lstStyle>
          <a:p>
            <a:endParaRPr lang="en-GB" dirty="0"/>
          </a:p>
        </p:txBody>
      </p:sp>
      <p:sp>
        <p:nvSpPr>
          <p:cNvPr id="3" name="Footer Placeholder 3">
            <a:extLst>
              <a:ext uri="{FF2B5EF4-FFF2-40B4-BE49-F238E27FC236}">
                <a16:creationId xmlns:a16="http://schemas.microsoft.com/office/drawing/2014/main" id="{7B13C0A4-1E3D-7795-17FC-308569E9BCB5}"/>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1">
                    <a:lumMod val="7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p>
        </p:txBody>
      </p:sp>
      <p:sp>
        <p:nvSpPr>
          <p:cNvPr id="6" name="Text Placeholder 9">
            <a:extLst>
              <a:ext uri="{FF2B5EF4-FFF2-40B4-BE49-F238E27FC236}">
                <a16:creationId xmlns:a16="http://schemas.microsoft.com/office/drawing/2014/main" id="{541D9971-4FDF-A355-7293-C90CB197B6EC}"/>
              </a:ext>
            </a:extLst>
          </p:cNvPr>
          <p:cNvSpPr>
            <a:spLocks noGrp="1"/>
          </p:cNvSpPr>
          <p:nvPr>
            <p:ph type="body" sz="quarter" idx="11"/>
          </p:nvPr>
        </p:nvSpPr>
        <p:spPr>
          <a:xfrm>
            <a:off x="323129" y="1055965"/>
            <a:ext cx="10283908" cy="338554"/>
          </a:xfrm>
          <a:prstGeom prst="rect">
            <a:avLst/>
          </a:prstGeom>
        </p:spPr>
        <p:txBody>
          <a:bodyPr/>
          <a:lstStyle>
            <a:lvl1pPr marL="0" indent="0" algn="l" defTabSz="914400" rtl="0" eaLnBrk="1" latinLnBrk="0" hangingPunct="1">
              <a:buNone/>
              <a:defRPr lang="en-US" sz="2400" kern="1200" dirty="0" smtClean="0">
                <a:solidFill>
                  <a:schemeClr val="tx1">
                    <a:lumMod val="75000"/>
                    <a:lumOff val="25000"/>
                  </a:schemeClr>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defRPr lang="en-US" sz="1600" kern="1200" dirty="0" smtClean="0">
                <a:solidFill>
                  <a:schemeClr val="tx1">
                    <a:lumMod val="75000"/>
                    <a:lumOff val="25000"/>
                  </a:schemeClr>
                </a:solidFill>
                <a:latin typeface="+mn-lt"/>
                <a:ea typeface="+mn-ea"/>
                <a:cs typeface="+mn-cs"/>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lvl="0"/>
            <a:endParaRPr lang="de-DE" dirty="0"/>
          </a:p>
        </p:txBody>
      </p:sp>
      <p:pic>
        <p:nvPicPr>
          <p:cNvPr id="7" name="Picture 6">
            <a:extLst>
              <a:ext uri="{FF2B5EF4-FFF2-40B4-BE49-F238E27FC236}">
                <a16:creationId xmlns:a16="http://schemas.microsoft.com/office/drawing/2014/main" id="{656B773E-D42F-2A41-553D-CE3359D912F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22015" y="6266696"/>
            <a:ext cx="2044957" cy="430131"/>
          </a:xfrm>
          <a:prstGeom prst="rect">
            <a:avLst/>
          </a:prstGeom>
        </p:spPr>
      </p:pic>
    </p:spTree>
    <p:extLst>
      <p:ext uri="{BB962C8B-B14F-4D97-AF65-F5344CB8AC3E}">
        <p14:creationId xmlns:p14="http://schemas.microsoft.com/office/powerpoint/2010/main" val="2761855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_Text + Bilder run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440C2A6-BEBA-E69D-0497-8D0E24A4978B}"/>
              </a:ext>
            </a:extLst>
          </p:cNvPr>
          <p:cNvGraphicFramePr>
            <a:graphicFrameLocks noChangeAspect="1"/>
          </p:cNvGraphicFramePr>
          <p:nvPr userDrawn="1">
            <p:custDataLst>
              <p:tags r:id="rId1"/>
            </p:custDataLst>
            <p:extLst>
              <p:ext uri="{D42A27DB-BD31-4B8C-83A1-F6EECF244321}">
                <p14:modId xmlns:p14="http://schemas.microsoft.com/office/powerpoint/2010/main" val="3371713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DB779BEC-0B10-E4C9-2100-FDD626C9E18A}"/>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1" y="0"/>
            <a:ext cx="11124571" cy="6858000"/>
          </a:xfrm>
          <a:custGeom>
            <a:avLst/>
            <a:gdLst>
              <a:gd name="connsiteX0" fmla="*/ 0 w 11124571"/>
              <a:gd name="connsiteY0" fmla="*/ 0 h 6858000"/>
              <a:gd name="connsiteX1" fmla="*/ 2618018 w 11124571"/>
              <a:gd name="connsiteY1" fmla="*/ 0 h 6858000"/>
              <a:gd name="connsiteX2" fmla="*/ 2840268 w 11124571"/>
              <a:gd name="connsiteY2" fmla="*/ 0 h 6858000"/>
              <a:gd name="connsiteX3" fmla="*/ 4187358 w 11124571"/>
              <a:gd name="connsiteY3" fmla="*/ 0 h 6858000"/>
              <a:gd name="connsiteX4" fmla="*/ 4981903 w 11124571"/>
              <a:gd name="connsiteY4" fmla="*/ 0 h 6858000"/>
              <a:gd name="connsiteX5" fmla="*/ 11124571 w 11124571"/>
              <a:gd name="connsiteY5" fmla="*/ 0 h 6858000"/>
              <a:gd name="connsiteX6" fmla="*/ 7165103 w 11124571"/>
              <a:gd name="connsiteY6" fmla="*/ 6857998 h 6858000"/>
              <a:gd name="connsiteX7" fmla="*/ 5075906 w 11124571"/>
              <a:gd name="connsiteY7" fmla="*/ 6857998 h 6858000"/>
              <a:gd name="connsiteX8" fmla="*/ 5075906 w 11124571"/>
              <a:gd name="connsiteY8" fmla="*/ 6858000 h 6858000"/>
              <a:gd name="connsiteX9" fmla="*/ 4981903 w 11124571"/>
              <a:gd name="connsiteY9" fmla="*/ 6858000 h 6858000"/>
              <a:gd name="connsiteX10" fmla="*/ 2840268 w 11124571"/>
              <a:gd name="connsiteY10" fmla="*/ 6858000 h 6858000"/>
              <a:gd name="connsiteX11" fmla="*/ 2618018 w 11124571"/>
              <a:gd name="connsiteY11" fmla="*/ 6858000 h 6858000"/>
              <a:gd name="connsiteX12" fmla="*/ 0 w 11124571"/>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24571" h="6858000">
                <a:moveTo>
                  <a:pt x="0" y="0"/>
                </a:moveTo>
                <a:lnTo>
                  <a:pt x="2618018" y="0"/>
                </a:lnTo>
                <a:lnTo>
                  <a:pt x="2840268" y="0"/>
                </a:lnTo>
                <a:lnTo>
                  <a:pt x="4187358" y="0"/>
                </a:lnTo>
                <a:lnTo>
                  <a:pt x="4981903" y="0"/>
                </a:lnTo>
                <a:lnTo>
                  <a:pt x="11124571" y="0"/>
                </a:lnTo>
                <a:lnTo>
                  <a:pt x="7165103" y="6857998"/>
                </a:lnTo>
                <a:lnTo>
                  <a:pt x="5075906" y="6857998"/>
                </a:lnTo>
                <a:lnTo>
                  <a:pt x="5075906" y="6858000"/>
                </a:lnTo>
                <a:lnTo>
                  <a:pt x="4981903" y="6858000"/>
                </a:lnTo>
                <a:lnTo>
                  <a:pt x="2840268" y="6858000"/>
                </a:lnTo>
                <a:lnTo>
                  <a:pt x="2618018" y="6858000"/>
                </a:lnTo>
                <a:lnTo>
                  <a:pt x="0" y="6858000"/>
                </a:lnTo>
                <a:close/>
              </a:path>
            </a:pathLst>
          </a:custGeom>
        </p:spPr>
      </p:pic>
      <p:sp>
        <p:nvSpPr>
          <p:cNvPr id="3" name="Freeform: Shape 2">
            <a:extLst>
              <a:ext uri="{FF2B5EF4-FFF2-40B4-BE49-F238E27FC236}">
                <a16:creationId xmlns:a16="http://schemas.microsoft.com/office/drawing/2014/main" id="{FC2E7449-0037-EE95-D080-45FE33130D0A}"/>
              </a:ext>
            </a:extLst>
          </p:cNvPr>
          <p:cNvSpPr/>
          <p:nvPr userDrawn="1"/>
        </p:nvSpPr>
        <p:spPr>
          <a:xfrm>
            <a:off x="0" y="0"/>
            <a:ext cx="11124571" cy="6858000"/>
          </a:xfrm>
          <a:custGeom>
            <a:avLst/>
            <a:gdLst>
              <a:gd name="connsiteX0" fmla="*/ 0 w 11124571"/>
              <a:gd name="connsiteY0" fmla="*/ 0 h 6858000"/>
              <a:gd name="connsiteX1" fmla="*/ 2618018 w 11124571"/>
              <a:gd name="connsiteY1" fmla="*/ 0 h 6858000"/>
              <a:gd name="connsiteX2" fmla="*/ 2840268 w 11124571"/>
              <a:gd name="connsiteY2" fmla="*/ 0 h 6858000"/>
              <a:gd name="connsiteX3" fmla="*/ 4187358 w 11124571"/>
              <a:gd name="connsiteY3" fmla="*/ 0 h 6858000"/>
              <a:gd name="connsiteX4" fmla="*/ 4981903 w 11124571"/>
              <a:gd name="connsiteY4" fmla="*/ 0 h 6858000"/>
              <a:gd name="connsiteX5" fmla="*/ 11124571 w 11124571"/>
              <a:gd name="connsiteY5" fmla="*/ 0 h 6858000"/>
              <a:gd name="connsiteX6" fmla="*/ 7165103 w 11124571"/>
              <a:gd name="connsiteY6" fmla="*/ 6857998 h 6858000"/>
              <a:gd name="connsiteX7" fmla="*/ 5075906 w 11124571"/>
              <a:gd name="connsiteY7" fmla="*/ 6857998 h 6858000"/>
              <a:gd name="connsiteX8" fmla="*/ 5075906 w 11124571"/>
              <a:gd name="connsiteY8" fmla="*/ 6858000 h 6858000"/>
              <a:gd name="connsiteX9" fmla="*/ 4981903 w 11124571"/>
              <a:gd name="connsiteY9" fmla="*/ 6858000 h 6858000"/>
              <a:gd name="connsiteX10" fmla="*/ 2840268 w 11124571"/>
              <a:gd name="connsiteY10" fmla="*/ 6858000 h 6858000"/>
              <a:gd name="connsiteX11" fmla="*/ 2618018 w 11124571"/>
              <a:gd name="connsiteY11" fmla="*/ 6858000 h 6858000"/>
              <a:gd name="connsiteX12" fmla="*/ 0 w 11124571"/>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24571" h="6858000">
                <a:moveTo>
                  <a:pt x="0" y="0"/>
                </a:moveTo>
                <a:lnTo>
                  <a:pt x="2618018" y="0"/>
                </a:lnTo>
                <a:lnTo>
                  <a:pt x="2840268" y="0"/>
                </a:lnTo>
                <a:lnTo>
                  <a:pt x="4187358" y="0"/>
                </a:lnTo>
                <a:lnTo>
                  <a:pt x="4981903" y="0"/>
                </a:lnTo>
                <a:lnTo>
                  <a:pt x="11124571" y="0"/>
                </a:lnTo>
                <a:lnTo>
                  <a:pt x="7165103" y="6857998"/>
                </a:lnTo>
                <a:lnTo>
                  <a:pt x="5075906" y="6857998"/>
                </a:lnTo>
                <a:lnTo>
                  <a:pt x="5075906" y="6858000"/>
                </a:lnTo>
                <a:lnTo>
                  <a:pt x="4981903" y="6858000"/>
                </a:lnTo>
                <a:lnTo>
                  <a:pt x="2840268" y="6858000"/>
                </a:lnTo>
                <a:lnTo>
                  <a:pt x="2618018" y="6858000"/>
                </a:lnTo>
                <a:lnTo>
                  <a:pt x="0" y="6858000"/>
                </a:lnTo>
                <a:close/>
              </a:path>
            </a:pathLst>
          </a:custGeom>
          <a:gradFill flip="none" rotWithShape="0">
            <a:gsLst>
              <a:gs pos="0">
                <a:srgbClr val="00338D">
                  <a:alpha val="90980"/>
                </a:srgbClr>
              </a:gs>
              <a:gs pos="100000">
                <a:srgbClr val="7A2582">
                  <a:alpha val="9098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de-DE">
              <a:solidFill>
                <a:schemeClr val="lt1">
                  <a:alpha val="44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7" name="Picture Placeholder 6">
            <a:extLst>
              <a:ext uri="{FF2B5EF4-FFF2-40B4-BE49-F238E27FC236}">
                <a16:creationId xmlns:a16="http://schemas.microsoft.com/office/drawing/2014/main" id="{6A72D138-E78F-55AE-1160-70AB2903242B}"/>
              </a:ext>
            </a:extLst>
          </p:cNvPr>
          <p:cNvSpPr>
            <a:spLocks noGrp="1"/>
          </p:cNvSpPr>
          <p:nvPr>
            <p:ph type="pic" sz="quarter" idx="10"/>
          </p:nvPr>
        </p:nvSpPr>
        <p:spPr>
          <a:xfrm>
            <a:off x="7834558" y="757415"/>
            <a:ext cx="3919292" cy="3919292"/>
          </a:xfrm>
          <a:custGeom>
            <a:avLst/>
            <a:gdLst>
              <a:gd name="connsiteX0" fmla="*/ 1959646 w 3919292"/>
              <a:gd name="connsiteY0" fmla="*/ 0 h 3919292"/>
              <a:gd name="connsiteX1" fmla="*/ 3919292 w 3919292"/>
              <a:gd name="connsiteY1" fmla="*/ 1959646 h 3919292"/>
              <a:gd name="connsiteX2" fmla="*/ 1959646 w 3919292"/>
              <a:gd name="connsiteY2" fmla="*/ 3919292 h 3919292"/>
              <a:gd name="connsiteX3" fmla="*/ 0 w 3919292"/>
              <a:gd name="connsiteY3" fmla="*/ 1959646 h 3919292"/>
              <a:gd name="connsiteX4" fmla="*/ 1959646 w 3919292"/>
              <a:gd name="connsiteY4" fmla="*/ 0 h 3919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9292" h="3919292">
                <a:moveTo>
                  <a:pt x="1959646" y="0"/>
                </a:moveTo>
                <a:cubicBezTo>
                  <a:pt x="3041929" y="0"/>
                  <a:pt x="3919292" y="877363"/>
                  <a:pt x="3919292" y="1959646"/>
                </a:cubicBezTo>
                <a:cubicBezTo>
                  <a:pt x="3919292" y="3041929"/>
                  <a:pt x="3041929" y="3919292"/>
                  <a:pt x="1959646" y="3919292"/>
                </a:cubicBezTo>
                <a:cubicBezTo>
                  <a:pt x="877363" y="3919292"/>
                  <a:pt x="0" y="3041929"/>
                  <a:pt x="0" y="1959646"/>
                </a:cubicBezTo>
                <a:cubicBezTo>
                  <a:pt x="0" y="877363"/>
                  <a:pt x="877363" y="0"/>
                  <a:pt x="1959646" y="0"/>
                </a:cubicBezTo>
                <a:close/>
              </a:path>
            </a:pathLst>
          </a:custGeom>
          <a:pattFill prst="pct20">
            <a:fgClr>
              <a:schemeClr val="accent2"/>
            </a:fgClr>
            <a:bgClr>
              <a:schemeClr val="bg1"/>
            </a:bgClr>
          </a:pattFill>
          <a:ln w="12700" cap="flat">
            <a:noFill/>
            <a:prstDash val="solid"/>
            <a:miter/>
          </a:ln>
          <a:effectLst>
            <a:outerShdw blurRad="685800" dist="38100" dir="10800000" algn="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de-DE" sz="1800"/>
            </a:lvl1pPr>
          </a:lstStyle>
          <a:p>
            <a:pPr marL="0" lvl="0"/>
            <a:endParaRPr lang="de-DE"/>
          </a:p>
        </p:txBody>
      </p:sp>
      <p:sp>
        <p:nvSpPr>
          <p:cNvPr id="10" name="Picture Placeholder 9">
            <a:extLst>
              <a:ext uri="{FF2B5EF4-FFF2-40B4-BE49-F238E27FC236}">
                <a16:creationId xmlns:a16="http://schemas.microsoft.com/office/drawing/2014/main" id="{B7EA136C-DE25-F3C6-61A2-23E52AFEFD2C}"/>
              </a:ext>
            </a:extLst>
          </p:cNvPr>
          <p:cNvSpPr>
            <a:spLocks noGrp="1"/>
          </p:cNvSpPr>
          <p:nvPr>
            <p:ph type="pic" sz="quarter" idx="11"/>
          </p:nvPr>
        </p:nvSpPr>
        <p:spPr>
          <a:xfrm>
            <a:off x="7150317" y="3759732"/>
            <a:ext cx="2340856" cy="2340854"/>
          </a:xfrm>
          <a:custGeom>
            <a:avLst/>
            <a:gdLst>
              <a:gd name="connsiteX0" fmla="*/ 1170428 w 2340856"/>
              <a:gd name="connsiteY0" fmla="*/ 0 h 2340854"/>
              <a:gd name="connsiteX1" fmla="*/ 2340856 w 2340856"/>
              <a:gd name="connsiteY1" fmla="*/ 1170427 h 2340854"/>
              <a:gd name="connsiteX2" fmla="*/ 1170428 w 2340856"/>
              <a:gd name="connsiteY2" fmla="*/ 2340854 h 2340854"/>
              <a:gd name="connsiteX3" fmla="*/ 0 w 2340856"/>
              <a:gd name="connsiteY3" fmla="*/ 1170427 h 2340854"/>
              <a:gd name="connsiteX4" fmla="*/ 1170428 w 2340856"/>
              <a:gd name="connsiteY4" fmla="*/ 0 h 2340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0856" h="2340854">
                <a:moveTo>
                  <a:pt x="1170428" y="0"/>
                </a:moveTo>
                <a:cubicBezTo>
                  <a:pt x="1816838" y="0"/>
                  <a:pt x="2340856" y="524018"/>
                  <a:pt x="2340856" y="1170427"/>
                </a:cubicBezTo>
                <a:cubicBezTo>
                  <a:pt x="2340856" y="1816836"/>
                  <a:pt x="1816838" y="2340854"/>
                  <a:pt x="1170428" y="2340854"/>
                </a:cubicBezTo>
                <a:cubicBezTo>
                  <a:pt x="524018" y="2340854"/>
                  <a:pt x="0" y="1816836"/>
                  <a:pt x="0" y="1170427"/>
                </a:cubicBezTo>
                <a:cubicBezTo>
                  <a:pt x="0" y="524018"/>
                  <a:pt x="524018" y="0"/>
                  <a:pt x="1170428" y="0"/>
                </a:cubicBezTo>
                <a:close/>
              </a:path>
            </a:pathLst>
          </a:custGeom>
          <a:pattFill prst="pct20">
            <a:fgClr>
              <a:schemeClr val="accent2"/>
            </a:fgClr>
            <a:bgClr>
              <a:schemeClr val="bg1"/>
            </a:bgClr>
          </a:pattFill>
          <a:ln w="12700" cap="flat">
            <a:noFill/>
            <a:prstDash val="solid"/>
            <a:miter/>
          </a:ln>
          <a:effectLst>
            <a:outerShdw blurRad="685800" dist="38100" dir="10800000" algn="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de-DE" sz="1800"/>
            </a:lvl1pPr>
          </a:lstStyle>
          <a:p>
            <a:pPr marL="0" lvl="0"/>
            <a:endParaRPr lang="de-DE"/>
          </a:p>
        </p:txBody>
      </p:sp>
      <p:sp>
        <p:nvSpPr>
          <p:cNvPr id="2" name="Background - Solid">
            <a:extLst>
              <a:ext uri="{FF2B5EF4-FFF2-40B4-BE49-F238E27FC236}">
                <a16:creationId xmlns:a16="http://schemas.microsoft.com/office/drawing/2014/main" id="{4B06B54B-6FC0-B8C6-F770-158116F34A8C}"/>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1" name="Straight Connector 10">
            <a:extLst>
              <a:ext uri="{FF2B5EF4-FFF2-40B4-BE49-F238E27FC236}">
                <a16:creationId xmlns:a16="http://schemas.microsoft.com/office/drawing/2014/main" id="{D28E8520-16B0-F9FC-84C3-2A406BA99540}"/>
              </a:ext>
            </a:extLst>
          </p:cNvPr>
          <p:cNvCxnSpPr>
            <a:cxnSpLocks/>
          </p:cNvCxnSpPr>
          <p:nvPr/>
        </p:nvCxnSpPr>
        <p:spPr>
          <a:xfrm>
            <a:off x="739903" y="2641833"/>
            <a:ext cx="4494249"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 Placeholder 27">
            <a:extLst>
              <a:ext uri="{FF2B5EF4-FFF2-40B4-BE49-F238E27FC236}">
                <a16:creationId xmlns:a16="http://schemas.microsoft.com/office/drawing/2014/main" id="{B774DD69-D5EB-88FB-F66D-67F3A9632291}"/>
              </a:ext>
            </a:extLst>
          </p:cNvPr>
          <p:cNvSpPr>
            <a:spLocks noGrp="1"/>
          </p:cNvSpPr>
          <p:nvPr>
            <p:ph type="body" sz="quarter" idx="17"/>
          </p:nvPr>
        </p:nvSpPr>
        <p:spPr>
          <a:xfrm>
            <a:off x="622826" y="1808417"/>
            <a:ext cx="4876275" cy="707886"/>
          </a:xfrm>
          <a:prstGeom prst="rect">
            <a:avLst/>
          </a:prstGeom>
        </p:spPr>
        <p:txBody>
          <a:bodyPr anchor="ctr"/>
          <a:lstStyle>
            <a:lvl1pPr marL="0" indent="0" algn="l" defTabSz="914400" rtl="0" eaLnBrk="1" latinLnBrk="0" hangingPunct="1">
              <a:buNone/>
              <a:defRPr lang="en-GB" sz="4000" b="1" kern="1200" dirty="0">
                <a:solidFill>
                  <a:schemeClr val="bg2"/>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lvl="0"/>
            <a:endParaRPr lang="en-GB" dirty="0"/>
          </a:p>
        </p:txBody>
      </p:sp>
      <p:sp>
        <p:nvSpPr>
          <p:cNvPr id="15" name="Text Placeholder 27">
            <a:extLst>
              <a:ext uri="{FF2B5EF4-FFF2-40B4-BE49-F238E27FC236}">
                <a16:creationId xmlns:a16="http://schemas.microsoft.com/office/drawing/2014/main" id="{73D82158-AE85-4B9E-056A-7186D1E23E82}"/>
              </a:ext>
            </a:extLst>
          </p:cNvPr>
          <p:cNvSpPr>
            <a:spLocks noGrp="1"/>
          </p:cNvSpPr>
          <p:nvPr>
            <p:ph type="body" sz="quarter" idx="18"/>
          </p:nvPr>
        </p:nvSpPr>
        <p:spPr>
          <a:xfrm>
            <a:off x="622826" y="2993379"/>
            <a:ext cx="4876275" cy="1723805"/>
          </a:xfrm>
          <a:prstGeom prst="rect">
            <a:avLst/>
          </a:prstGeom>
        </p:spPr>
        <p:txBody>
          <a:bodyPr anchor="t"/>
          <a:lstStyle>
            <a:lvl1pPr marL="0" indent="0" algn="l" defTabSz="914400" rtl="0" eaLnBrk="1" latinLnBrk="0" hangingPunct="1">
              <a:lnSpc>
                <a:spcPct val="120000"/>
              </a:lnSpc>
              <a:buNone/>
              <a:defRPr lang="en-GB" sz="2000" kern="1200" dirty="0">
                <a:solidFill>
                  <a:schemeClr val="bg2"/>
                </a:solidFill>
                <a:latin typeface="Arial" panose="020B0604020202020204" pitchFamily="34" charset="0"/>
                <a:ea typeface="+mn-ea"/>
                <a:cs typeface="Arial" panose="020B0604020202020204" pitchFamily="34" charset="0"/>
                <a:sym typeface="Arial" panose="020B0604020202020204" pitchFamily="34" charset="0"/>
              </a:defRPr>
            </a:lvl1pPr>
          </a:lstStyle>
          <a:p>
            <a:pPr lvl="0"/>
            <a:endParaRPr lang="en-GB" dirty="0"/>
          </a:p>
        </p:txBody>
      </p:sp>
      <p:sp>
        <p:nvSpPr>
          <p:cNvPr id="5" name="Footer Placeholder 3">
            <a:extLst>
              <a:ext uri="{FF2B5EF4-FFF2-40B4-BE49-F238E27FC236}">
                <a16:creationId xmlns:a16="http://schemas.microsoft.com/office/drawing/2014/main" id="{DB94A98E-8FF1-0ECE-D7B3-A9B0C1712839}"/>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2"/>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p>
        </p:txBody>
      </p:sp>
      <p:pic>
        <p:nvPicPr>
          <p:cNvPr id="4" name="Picture 3" descr="A black and white sign with white text&#10;&#10;Description automatically generated">
            <a:extLst>
              <a:ext uri="{FF2B5EF4-FFF2-40B4-BE49-F238E27FC236}">
                <a16:creationId xmlns:a16="http://schemas.microsoft.com/office/drawing/2014/main" id="{80F5B755-708D-B14A-5463-FD24429CBB17}"/>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422015" y="6287595"/>
            <a:ext cx="2044952" cy="430130"/>
          </a:xfrm>
          <a:prstGeom prst="rect">
            <a:avLst/>
          </a:prstGeom>
        </p:spPr>
      </p:pic>
    </p:spTree>
    <p:extLst>
      <p:ext uri="{BB962C8B-B14F-4D97-AF65-F5344CB8AC3E}">
        <p14:creationId xmlns:p14="http://schemas.microsoft.com/office/powerpoint/2010/main" val="36480822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58B60FB-5E81-7C42-8C50-CF03DF8B53B5}"/>
              </a:ext>
            </a:extLst>
          </p:cNvPr>
          <p:cNvPicPr>
            <a:picLocks noChangeAspect="1"/>
          </p:cNvPicPr>
          <p:nvPr userDrawn="1"/>
        </p:nvPicPr>
        <p:blipFill>
          <a:blip r:embed="rId3"/>
          <a:stretch>
            <a:fillRect/>
          </a:stretch>
        </p:blipFill>
        <p:spPr>
          <a:xfrm>
            <a:off x="-1" y="0"/>
            <a:ext cx="12192001" cy="6858000"/>
          </a:xfrm>
          <a:prstGeom prst="rect">
            <a:avLst/>
          </a:prstGeom>
        </p:spPr>
      </p:pic>
      <p:sp>
        <p:nvSpPr>
          <p:cNvPr id="7" name="Rectangle 6">
            <a:extLst>
              <a:ext uri="{FF2B5EF4-FFF2-40B4-BE49-F238E27FC236}">
                <a16:creationId xmlns:a16="http://schemas.microsoft.com/office/drawing/2014/main" id="{A962FE48-B22A-1ABD-5F88-093D27D3CA7C}"/>
              </a:ext>
            </a:extLst>
          </p:cNvPr>
          <p:cNvSpPr/>
          <p:nvPr userDrawn="1"/>
        </p:nvSpPr>
        <p:spPr>
          <a:xfrm>
            <a:off x="-1" y="0"/>
            <a:ext cx="12192000" cy="6858000"/>
          </a:xfrm>
          <a:prstGeom prst="rect">
            <a:avLst/>
          </a:prstGeom>
          <a:gradFill flip="none" rotWithShape="0">
            <a:gsLst>
              <a:gs pos="0">
                <a:srgbClr val="00338D">
                  <a:alpha val="90980"/>
                </a:srgbClr>
              </a:gs>
              <a:gs pos="100000">
                <a:srgbClr val="7A2582">
                  <a:alpha val="9098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lvl="0" algn="ctr"/>
            <a:endParaRPr lang="de-DE">
              <a:solidFill>
                <a:prstClr val="white">
                  <a:alpha val="44000"/>
                </a:prstClr>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3" name="think-cell data - do not delete" hidden="1">
            <a:extLst>
              <a:ext uri="{FF2B5EF4-FFF2-40B4-BE49-F238E27FC236}">
                <a16:creationId xmlns:a16="http://schemas.microsoft.com/office/drawing/2014/main" id="{FDE15858-912D-6796-5A98-4320C214A05C}"/>
              </a:ext>
            </a:extLst>
          </p:cNvPr>
          <p:cNvGraphicFramePr>
            <a:graphicFrameLocks noChangeAspect="1"/>
          </p:cNvGraphicFramePr>
          <p:nvPr userDrawn="1">
            <p:custDataLst>
              <p:tags r:id="rId1"/>
            </p:custDataLst>
            <p:extLst>
              <p:ext uri="{D42A27DB-BD31-4B8C-83A1-F6EECF244321}">
                <p14:modId xmlns:p14="http://schemas.microsoft.com/office/powerpoint/2010/main" val="3991399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3" progId="TCLayout.ActiveDocument.1">
                  <p:embed/>
                </p:oleObj>
              </mc:Choice>
              <mc:Fallback>
                <p:oleObj name="think-cell Slide" r:id="rId4" imgW="344" imgH="34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Background - Solid">
            <a:extLst>
              <a:ext uri="{FF2B5EF4-FFF2-40B4-BE49-F238E27FC236}">
                <a16:creationId xmlns:a16="http://schemas.microsoft.com/office/drawing/2014/main" id="{3DFD2383-2C52-E8BC-9E5F-E8321E726B2D}"/>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Slide Number Placeholder 5">
            <a:extLst>
              <a:ext uri="{FF2B5EF4-FFF2-40B4-BE49-F238E27FC236}">
                <a16:creationId xmlns:a16="http://schemas.microsoft.com/office/drawing/2014/main" id="{1DB9C5D3-44B6-F1F7-285B-9351E94F1FC4}"/>
              </a:ext>
            </a:extLst>
          </p:cNvPr>
          <p:cNvSpPr txBox="1">
            <a:spLocks/>
          </p:cNvSpPr>
          <p:nvPr userDrawn="1"/>
        </p:nvSpPr>
        <p:spPr>
          <a:xfrm>
            <a:off x="9141577" y="629920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EB7FA4-D16D-498B-9843-862279835448}" type="slidenum">
              <a:rPr lang="en-GB" sz="1100" b="1" smtClean="0">
                <a:solidFill>
                  <a:schemeClr val="accent4"/>
                </a:solidFill>
                <a:latin typeface="Arial" panose="020B0604020202020204" pitchFamily="34" charset="0"/>
                <a:cs typeface="Arial" panose="020B0604020202020204" pitchFamily="34" charset="0"/>
                <a:sym typeface="Arial" panose="020B0604020202020204" pitchFamily="34" charset="0"/>
              </a:rPr>
              <a:pPr/>
              <a:t>‹Nr.›</a:t>
            </a:fld>
            <a:endParaRPr lang="en-GB" sz="1100" b="1" dirty="0">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
        <p:nvSpPr>
          <p:cNvPr id="13" name="Freeform: Shape 12">
            <a:extLst>
              <a:ext uri="{FF2B5EF4-FFF2-40B4-BE49-F238E27FC236}">
                <a16:creationId xmlns:a16="http://schemas.microsoft.com/office/drawing/2014/main" id="{73F1D537-241B-3E98-76B3-8FB3D716E460}"/>
              </a:ext>
            </a:extLst>
          </p:cNvPr>
          <p:cNvSpPr/>
          <p:nvPr userDrawn="1"/>
        </p:nvSpPr>
        <p:spPr>
          <a:xfrm>
            <a:off x="1037457" y="1744527"/>
            <a:ext cx="827735" cy="549976"/>
          </a:xfrm>
          <a:custGeom>
            <a:avLst/>
            <a:gdLst/>
            <a:ahLst/>
            <a:cxnLst/>
            <a:rect l="l" t="t" r="r" b="b"/>
            <a:pathLst>
              <a:path w="221108" h="146912">
                <a:moveTo>
                  <a:pt x="221108" y="0"/>
                </a:moveTo>
                <a:lnTo>
                  <a:pt x="214206" y="32784"/>
                </a:lnTo>
                <a:cubicBezTo>
                  <a:pt x="202374" y="35577"/>
                  <a:pt x="193253" y="40343"/>
                  <a:pt x="186845" y="47080"/>
                </a:cubicBezTo>
                <a:cubicBezTo>
                  <a:pt x="180436" y="53818"/>
                  <a:pt x="175506" y="64335"/>
                  <a:pt x="172055" y="78632"/>
                </a:cubicBezTo>
                <a:lnTo>
                  <a:pt x="204592" y="78632"/>
                </a:lnTo>
                <a:lnTo>
                  <a:pt x="190296" y="146912"/>
                </a:lnTo>
                <a:lnTo>
                  <a:pt x="119058" y="146912"/>
                </a:lnTo>
                <a:lnTo>
                  <a:pt x="130643" y="90464"/>
                </a:lnTo>
                <a:cubicBezTo>
                  <a:pt x="137545" y="57762"/>
                  <a:pt x="148432" y="34632"/>
                  <a:pt x="163304" y="21075"/>
                </a:cubicBezTo>
                <a:cubicBezTo>
                  <a:pt x="178176" y="7518"/>
                  <a:pt x="197444" y="493"/>
                  <a:pt x="221108" y="0"/>
                </a:cubicBezTo>
                <a:close/>
                <a:moveTo>
                  <a:pt x="102050" y="0"/>
                </a:moveTo>
                <a:lnTo>
                  <a:pt x="95148" y="32784"/>
                </a:lnTo>
                <a:cubicBezTo>
                  <a:pt x="83316" y="35577"/>
                  <a:pt x="74196" y="40343"/>
                  <a:pt x="67787" y="47080"/>
                </a:cubicBezTo>
                <a:cubicBezTo>
                  <a:pt x="61378" y="53818"/>
                  <a:pt x="56530" y="64335"/>
                  <a:pt x="53243" y="78632"/>
                </a:cubicBezTo>
                <a:lnTo>
                  <a:pt x="85781" y="78632"/>
                </a:lnTo>
                <a:lnTo>
                  <a:pt x="71484" y="146912"/>
                </a:lnTo>
                <a:lnTo>
                  <a:pt x="0" y="146912"/>
                </a:lnTo>
                <a:lnTo>
                  <a:pt x="11832" y="90464"/>
                </a:lnTo>
                <a:cubicBezTo>
                  <a:pt x="18734" y="57762"/>
                  <a:pt x="29580" y="34632"/>
                  <a:pt x="44370" y="21075"/>
                </a:cubicBezTo>
                <a:cubicBezTo>
                  <a:pt x="59159" y="7518"/>
                  <a:pt x="78386" y="493"/>
                  <a:pt x="10205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latin typeface="Arial" panose="020B0604020202020204" pitchFamily="34" charset="0"/>
              <a:cs typeface="Arial" panose="020B0604020202020204" pitchFamily="34" charset="0"/>
              <a:sym typeface="Arial" panose="020B0604020202020204" pitchFamily="34" charset="0"/>
            </a:endParaRPr>
          </a:p>
        </p:txBody>
      </p:sp>
      <p:sp>
        <p:nvSpPr>
          <p:cNvPr id="17" name="Freeform: Shape 16">
            <a:extLst>
              <a:ext uri="{FF2B5EF4-FFF2-40B4-BE49-F238E27FC236}">
                <a16:creationId xmlns:a16="http://schemas.microsoft.com/office/drawing/2014/main" id="{3F365838-31EA-0B51-0697-CDEFE220CCB7}"/>
              </a:ext>
            </a:extLst>
          </p:cNvPr>
          <p:cNvSpPr/>
          <p:nvPr userDrawn="1"/>
        </p:nvSpPr>
        <p:spPr>
          <a:xfrm rot="10800000">
            <a:off x="5856515" y="4429632"/>
            <a:ext cx="827735" cy="549976"/>
          </a:xfrm>
          <a:custGeom>
            <a:avLst/>
            <a:gdLst/>
            <a:ahLst/>
            <a:cxnLst/>
            <a:rect l="l" t="t" r="r" b="b"/>
            <a:pathLst>
              <a:path w="221108" h="146912">
                <a:moveTo>
                  <a:pt x="221108" y="0"/>
                </a:moveTo>
                <a:lnTo>
                  <a:pt x="214206" y="32784"/>
                </a:lnTo>
                <a:cubicBezTo>
                  <a:pt x="202374" y="35577"/>
                  <a:pt x="193253" y="40343"/>
                  <a:pt x="186845" y="47080"/>
                </a:cubicBezTo>
                <a:cubicBezTo>
                  <a:pt x="180436" y="53818"/>
                  <a:pt x="175506" y="64335"/>
                  <a:pt x="172055" y="78632"/>
                </a:cubicBezTo>
                <a:lnTo>
                  <a:pt x="204592" y="78632"/>
                </a:lnTo>
                <a:lnTo>
                  <a:pt x="190296" y="146912"/>
                </a:lnTo>
                <a:lnTo>
                  <a:pt x="119058" y="146912"/>
                </a:lnTo>
                <a:lnTo>
                  <a:pt x="130643" y="90464"/>
                </a:lnTo>
                <a:cubicBezTo>
                  <a:pt x="137545" y="57762"/>
                  <a:pt x="148432" y="34632"/>
                  <a:pt x="163304" y="21075"/>
                </a:cubicBezTo>
                <a:cubicBezTo>
                  <a:pt x="178176" y="7518"/>
                  <a:pt x="197444" y="493"/>
                  <a:pt x="221108" y="0"/>
                </a:cubicBezTo>
                <a:close/>
                <a:moveTo>
                  <a:pt x="102050" y="0"/>
                </a:moveTo>
                <a:lnTo>
                  <a:pt x="95148" y="32784"/>
                </a:lnTo>
                <a:cubicBezTo>
                  <a:pt x="83316" y="35577"/>
                  <a:pt x="74196" y="40343"/>
                  <a:pt x="67787" y="47080"/>
                </a:cubicBezTo>
                <a:cubicBezTo>
                  <a:pt x="61378" y="53818"/>
                  <a:pt x="56530" y="64335"/>
                  <a:pt x="53243" y="78632"/>
                </a:cubicBezTo>
                <a:lnTo>
                  <a:pt x="85781" y="78632"/>
                </a:lnTo>
                <a:lnTo>
                  <a:pt x="71484" y="146912"/>
                </a:lnTo>
                <a:lnTo>
                  <a:pt x="0" y="146912"/>
                </a:lnTo>
                <a:lnTo>
                  <a:pt x="11832" y="90464"/>
                </a:lnTo>
                <a:cubicBezTo>
                  <a:pt x="18734" y="57762"/>
                  <a:pt x="29580" y="34632"/>
                  <a:pt x="44370" y="21075"/>
                </a:cubicBezTo>
                <a:cubicBezTo>
                  <a:pt x="59159" y="7518"/>
                  <a:pt x="78386" y="493"/>
                  <a:pt x="10205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latin typeface="Arial" panose="020B0604020202020204" pitchFamily="34" charset="0"/>
              <a:cs typeface="Arial" panose="020B0604020202020204" pitchFamily="34" charset="0"/>
              <a:sym typeface="Arial" panose="020B0604020202020204" pitchFamily="34" charset="0"/>
            </a:endParaRPr>
          </a:p>
        </p:txBody>
      </p:sp>
      <p:sp>
        <p:nvSpPr>
          <p:cNvPr id="4" name="Footer Placeholder 3">
            <a:extLst>
              <a:ext uri="{FF2B5EF4-FFF2-40B4-BE49-F238E27FC236}">
                <a16:creationId xmlns:a16="http://schemas.microsoft.com/office/drawing/2014/main" id="{1403C3C6-0426-E5B8-1363-F96A7EEC5709}"/>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2"/>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p>
        </p:txBody>
      </p:sp>
      <p:sp>
        <p:nvSpPr>
          <p:cNvPr id="11" name="Text Placeholder 10">
            <a:extLst>
              <a:ext uri="{FF2B5EF4-FFF2-40B4-BE49-F238E27FC236}">
                <a16:creationId xmlns:a16="http://schemas.microsoft.com/office/drawing/2014/main" id="{1B552D1A-3847-A396-41D4-DB57E33D8476}"/>
              </a:ext>
            </a:extLst>
          </p:cNvPr>
          <p:cNvSpPr>
            <a:spLocks noGrp="1"/>
          </p:cNvSpPr>
          <p:nvPr>
            <p:ph type="body" sz="quarter" idx="16"/>
          </p:nvPr>
        </p:nvSpPr>
        <p:spPr>
          <a:xfrm>
            <a:off x="882913" y="2489570"/>
            <a:ext cx="10426175" cy="2025619"/>
          </a:xfrm>
          <a:prstGeom prst="rect">
            <a:avLst/>
          </a:prstGeom>
        </p:spPr>
        <p:txBody>
          <a:bodyPr/>
          <a:lstStyle>
            <a:lvl1pPr marL="0" indent="0">
              <a:buNone/>
              <a:defRPr sz="3600" i="1">
                <a:solidFill>
                  <a:schemeClr val="bg2"/>
                </a:solidFill>
                <a:latin typeface="Arial" panose="020B0604020202020204" pitchFamily="34" charset="0"/>
                <a:cs typeface="Arial" panose="020B0604020202020204" pitchFamily="34" charset="0"/>
                <a:sym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endParaRPr lang="en-GB" dirty="0"/>
          </a:p>
        </p:txBody>
      </p:sp>
      <p:sp>
        <p:nvSpPr>
          <p:cNvPr id="14" name="Text Placeholder 13">
            <a:extLst>
              <a:ext uri="{FF2B5EF4-FFF2-40B4-BE49-F238E27FC236}">
                <a16:creationId xmlns:a16="http://schemas.microsoft.com/office/drawing/2014/main" id="{0E668B86-F286-1FCC-E7B9-478640D3CDE6}"/>
              </a:ext>
            </a:extLst>
          </p:cNvPr>
          <p:cNvSpPr>
            <a:spLocks noGrp="1"/>
          </p:cNvSpPr>
          <p:nvPr>
            <p:ph type="body" sz="quarter" idx="17"/>
          </p:nvPr>
        </p:nvSpPr>
        <p:spPr>
          <a:xfrm>
            <a:off x="882914" y="4744142"/>
            <a:ext cx="9283438" cy="369332"/>
          </a:xfrm>
          <a:prstGeom prst="rect">
            <a:avLst/>
          </a:prstGeom>
        </p:spPr>
        <p:txBody>
          <a:bodyPr anchor="ctr"/>
          <a:lstStyle>
            <a:lvl1pPr marL="0" indent="0">
              <a:buNone/>
              <a:defRPr sz="2000" b="1">
                <a:solidFill>
                  <a:schemeClr val="bg2"/>
                </a:solidFill>
                <a:latin typeface="Arial" panose="020B0604020202020204" pitchFamily="34" charset="0"/>
                <a:cs typeface="Arial" panose="020B0604020202020204" pitchFamily="34" charset="0"/>
                <a:sym typeface="Arial" panose="020B0604020202020204" pitchFamily="34" charset="0"/>
              </a:defRPr>
            </a:lvl1pPr>
            <a:lvl2pPr>
              <a:defRPr sz="1800"/>
            </a:lvl2pPr>
            <a:lvl3pPr>
              <a:defRPr sz="1800"/>
            </a:lvl3pPr>
            <a:lvl4pPr>
              <a:defRPr sz="1800"/>
            </a:lvl4pPr>
            <a:lvl5pPr>
              <a:defRPr sz="1800"/>
            </a:lvl5pPr>
          </a:lstStyle>
          <a:p>
            <a:pPr lvl="0"/>
            <a:endParaRPr lang="en-GB" dirty="0"/>
          </a:p>
        </p:txBody>
      </p:sp>
      <p:cxnSp>
        <p:nvCxnSpPr>
          <p:cNvPr id="16" name="Straight Connector 15">
            <a:extLst>
              <a:ext uri="{FF2B5EF4-FFF2-40B4-BE49-F238E27FC236}">
                <a16:creationId xmlns:a16="http://schemas.microsoft.com/office/drawing/2014/main" id="{6A8FCFDF-E802-F573-E2B1-62E492EBBD54}"/>
              </a:ext>
            </a:extLst>
          </p:cNvPr>
          <p:cNvCxnSpPr>
            <a:cxnSpLocks/>
          </p:cNvCxnSpPr>
          <p:nvPr/>
        </p:nvCxnSpPr>
        <p:spPr>
          <a:xfrm>
            <a:off x="4004281" y="4928808"/>
            <a:ext cx="1103429"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6" name="Picture 5" descr="A black and white sign with white text&#10;&#10;Description automatically generated">
            <a:extLst>
              <a:ext uri="{FF2B5EF4-FFF2-40B4-BE49-F238E27FC236}">
                <a16:creationId xmlns:a16="http://schemas.microsoft.com/office/drawing/2014/main" id="{1DD1095C-9C43-EA71-9B9B-90A987C0550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422015" y="6287595"/>
            <a:ext cx="2044952" cy="430130"/>
          </a:xfrm>
          <a:prstGeom prst="rect">
            <a:avLst/>
          </a:prstGeom>
        </p:spPr>
      </p:pic>
    </p:spTree>
    <p:extLst>
      <p:ext uri="{BB962C8B-B14F-4D97-AF65-F5344CB8AC3E}">
        <p14:creationId xmlns:p14="http://schemas.microsoft.com/office/powerpoint/2010/main" val="14858474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_4 Textfelder + Bilder">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4E70E1D-D3D9-FC03-0A4B-E95CC2C68CDD}"/>
              </a:ext>
            </a:extLst>
          </p:cNvPr>
          <p:cNvGraphicFramePr>
            <a:graphicFrameLocks noChangeAspect="1"/>
          </p:cNvGraphicFramePr>
          <p:nvPr userDrawn="1">
            <p:custDataLst>
              <p:tags r:id="rId1"/>
            </p:custDataLst>
            <p:extLst>
              <p:ext uri="{D42A27DB-BD31-4B8C-83A1-F6EECF244321}">
                <p14:modId xmlns:p14="http://schemas.microsoft.com/office/powerpoint/2010/main" val="1625028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B20EFF45-AF23-527A-74FE-FD2324CEA34A}"/>
              </a:ext>
            </a:extLst>
          </p:cNvPr>
          <p:cNvSpPr>
            <a:spLocks noGrp="1"/>
          </p:cNvSpPr>
          <p:nvPr>
            <p:ph type="body" sz="quarter" idx="10"/>
          </p:nvPr>
        </p:nvSpPr>
        <p:spPr>
          <a:xfrm>
            <a:off x="323129" y="407551"/>
            <a:ext cx="10283909" cy="480131"/>
          </a:xfrm>
          <a:prstGeom prst="rect">
            <a:avLst/>
          </a:prstGeom>
        </p:spPr>
        <p:txBody>
          <a:bodyPr/>
          <a:lstStyle>
            <a:lvl1pPr marL="0" indent="0" algn="l" defTabSz="914400" rtl="0" eaLnBrk="1" latinLnBrk="0" hangingPunct="1">
              <a:lnSpc>
                <a:spcPct val="90000"/>
              </a:lnSpc>
              <a:buNone/>
              <a:defRPr lang="en-US" sz="2800" b="1" kern="1200" dirty="0" smtClean="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lnSpc>
                <a:spcPct val="90000"/>
              </a:lnSpc>
              <a:defRPr lang="en-US" sz="2800" b="1" kern="1200" dirty="0" smtClean="0">
                <a:solidFill>
                  <a:schemeClr val="accent1"/>
                </a:solidFill>
                <a:latin typeface="Arial"/>
                <a:ea typeface="+mn-ea"/>
                <a:cs typeface="+mn-cs"/>
              </a:defRPr>
            </a:lvl2pPr>
            <a:lvl3pPr marL="0" algn="l" defTabSz="914400" rtl="0" eaLnBrk="1" latinLnBrk="0" hangingPunct="1">
              <a:lnSpc>
                <a:spcPct val="90000"/>
              </a:lnSpc>
              <a:defRPr lang="en-US" sz="2800" b="1" kern="1200" dirty="0" smtClean="0">
                <a:solidFill>
                  <a:schemeClr val="accent1"/>
                </a:solidFill>
                <a:latin typeface="Arial"/>
                <a:ea typeface="+mn-ea"/>
                <a:cs typeface="+mn-cs"/>
              </a:defRPr>
            </a:lvl3pPr>
            <a:lvl4pPr marL="0" algn="l" defTabSz="914400" rtl="0" eaLnBrk="1" latinLnBrk="0" hangingPunct="1">
              <a:lnSpc>
                <a:spcPct val="90000"/>
              </a:lnSpc>
              <a:defRPr lang="en-US" sz="2800" b="1" kern="1200" dirty="0" smtClean="0">
                <a:solidFill>
                  <a:schemeClr val="accent1"/>
                </a:solidFill>
                <a:latin typeface="Arial"/>
                <a:ea typeface="+mn-ea"/>
                <a:cs typeface="+mn-cs"/>
              </a:defRPr>
            </a:lvl4pPr>
            <a:lvl5pPr marL="0" algn="l" defTabSz="914400" rtl="0" eaLnBrk="1" latinLnBrk="0" hangingPunct="1">
              <a:lnSpc>
                <a:spcPct val="90000"/>
              </a:lnSpc>
              <a:defRPr lang="de-DE" sz="2800" b="1" kern="1200" dirty="0">
                <a:solidFill>
                  <a:schemeClr val="accent1"/>
                </a:solidFill>
                <a:latin typeface="Arial"/>
                <a:ea typeface="+mn-ea"/>
                <a:cs typeface="+mn-cs"/>
              </a:defRPr>
            </a:lvl5pPr>
          </a:lstStyle>
          <a:p>
            <a:pPr lvl="0"/>
            <a:endParaRPr lang="de-DE" dirty="0"/>
          </a:p>
        </p:txBody>
      </p:sp>
      <p:sp>
        <p:nvSpPr>
          <p:cNvPr id="4" name="Background - Solid">
            <a:extLst>
              <a:ext uri="{FF2B5EF4-FFF2-40B4-BE49-F238E27FC236}">
                <a16:creationId xmlns:a16="http://schemas.microsoft.com/office/drawing/2014/main" id="{841E4FA6-7F3C-2C2D-37F1-7444C6BF7F13}"/>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5">
            <a:extLst>
              <a:ext uri="{FF2B5EF4-FFF2-40B4-BE49-F238E27FC236}">
                <a16:creationId xmlns:a16="http://schemas.microsoft.com/office/drawing/2014/main" id="{4A1036E1-081C-3694-F336-57602AF2D084}"/>
              </a:ext>
            </a:extLst>
          </p:cNvPr>
          <p:cNvSpPr txBox="1">
            <a:spLocks/>
          </p:cNvSpPr>
          <p:nvPr userDrawn="1"/>
        </p:nvSpPr>
        <p:spPr>
          <a:xfrm>
            <a:off x="9141577" y="629920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EB7FA4-D16D-498B-9843-862279835448}" type="slidenum">
              <a:rPr lang="en-GB" sz="1100" b="1" smtClean="0">
                <a:solidFill>
                  <a:schemeClr val="accent1"/>
                </a:solidFill>
                <a:latin typeface="Arial" panose="020B0604020202020204" pitchFamily="34" charset="0"/>
                <a:cs typeface="Arial" panose="020B0604020202020204" pitchFamily="34" charset="0"/>
                <a:sym typeface="Arial" panose="020B0604020202020204" pitchFamily="34" charset="0"/>
              </a:rPr>
              <a:pPr/>
              <a:t>‹Nr.›</a:t>
            </a:fld>
            <a:endParaRPr lang="en-GB" sz="1100" b="1" dirty="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cxnSp>
        <p:nvCxnSpPr>
          <p:cNvPr id="2" name="Straight Connector 1">
            <a:extLst>
              <a:ext uri="{FF2B5EF4-FFF2-40B4-BE49-F238E27FC236}">
                <a16:creationId xmlns:a16="http://schemas.microsoft.com/office/drawing/2014/main" id="{6A7F9501-C153-5FA3-ABB8-30512080E6F0}"/>
              </a:ext>
            </a:extLst>
          </p:cNvPr>
          <p:cNvCxnSpPr>
            <a:cxnSpLocks/>
          </p:cNvCxnSpPr>
          <p:nvPr userDrawn="1"/>
        </p:nvCxnSpPr>
        <p:spPr>
          <a:xfrm>
            <a:off x="431800" y="964407"/>
            <a:ext cx="466407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AA8D1361-D0F7-5C0D-4A55-4B38912B1F6F}"/>
              </a:ext>
            </a:extLst>
          </p:cNvPr>
          <p:cNvSpPr/>
          <p:nvPr userDrawn="1"/>
        </p:nvSpPr>
        <p:spPr>
          <a:xfrm>
            <a:off x="431800" y="1562100"/>
            <a:ext cx="2752909" cy="502333"/>
          </a:xfrm>
          <a:prstGeom prst="roundRect">
            <a:avLst/>
          </a:prstGeom>
          <a:solidFill>
            <a:schemeClr val="accent4"/>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Rectangle: Rounded Corners 11">
            <a:extLst>
              <a:ext uri="{FF2B5EF4-FFF2-40B4-BE49-F238E27FC236}">
                <a16:creationId xmlns:a16="http://schemas.microsoft.com/office/drawing/2014/main" id="{F9401B51-5FC6-6E35-D3EB-847B28BFA6EC}"/>
              </a:ext>
            </a:extLst>
          </p:cNvPr>
          <p:cNvSpPr/>
          <p:nvPr userDrawn="1"/>
        </p:nvSpPr>
        <p:spPr>
          <a:xfrm>
            <a:off x="3288180" y="1562100"/>
            <a:ext cx="2752909" cy="502333"/>
          </a:xfrm>
          <a:prstGeom prst="roundRect">
            <a:avLst/>
          </a:prstGeom>
          <a:solidFill>
            <a:schemeClr val="accent4"/>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Rectangle: Rounded Corners 13">
            <a:extLst>
              <a:ext uri="{FF2B5EF4-FFF2-40B4-BE49-F238E27FC236}">
                <a16:creationId xmlns:a16="http://schemas.microsoft.com/office/drawing/2014/main" id="{76CF8188-6A66-A727-1F71-BD6E2735DCD5}"/>
              </a:ext>
            </a:extLst>
          </p:cNvPr>
          <p:cNvSpPr/>
          <p:nvPr userDrawn="1"/>
        </p:nvSpPr>
        <p:spPr>
          <a:xfrm>
            <a:off x="6144561" y="1562100"/>
            <a:ext cx="2752909" cy="502333"/>
          </a:xfrm>
          <a:prstGeom prst="roundRect">
            <a:avLst/>
          </a:prstGeom>
          <a:solidFill>
            <a:schemeClr val="accent4"/>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Rectangle: Rounded Corners 15">
            <a:extLst>
              <a:ext uri="{FF2B5EF4-FFF2-40B4-BE49-F238E27FC236}">
                <a16:creationId xmlns:a16="http://schemas.microsoft.com/office/drawing/2014/main" id="{DA5C18A2-CB08-F1C6-4F91-C3E42B8D024D}"/>
              </a:ext>
            </a:extLst>
          </p:cNvPr>
          <p:cNvSpPr/>
          <p:nvPr userDrawn="1"/>
        </p:nvSpPr>
        <p:spPr>
          <a:xfrm>
            <a:off x="9000941" y="1562100"/>
            <a:ext cx="2752909" cy="502333"/>
          </a:xfrm>
          <a:prstGeom prst="roundRect">
            <a:avLst/>
          </a:prstGeom>
          <a:solidFill>
            <a:schemeClr val="accent4"/>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Rectangle: Rounded Corners 17">
            <a:extLst>
              <a:ext uri="{FF2B5EF4-FFF2-40B4-BE49-F238E27FC236}">
                <a16:creationId xmlns:a16="http://schemas.microsoft.com/office/drawing/2014/main" id="{897F255C-BEF6-D4D1-BC1A-A1CDFC9D28B8}"/>
              </a:ext>
            </a:extLst>
          </p:cNvPr>
          <p:cNvSpPr/>
          <p:nvPr userDrawn="1"/>
        </p:nvSpPr>
        <p:spPr>
          <a:xfrm>
            <a:off x="431801" y="2178050"/>
            <a:ext cx="2752909" cy="3711580"/>
          </a:xfrm>
          <a:prstGeom prst="roundRect">
            <a:avLst>
              <a:gd name="adj" fmla="val 1955"/>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9" name="Rectangle: Rounded Corners 18">
            <a:extLst>
              <a:ext uri="{FF2B5EF4-FFF2-40B4-BE49-F238E27FC236}">
                <a16:creationId xmlns:a16="http://schemas.microsoft.com/office/drawing/2014/main" id="{822AF823-3A90-130E-3F6C-2DAE9C80839F}"/>
              </a:ext>
            </a:extLst>
          </p:cNvPr>
          <p:cNvSpPr/>
          <p:nvPr userDrawn="1"/>
        </p:nvSpPr>
        <p:spPr>
          <a:xfrm>
            <a:off x="3288180" y="2178050"/>
            <a:ext cx="2752909" cy="3711580"/>
          </a:xfrm>
          <a:prstGeom prst="roundRect">
            <a:avLst>
              <a:gd name="adj" fmla="val 1955"/>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0" name="Rectangle: Rounded Corners 19">
            <a:extLst>
              <a:ext uri="{FF2B5EF4-FFF2-40B4-BE49-F238E27FC236}">
                <a16:creationId xmlns:a16="http://schemas.microsoft.com/office/drawing/2014/main" id="{FC3C7E38-05A1-2B8C-D057-CB38DE03CFF4}"/>
              </a:ext>
            </a:extLst>
          </p:cNvPr>
          <p:cNvSpPr/>
          <p:nvPr userDrawn="1"/>
        </p:nvSpPr>
        <p:spPr>
          <a:xfrm>
            <a:off x="6144562" y="2178050"/>
            <a:ext cx="2752909" cy="3711580"/>
          </a:xfrm>
          <a:prstGeom prst="roundRect">
            <a:avLst>
              <a:gd name="adj" fmla="val 1955"/>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Rectangle: Rounded Corners 20">
            <a:extLst>
              <a:ext uri="{FF2B5EF4-FFF2-40B4-BE49-F238E27FC236}">
                <a16:creationId xmlns:a16="http://schemas.microsoft.com/office/drawing/2014/main" id="{ECAA6B21-00FA-1D3A-F693-1EB5680DFC96}"/>
              </a:ext>
            </a:extLst>
          </p:cNvPr>
          <p:cNvSpPr/>
          <p:nvPr userDrawn="1"/>
        </p:nvSpPr>
        <p:spPr>
          <a:xfrm>
            <a:off x="9000941" y="2178050"/>
            <a:ext cx="2752909" cy="3711580"/>
          </a:xfrm>
          <a:prstGeom prst="roundRect">
            <a:avLst>
              <a:gd name="adj" fmla="val 1955"/>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2" name="Text Placeholder 31">
            <a:extLst>
              <a:ext uri="{FF2B5EF4-FFF2-40B4-BE49-F238E27FC236}">
                <a16:creationId xmlns:a16="http://schemas.microsoft.com/office/drawing/2014/main" id="{C1227213-EED2-F44A-EC35-3BD14F76E171}"/>
              </a:ext>
            </a:extLst>
          </p:cNvPr>
          <p:cNvSpPr>
            <a:spLocks noGrp="1"/>
          </p:cNvSpPr>
          <p:nvPr>
            <p:ph type="body" sz="quarter" idx="14"/>
          </p:nvPr>
        </p:nvSpPr>
        <p:spPr>
          <a:xfrm>
            <a:off x="498579" y="1643989"/>
            <a:ext cx="2619355" cy="338554"/>
          </a:xfrm>
          <a:prstGeom prst="rect">
            <a:avLst/>
          </a:prstGeom>
        </p:spPr>
        <p:txBody>
          <a:bodyPr anchor="ctr"/>
          <a:lstStyle>
            <a:lvl1pPr marL="0" indent="0" algn="ctr" defTabSz="914400" rtl="0" eaLnBrk="1" fontAlgn="auto" latinLnBrk="0" hangingPunct="1">
              <a:spcBef>
                <a:spcPts val="600"/>
              </a:spcBef>
              <a:spcAft>
                <a:spcPts val="0"/>
              </a:spcAft>
              <a:buNone/>
              <a:defRPr lang="en-GB" sz="2000" b="1" kern="1200" dirty="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stStyle>
          <a:p>
            <a:pPr lvl="0"/>
            <a:endParaRPr lang="en-GB" dirty="0"/>
          </a:p>
        </p:txBody>
      </p:sp>
      <p:sp>
        <p:nvSpPr>
          <p:cNvPr id="33" name="Text Placeholder 31">
            <a:extLst>
              <a:ext uri="{FF2B5EF4-FFF2-40B4-BE49-F238E27FC236}">
                <a16:creationId xmlns:a16="http://schemas.microsoft.com/office/drawing/2014/main" id="{8A1E1EE3-3CFC-003B-B4F0-2AF9FE97E975}"/>
              </a:ext>
            </a:extLst>
          </p:cNvPr>
          <p:cNvSpPr>
            <a:spLocks noGrp="1"/>
          </p:cNvSpPr>
          <p:nvPr>
            <p:ph type="body" sz="quarter" idx="15"/>
          </p:nvPr>
        </p:nvSpPr>
        <p:spPr>
          <a:xfrm>
            <a:off x="3354959" y="1643989"/>
            <a:ext cx="2619355" cy="338554"/>
          </a:xfrm>
          <a:prstGeom prst="rect">
            <a:avLst/>
          </a:prstGeom>
        </p:spPr>
        <p:txBody>
          <a:bodyPr anchor="ctr"/>
          <a:lstStyle>
            <a:lvl1pPr marL="0" indent="0" algn="ctr" defTabSz="914400" rtl="0" eaLnBrk="1" fontAlgn="auto" latinLnBrk="0" hangingPunct="1">
              <a:spcBef>
                <a:spcPts val="600"/>
              </a:spcBef>
              <a:spcAft>
                <a:spcPts val="0"/>
              </a:spcAft>
              <a:buNone/>
              <a:defRPr lang="en-GB" sz="2000" b="1" kern="1200" dirty="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stStyle>
          <a:p>
            <a:pPr lvl="0"/>
            <a:endParaRPr lang="en-GB" dirty="0"/>
          </a:p>
        </p:txBody>
      </p:sp>
      <p:sp>
        <p:nvSpPr>
          <p:cNvPr id="34" name="Text Placeholder 31">
            <a:extLst>
              <a:ext uri="{FF2B5EF4-FFF2-40B4-BE49-F238E27FC236}">
                <a16:creationId xmlns:a16="http://schemas.microsoft.com/office/drawing/2014/main" id="{D365A3DF-30D0-76AA-E291-A6C41D97E21D}"/>
              </a:ext>
            </a:extLst>
          </p:cNvPr>
          <p:cNvSpPr>
            <a:spLocks noGrp="1"/>
          </p:cNvSpPr>
          <p:nvPr>
            <p:ph type="body" sz="quarter" idx="16"/>
          </p:nvPr>
        </p:nvSpPr>
        <p:spPr>
          <a:xfrm>
            <a:off x="6211339" y="1643989"/>
            <a:ext cx="2619355" cy="338554"/>
          </a:xfrm>
          <a:prstGeom prst="rect">
            <a:avLst/>
          </a:prstGeom>
        </p:spPr>
        <p:txBody>
          <a:bodyPr anchor="ctr"/>
          <a:lstStyle>
            <a:lvl1pPr marL="0" indent="0" algn="ctr" defTabSz="914400" rtl="0" eaLnBrk="1" fontAlgn="auto" latinLnBrk="0" hangingPunct="1">
              <a:spcBef>
                <a:spcPts val="600"/>
              </a:spcBef>
              <a:spcAft>
                <a:spcPts val="0"/>
              </a:spcAft>
              <a:buNone/>
              <a:defRPr lang="en-GB" sz="2000" b="1" kern="1200" dirty="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stStyle>
          <a:p>
            <a:pPr lvl="0"/>
            <a:endParaRPr lang="en-GB" dirty="0"/>
          </a:p>
        </p:txBody>
      </p:sp>
      <p:sp>
        <p:nvSpPr>
          <p:cNvPr id="35" name="Text Placeholder 31">
            <a:extLst>
              <a:ext uri="{FF2B5EF4-FFF2-40B4-BE49-F238E27FC236}">
                <a16:creationId xmlns:a16="http://schemas.microsoft.com/office/drawing/2014/main" id="{3F4727D0-0A04-1EF5-D438-93B92F97581B}"/>
              </a:ext>
            </a:extLst>
          </p:cNvPr>
          <p:cNvSpPr>
            <a:spLocks noGrp="1"/>
          </p:cNvSpPr>
          <p:nvPr>
            <p:ph type="body" sz="quarter" idx="17"/>
          </p:nvPr>
        </p:nvSpPr>
        <p:spPr>
          <a:xfrm>
            <a:off x="9067719" y="1643989"/>
            <a:ext cx="2619355" cy="338554"/>
          </a:xfrm>
          <a:prstGeom prst="rect">
            <a:avLst/>
          </a:prstGeom>
        </p:spPr>
        <p:txBody>
          <a:bodyPr anchor="ctr"/>
          <a:lstStyle>
            <a:lvl1pPr marL="0" indent="0" algn="ctr" defTabSz="914400" rtl="0" eaLnBrk="1" fontAlgn="auto" latinLnBrk="0" hangingPunct="1">
              <a:spcBef>
                <a:spcPts val="600"/>
              </a:spcBef>
              <a:spcAft>
                <a:spcPts val="0"/>
              </a:spcAft>
              <a:buNone/>
              <a:defRPr lang="en-GB" sz="2000" b="1" kern="1200" dirty="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stStyle>
          <a:p>
            <a:pPr lvl="0"/>
            <a:endParaRPr lang="en-GB" dirty="0"/>
          </a:p>
        </p:txBody>
      </p:sp>
      <p:sp>
        <p:nvSpPr>
          <p:cNvPr id="41" name="Picture Placeholder 40">
            <a:extLst>
              <a:ext uri="{FF2B5EF4-FFF2-40B4-BE49-F238E27FC236}">
                <a16:creationId xmlns:a16="http://schemas.microsoft.com/office/drawing/2014/main" id="{F2A70ADB-8BA2-7EFA-2627-FB243B07D5A4}"/>
              </a:ext>
            </a:extLst>
          </p:cNvPr>
          <p:cNvSpPr>
            <a:spLocks noGrp="1"/>
          </p:cNvSpPr>
          <p:nvPr>
            <p:ph type="pic" sz="quarter" idx="22"/>
          </p:nvPr>
        </p:nvSpPr>
        <p:spPr>
          <a:xfrm>
            <a:off x="498579" y="2249555"/>
            <a:ext cx="847725" cy="847724"/>
          </a:xfrm>
          <a:prstGeom prst="rect">
            <a:avLst/>
          </a:prstGeom>
        </p:spPr>
        <p:txBody>
          <a:bodyPr anchor="ctr"/>
          <a:lstStyle>
            <a:lvl1pPr>
              <a:defRPr lang="en-GB" sz="800"/>
            </a:lvl1pPr>
          </a:lstStyle>
          <a:p>
            <a:pPr marL="0" lvl="0" indent="0" algn="ctr">
              <a:buNone/>
            </a:pPr>
            <a:endParaRPr lang="en-GB" dirty="0"/>
          </a:p>
        </p:txBody>
      </p:sp>
      <p:sp>
        <p:nvSpPr>
          <p:cNvPr id="42" name="Picture Placeholder 40">
            <a:extLst>
              <a:ext uri="{FF2B5EF4-FFF2-40B4-BE49-F238E27FC236}">
                <a16:creationId xmlns:a16="http://schemas.microsoft.com/office/drawing/2014/main" id="{0A7E4324-75F7-D768-4B5E-CDB1E766CF99}"/>
              </a:ext>
            </a:extLst>
          </p:cNvPr>
          <p:cNvSpPr>
            <a:spLocks noGrp="1"/>
          </p:cNvSpPr>
          <p:nvPr>
            <p:ph type="pic" sz="quarter" idx="23"/>
          </p:nvPr>
        </p:nvSpPr>
        <p:spPr>
          <a:xfrm>
            <a:off x="3354959" y="2249555"/>
            <a:ext cx="847725" cy="847724"/>
          </a:xfrm>
          <a:prstGeom prst="rect">
            <a:avLst/>
          </a:prstGeom>
        </p:spPr>
        <p:txBody>
          <a:bodyPr anchor="ctr"/>
          <a:lstStyle>
            <a:lvl1pPr>
              <a:defRPr lang="en-GB" sz="800"/>
            </a:lvl1pPr>
          </a:lstStyle>
          <a:p>
            <a:pPr marL="0" lvl="0" indent="0" algn="ctr">
              <a:buNone/>
            </a:pPr>
            <a:endParaRPr lang="en-GB" dirty="0"/>
          </a:p>
        </p:txBody>
      </p:sp>
      <p:sp>
        <p:nvSpPr>
          <p:cNvPr id="43" name="Picture Placeholder 40">
            <a:extLst>
              <a:ext uri="{FF2B5EF4-FFF2-40B4-BE49-F238E27FC236}">
                <a16:creationId xmlns:a16="http://schemas.microsoft.com/office/drawing/2014/main" id="{5422933E-7CC1-22A2-37CF-C664F328A2E6}"/>
              </a:ext>
            </a:extLst>
          </p:cNvPr>
          <p:cNvSpPr>
            <a:spLocks noGrp="1"/>
          </p:cNvSpPr>
          <p:nvPr>
            <p:ph type="pic" sz="quarter" idx="24"/>
          </p:nvPr>
        </p:nvSpPr>
        <p:spPr>
          <a:xfrm>
            <a:off x="6211339" y="2249555"/>
            <a:ext cx="847725" cy="847724"/>
          </a:xfrm>
          <a:prstGeom prst="rect">
            <a:avLst/>
          </a:prstGeom>
        </p:spPr>
        <p:txBody>
          <a:bodyPr anchor="ctr"/>
          <a:lstStyle>
            <a:lvl1pPr>
              <a:defRPr lang="en-GB" sz="800"/>
            </a:lvl1pPr>
          </a:lstStyle>
          <a:p>
            <a:pPr marL="0" lvl="0" indent="0" algn="ctr">
              <a:buNone/>
            </a:pPr>
            <a:endParaRPr lang="en-GB" dirty="0"/>
          </a:p>
        </p:txBody>
      </p:sp>
      <p:sp>
        <p:nvSpPr>
          <p:cNvPr id="44" name="Picture Placeholder 40">
            <a:extLst>
              <a:ext uri="{FF2B5EF4-FFF2-40B4-BE49-F238E27FC236}">
                <a16:creationId xmlns:a16="http://schemas.microsoft.com/office/drawing/2014/main" id="{E2A04C5E-BC42-D167-72CA-87472A2E1425}"/>
              </a:ext>
            </a:extLst>
          </p:cNvPr>
          <p:cNvSpPr>
            <a:spLocks noGrp="1"/>
          </p:cNvSpPr>
          <p:nvPr>
            <p:ph type="pic" sz="quarter" idx="25"/>
          </p:nvPr>
        </p:nvSpPr>
        <p:spPr>
          <a:xfrm>
            <a:off x="9067719" y="2249555"/>
            <a:ext cx="847725" cy="847724"/>
          </a:xfrm>
          <a:prstGeom prst="rect">
            <a:avLst/>
          </a:prstGeom>
        </p:spPr>
        <p:txBody>
          <a:bodyPr anchor="ctr"/>
          <a:lstStyle>
            <a:lvl1pPr>
              <a:defRPr lang="en-GB" sz="800"/>
            </a:lvl1pPr>
          </a:lstStyle>
          <a:p>
            <a:pPr marL="0" lvl="0" indent="0" algn="ctr">
              <a:buNone/>
            </a:pPr>
            <a:endParaRPr lang="en-GB" dirty="0"/>
          </a:p>
        </p:txBody>
      </p:sp>
      <p:sp>
        <p:nvSpPr>
          <p:cNvPr id="47" name="Text Placeholder 9">
            <a:extLst>
              <a:ext uri="{FF2B5EF4-FFF2-40B4-BE49-F238E27FC236}">
                <a16:creationId xmlns:a16="http://schemas.microsoft.com/office/drawing/2014/main" id="{CDBC64B2-EBDC-C7E4-7043-FAD072C84780}"/>
              </a:ext>
            </a:extLst>
          </p:cNvPr>
          <p:cNvSpPr>
            <a:spLocks noGrp="1"/>
          </p:cNvSpPr>
          <p:nvPr>
            <p:ph type="body" sz="quarter" idx="26"/>
          </p:nvPr>
        </p:nvSpPr>
        <p:spPr>
          <a:xfrm>
            <a:off x="498580" y="3282401"/>
            <a:ext cx="2619355" cy="2375009"/>
          </a:xfrm>
          <a:prstGeom prst="rect">
            <a:avLst/>
          </a:prstGeom>
        </p:spPr>
        <p:txBody>
          <a:bodyPr/>
          <a:lstStyle>
            <a:lvl1pPr marL="0" indent="0" algn="l" defTabSz="914400" rtl="0" eaLnBrk="1" latinLnBrk="0" hangingPunct="1">
              <a:buNone/>
              <a:defRPr lang="en-US" sz="1600" kern="1200" dirty="0" smtClean="0">
                <a:solidFill>
                  <a:schemeClr val="tx1">
                    <a:lumMod val="75000"/>
                    <a:lumOff val="25000"/>
                  </a:schemeClr>
                </a:solidFill>
                <a:latin typeface="+mn-lt"/>
                <a:ea typeface="+mn-ea"/>
                <a:cs typeface="+mn-cs"/>
              </a:defRPr>
            </a:lvl1pPr>
            <a:lvl2pPr marL="0" algn="l" defTabSz="914400" rtl="0" eaLnBrk="1" latinLnBrk="0" hangingPunct="1">
              <a:defRPr lang="de-DE" sz="2000" kern="1200" dirty="0">
                <a:solidFill>
                  <a:prstClr val="black">
                    <a:lumMod val="75000"/>
                    <a:lumOff val="25000"/>
                  </a:prstClr>
                </a:solidFill>
                <a:latin typeface="Arial" panose="020B0604020202020204" pitchFamily="34" charset="0"/>
                <a:ea typeface="+mn-ea"/>
                <a:cs typeface="Arial" panose="020B0604020202020204" pitchFamily="34" charset="0"/>
                <a:sym typeface="Arial" panose="020B0604020202020204" pitchFamily="34" charset="0"/>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marL="0" lvl="1" indent="0" algn="l" defTabSz="914400" rtl="0" eaLnBrk="1" fontAlgn="b" latinLnBrk="0" hangingPunct="1">
              <a:lnSpc>
                <a:spcPct val="120000"/>
              </a:lnSpc>
              <a:spcBef>
                <a:spcPts val="500"/>
              </a:spcBef>
              <a:spcAft>
                <a:spcPts val="800"/>
              </a:spcAft>
              <a:buClr>
                <a:schemeClr val="accent1"/>
              </a:buClr>
              <a:buSzPct val="60000"/>
              <a:buFont typeface="Arial" panose="020B0604020202020204" pitchFamily="34" charset="0"/>
              <a:buNone/>
              <a:defRPr/>
            </a:pPr>
            <a:endParaRPr lang="de-DE" dirty="0"/>
          </a:p>
        </p:txBody>
      </p:sp>
      <p:sp>
        <p:nvSpPr>
          <p:cNvPr id="48" name="Text Placeholder 9">
            <a:extLst>
              <a:ext uri="{FF2B5EF4-FFF2-40B4-BE49-F238E27FC236}">
                <a16:creationId xmlns:a16="http://schemas.microsoft.com/office/drawing/2014/main" id="{FFB9C763-BFD9-CE45-10CD-799268BFAFC7}"/>
              </a:ext>
            </a:extLst>
          </p:cNvPr>
          <p:cNvSpPr>
            <a:spLocks noGrp="1"/>
          </p:cNvSpPr>
          <p:nvPr>
            <p:ph type="body" sz="quarter" idx="27"/>
          </p:nvPr>
        </p:nvSpPr>
        <p:spPr>
          <a:xfrm>
            <a:off x="3354960" y="3282401"/>
            <a:ext cx="2619355" cy="2375009"/>
          </a:xfrm>
          <a:prstGeom prst="rect">
            <a:avLst/>
          </a:prstGeom>
        </p:spPr>
        <p:txBody>
          <a:bodyPr/>
          <a:lstStyle>
            <a:lvl1pPr marL="0" indent="0" algn="l" defTabSz="914400" rtl="0" eaLnBrk="1" latinLnBrk="0" hangingPunct="1">
              <a:buNone/>
              <a:defRPr lang="en-US" sz="1600" kern="1200" dirty="0" smtClean="0">
                <a:solidFill>
                  <a:schemeClr val="tx1">
                    <a:lumMod val="75000"/>
                    <a:lumOff val="25000"/>
                  </a:schemeClr>
                </a:solidFill>
                <a:latin typeface="+mn-lt"/>
                <a:ea typeface="+mn-ea"/>
                <a:cs typeface="+mn-cs"/>
              </a:defRPr>
            </a:lvl1pPr>
            <a:lvl2pPr marL="0" algn="l" defTabSz="914400" rtl="0" eaLnBrk="1" latinLnBrk="0" hangingPunct="1">
              <a:defRPr lang="de-DE" sz="2000" kern="1200" dirty="0">
                <a:solidFill>
                  <a:prstClr val="black">
                    <a:lumMod val="75000"/>
                    <a:lumOff val="25000"/>
                  </a:prstClr>
                </a:solidFill>
                <a:latin typeface="Arial" panose="020B0604020202020204" pitchFamily="34" charset="0"/>
                <a:ea typeface="+mn-ea"/>
                <a:cs typeface="Arial" panose="020B0604020202020204" pitchFamily="34" charset="0"/>
                <a:sym typeface="Arial" panose="020B0604020202020204" pitchFamily="34" charset="0"/>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marL="0" lvl="1" indent="0" algn="l" defTabSz="914400" rtl="0" eaLnBrk="1" fontAlgn="b" latinLnBrk="0" hangingPunct="1">
              <a:lnSpc>
                <a:spcPct val="120000"/>
              </a:lnSpc>
              <a:spcBef>
                <a:spcPts val="500"/>
              </a:spcBef>
              <a:spcAft>
                <a:spcPts val="800"/>
              </a:spcAft>
              <a:buClr>
                <a:schemeClr val="accent1"/>
              </a:buClr>
              <a:buSzPct val="60000"/>
              <a:buFont typeface="Arial" panose="020B0604020202020204" pitchFamily="34" charset="0"/>
              <a:buNone/>
              <a:defRPr/>
            </a:pPr>
            <a:endParaRPr lang="de-DE" dirty="0"/>
          </a:p>
        </p:txBody>
      </p:sp>
      <p:sp>
        <p:nvSpPr>
          <p:cNvPr id="49" name="Text Placeholder 9">
            <a:extLst>
              <a:ext uri="{FF2B5EF4-FFF2-40B4-BE49-F238E27FC236}">
                <a16:creationId xmlns:a16="http://schemas.microsoft.com/office/drawing/2014/main" id="{0F17B0E9-7EB0-7BBC-F8CF-1547DEE4D21F}"/>
              </a:ext>
            </a:extLst>
          </p:cNvPr>
          <p:cNvSpPr>
            <a:spLocks noGrp="1"/>
          </p:cNvSpPr>
          <p:nvPr>
            <p:ph type="body" sz="quarter" idx="28"/>
          </p:nvPr>
        </p:nvSpPr>
        <p:spPr>
          <a:xfrm>
            <a:off x="6211340" y="3282401"/>
            <a:ext cx="2619355" cy="2375009"/>
          </a:xfrm>
          <a:prstGeom prst="rect">
            <a:avLst/>
          </a:prstGeom>
        </p:spPr>
        <p:txBody>
          <a:bodyPr/>
          <a:lstStyle>
            <a:lvl1pPr marL="0" indent="0" algn="l" defTabSz="914400" rtl="0" eaLnBrk="1" latinLnBrk="0" hangingPunct="1">
              <a:buNone/>
              <a:defRPr lang="en-US" sz="1600" kern="1200" dirty="0" smtClean="0">
                <a:solidFill>
                  <a:schemeClr val="tx1">
                    <a:lumMod val="75000"/>
                    <a:lumOff val="25000"/>
                  </a:schemeClr>
                </a:solidFill>
                <a:latin typeface="+mn-lt"/>
                <a:ea typeface="+mn-ea"/>
                <a:cs typeface="+mn-cs"/>
              </a:defRPr>
            </a:lvl1pPr>
            <a:lvl2pPr marL="0" algn="l" defTabSz="914400" rtl="0" eaLnBrk="1" latinLnBrk="0" hangingPunct="1">
              <a:defRPr lang="de-DE" sz="2000" kern="1200" dirty="0">
                <a:solidFill>
                  <a:prstClr val="black">
                    <a:lumMod val="75000"/>
                    <a:lumOff val="25000"/>
                  </a:prstClr>
                </a:solidFill>
                <a:latin typeface="Arial" panose="020B0604020202020204" pitchFamily="34" charset="0"/>
                <a:ea typeface="+mn-ea"/>
                <a:cs typeface="Arial" panose="020B0604020202020204" pitchFamily="34" charset="0"/>
                <a:sym typeface="Arial" panose="020B0604020202020204" pitchFamily="34" charset="0"/>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marL="0" lvl="1" indent="0" algn="l" defTabSz="914400" rtl="0" eaLnBrk="1" fontAlgn="b" latinLnBrk="0" hangingPunct="1">
              <a:lnSpc>
                <a:spcPct val="120000"/>
              </a:lnSpc>
              <a:spcBef>
                <a:spcPts val="500"/>
              </a:spcBef>
              <a:spcAft>
                <a:spcPts val="800"/>
              </a:spcAft>
              <a:buClr>
                <a:schemeClr val="accent1"/>
              </a:buClr>
              <a:buSzPct val="60000"/>
              <a:buFont typeface="Arial" panose="020B0604020202020204" pitchFamily="34" charset="0"/>
              <a:buNone/>
              <a:defRPr/>
            </a:pPr>
            <a:endParaRPr lang="de-DE" dirty="0"/>
          </a:p>
        </p:txBody>
      </p:sp>
      <p:sp>
        <p:nvSpPr>
          <p:cNvPr id="50" name="Text Placeholder 9">
            <a:extLst>
              <a:ext uri="{FF2B5EF4-FFF2-40B4-BE49-F238E27FC236}">
                <a16:creationId xmlns:a16="http://schemas.microsoft.com/office/drawing/2014/main" id="{89803A4D-8175-F3C1-7A42-C8DBA33E08BC}"/>
              </a:ext>
            </a:extLst>
          </p:cNvPr>
          <p:cNvSpPr>
            <a:spLocks noGrp="1"/>
          </p:cNvSpPr>
          <p:nvPr>
            <p:ph type="body" sz="quarter" idx="29"/>
          </p:nvPr>
        </p:nvSpPr>
        <p:spPr>
          <a:xfrm>
            <a:off x="9067719" y="3282401"/>
            <a:ext cx="2619355" cy="2375009"/>
          </a:xfrm>
          <a:prstGeom prst="rect">
            <a:avLst/>
          </a:prstGeom>
        </p:spPr>
        <p:txBody>
          <a:bodyPr/>
          <a:lstStyle>
            <a:lvl1pPr marL="0" indent="0" algn="l" defTabSz="914400" rtl="0" eaLnBrk="1" latinLnBrk="0" hangingPunct="1">
              <a:buNone/>
              <a:defRPr lang="en-US" sz="1600" kern="1200" dirty="0" smtClean="0">
                <a:solidFill>
                  <a:schemeClr val="tx1">
                    <a:lumMod val="75000"/>
                    <a:lumOff val="25000"/>
                  </a:schemeClr>
                </a:solidFill>
                <a:latin typeface="+mn-lt"/>
                <a:ea typeface="+mn-ea"/>
                <a:cs typeface="+mn-cs"/>
              </a:defRPr>
            </a:lvl1pPr>
            <a:lvl2pPr marL="0" algn="l" defTabSz="914400" rtl="0" eaLnBrk="1" latinLnBrk="0" hangingPunct="1">
              <a:defRPr lang="de-DE" sz="2000" kern="1200" dirty="0">
                <a:solidFill>
                  <a:prstClr val="black">
                    <a:lumMod val="75000"/>
                    <a:lumOff val="25000"/>
                  </a:prstClr>
                </a:solidFill>
                <a:latin typeface="Arial" panose="020B0604020202020204" pitchFamily="34" charset="0"/>
                <a:ea typeface="+mn-ea"/>
                <a:cs typeface="Arial" panose="020B0604020202020204" pitchFamily="34" charset="0"/>
                <a:sym typeface="Arial" panose="020B0604020202020204" pitchFamily="34" charset="0"/>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marL="0" lvl="1" indent="0" algn="l" defTabSz="914400" rtl="0" eaLnBrk="1" fontAlgn="b" latinLnBrk="0" hangingPunct="1">
              <a:lnSpc>
                <a:spcPct val="120000"/>
              </a:lnSpc>
              <a:spcBef>
                <a:spcPts val="500"/>
              </a:spcBef>
              <a:spcAft>
                <a:spcPts val="800"/>
              </a:spcAft>
              <a:buClr>
                <a:schemeClr val="accent1"/>
              </a:buClr>
              <a:buSzPct val="60000"/>
              <a:buFont typeface="Arial" panose="020B0604020202020204" pitchFamily="34" charset="0"/>
              <a:buNone/>
              <a:defRPr/>
            </a:pPr>
            <a:endParaRPr lang="de-DE" dirty="0"/>
          </a:p>
        </p:txBody>
      </p:sp>
      <p:sp>
        <p:nvSpPr>
          <p:cNvPr id="11" name="Footer Placeholder 3">
            <a:extLst>
              <a:ext uri="{FF2B5EF4-FFF2-40B4-BE49-F238E27FC236}">
                <a16:creationId xmlns:a16="http://schemas.microsoft.com/office/drawing/2014/main" id="{EE481018-BFDE-D20F-A2C6-4F056183C2DD}"/>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1">
                    <a:lumMod val="7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p>
        </p:txBody>
      </p:sp>
      <p:sp>
        <p:nvSpPr>
          <p:cNvPr id="7" name="Text Placeholder 9">
            <a:extLst>
              <a:ext uri="{FF2B5EF4-FFF2-40B4-BE49-F238E27FC236}">
                <a16:creationId xmlns:a16="http://schemas.microsoft.com/office/drawing/2014/main" id="{7141B2DB-C9FC-2909-1B62-EF78F8ADF288}"/>
              </a:ext>
            </a:extLst>
          </p:cNvPr>
          <p:cNvSpPr>
            <a:spLocks noGrp="1"/>
          </p:cNvSpPr>
          <p:nvPr>
            <p:ph type="body" sz="quarter" idx="11"/>
          </p:nvPr>
        </p:nvSpPr>
        <p:spPr>
          <a:xfrm>
            <a:off x="323129" y="1055965"/>
            <a:ext cx="10283908" cy="338554"/>
          </a:xfrm>
          <a:prstGeom prst="rect">
            <a:avLst/>
          </a:prstGeom>
        </p:spPr>
        <p:txBody>
          <a:bodyPr/>
          <a:lstStyle>
            <a:lvl1pPr marL="0" indent="0" algn="l" defTabSz="914400" rtl="0" eaLnBrk="1" latinLnBrk="0" hangingPunct="1">
              <a:buNone/>
              <a:defRPr lang="en-US" sz="2400" kern="1200" dirty="0" smtClean="0">
                <a:solidFill>
                  <a:schemeClr val="tx1">
                    <a:lumMod val="75000"/>
                    <a:lumOff val="25000"/>
                  </a:schemeClr>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defRPr lang="en-US" sz="1600" kern="1200" dirty="0" smtClean="0">
                <a:solidFill>
                  <a:schemeClr val="tx1">
                    <a:lumMod val="75000"/>
                    <a:lumOff val="25000"/>
                  </a:schemeClr>
                </a:solidFill>
                <a:latin typeface="+mn-lt"/>
                <a:ea typeface="+mn-ea"/>
                <a:cs typeface="+mn-cs"/>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lvl="0"/>
            <a:endParaRPr lang="de-DE" dirty="0"/>
          </a:p>
        </p:txBody>
      </p:sp>
      <p:pic>
        <p:nvPicPr>
          <p:cNvPr id="10" name="Picture 9">
            <a:extLst>
              <a:ext uri="{FF2B5EF4-FFF2-40B4-BE49-F238E27FC236}">
                <a16:creationId xmlns:a16="http://schemas.microsoft.com/office/drawing/2014/main" id="{F009BC7E-84B1-A477-D941-C5744F02E41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22015" y="6266696"/>
            <a:ext cx="2044957" cy="430131"/>
          </a:xfrm>
          <a:prstGeom prst="rect">
            <a:avLst/>
          </a:prstGeom>
        </p:spPr>
      </p:pic>
    </p:spTree>
    <p:extLst>
      <p:ext uri="{BB962C8B-B14F-4D97-AF65-F5344CB8AC3E}">
        <p14:creationId xmlns:p14="http://schemas.microsoft.com/office/powerpoint/2010/main" val="16738116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 Bi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DF6468-1895-6EDF-4A81-565479EFD72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0" y="0"/>
            <a:ext cx="10323636" cy="6858000"/>
          </a:xfrm>
          <a:custGeom>
            <a:avLst/>
            <a:gdLst>
              <a:gd name="connsiteX0" fmla="*/ 0 w 10323636"/>
              <a:gd name="connsiteY0" fmla="*/ 0 h 6858000"/>
              <a:gd name="connsiteX1" fmla="*/ 2052567 w 10323636"/>
              <a:gd name="connsiteY1" fmla="*/ 0 h 6858000"/>
              <a:gd name="connsiteX2" fmla="*/ 10323636 w 10323636"/>
              <a:gd name="connsiteY2" fmla="*/ 0 h 6858000"/>
              <a:gd name="connsiteX3" fmla="*/ 6348932 w 10323636"/>
              <a:gd name="connsiteY3" fmla="*/ 6858000 h 6858000"/>
              <a:gd name="connsiteX4" fmla="*/ 994411 w 10323636"/>
              <a:gd name="connsiteY4" fmla="*/ 6858000 h 6858000"/>
              <a:gd name="connsiteX5" fmla="*/ 994411 w 10323636"/>
              <a:gd name="connsiteY5" fmla="*/ 6857999 h 6858000"/>
              <a:gd name="connsiteX6" fmla="*/ 0 w 10323636"/>
              <a:gd name="connsiteY6" fmla="*/ 685799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3636" h="6858000">
                <a:moveTo>
                  <a:pt x="0" y="0"/>
                </a:moveTo>
                <a:lnTo>
                  <a:pt x="2052567" y="0"/>
                </a:lnTo>
                <a:lnTo>
                  <a:pt x="10323636" y="0"/>
                </a:lnTo>
                <a:lnTo>
                  <a:pt x="6348932" y="6858000"/>
                </a:lnTo>
                <a:lnTo>
                  <a:pt x="994411" y="6858000"/>
                </a:lnTo>
                <a:lnTo>
                  <a:pt x="994411" y="6857999"/>
                </a:lnTo>
                <a:lnTo>
                  <a:pt x="0" y="6857999"/>
                </a:lnTo>
                <a:close/>
              </a:path>
            </a:pathLst>
          </a:custGeom>
        </p:spPr>
      </p:pic>
      <p:sp>
        <p:nvSpPr>
          <p:cNvPr id="4" name="Freeform: Shape 3">
            <a:extLst>
              <a:ext uri="{FF2B5EF4-FFF2-40B4-BE49-F238E27FC236}">
                <a16:creationId xmlns:a16="http://schemas.microsoft.com/office/drawing/2014/main" id="{FC7ACE24-0CD8-C424-4E3D-EF53D1ADF883}"/>
              </a:ext>
            </a:extLst>
          </p:cNvPr>
          <p:cNvSpPr/>
          <p:nvPr userDrawn="1"/>
        </p:nvSpPr>
        <p:spPr>
          <a:xfrm>
            <a:off x="0" y="-1"/>
            <a:ext cx="10323636" cy="6858001"/>
          </a:xfrm>
          <a:custGeom>
            <a:avLst/>
            <a:gdLst>
              <a:gd name="connsiteX0" fmla="*/ 0 w 10284071"/>
              <a:gd name="connsiteY0" fmla="*/ 0 h 6858001"/>
              <a:gd name="connsiteX1" fmla="*/ 2044700 w 10284071"/>
              <a:gd name="connsiteY1" fmla="*/ 0 h 6858001"/>
              <a:gd name="connsiteX2" fmla="*/ 2044700 w 10284071"/>
              <a:gd name="connsiteY2" fmla="*/ 1 h 6858001"/>
              <a:gd name="connsiteX3" fmla="*/ 10284071 w 10284071"/>
              <a:gd name="connsiteY3" fmla="*/ 1 h 6858001"/>
              <a:gd name="connsiteX4" fmla="*/ 6324600 w 10284071"/>
              <a:gd name="connsiteY4" fmla="*/ 6858001 h 6858001"/>
              <a:gd name="connsiteX5" fmla="*/ 990600 w 10284071"/>
              <a:gd name="connsiteY5" fmla="*/ 6858001 h 6858001"/>
              <a:gd name="connsiteX6" fmla="*/ 990600 w 10284071"/>
              <a:gd name="connsiteY6" fmla="*/ 6858000 h 6858001"/>
              <a:gd name="connsiteX7" fmla="*/ 0 w 10284071"/>
              <a:gd name="connsiteY7"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84071" h="6858001">
                <a:moveTo>
                  <a:pt x="0" y="0"/>
                </a:moveTo>
                <a:lnTo>
                  <a:pt x="2044700" y="0"/>
                </a:lnTo>
                <a:lnTo>
                  <a:pt x="2044700" y="1"/>
                </a:lnTo>
                <a:lnTo>
                  <a:pt x="10284071" y="1"/>
                </a:lnTo>
                <a:lnTo>
                  <a:pt x="6324600" y="6858001"/>
                </a:lnTo>
                <a:lnTo>
                  <a:pt x="990600" y="6858001"/>
                </a:lnTo>
                <a:lnTo>
                  <a:pt x="990600" y="6858000"/>
                </a:lnTo>
                <a:lnTo>
                  <a:pt x="0" y="6858000"/>
                </a:lnTo>
                <a:close/>
              </a:path>
            </a:pathLst>
          </a:custGeom>
          <a:gradFill flip="none" rotWithShape="0">
            <a:gsLst>
              <a:gs pos="0">
                <a:srgbClr val="00338D">
                  <a:alpha val="90980"/>
                </a:srgbClr>
              </a:gs>
              <a:gs pos="100000">
                <a:srgbClr val="7A2582">
                  <a:alpha val="9098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de-DE">
              <a:solidFill>
                <a:prstClr val="white">
                  <a:alpha val="44000"/>
                </a:prstClr>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ct 6" hidden="1">
            <a:extLst>
              <a:ext uri="{FF2B5EF4-FFF2-40B4-BE49-F238E27FC236}">
                <a16:creationId xmlns:a16="http://schemas.microsoft.com/office/drawing/2014/main" id="{2D46B078-CEFE-09BD-85FE-560ABB3E8AEE}"/>
              </a:ext>
            </a:extLst>
          </p:cNvPr>
          <p:cNvGraphicFramePr>
            <a:graphicFrameLocks noChangeAspect="1"/>
          </p:cNvGraphicFramePr>
          <p:nvPr userDrawn="1">
            <p:custDataLst>
              <p:tags r:id="rId1"/>
            </p:custDataLst>
            <p:extLst>
              <p:ext uri="{D42A27DB-BD31-4B8C-83A1-F6EECF244321}">
                <p14:modId xmlns:p14="http://schemas.microsoft.com/office/powerpoint/2010/main" val="3891108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7" name="Object 6" hidden="1">
                        <a:extLst>
                          <a:ext uri="{FF2B5EF4-FFF2-40B4-BE49-F238E27FC236}">
                            <a16:creationId xmlns:a16="http://schemas.microsoft.com/office/drawing/2014/main" id="{2D46B078-CEFE-09BD-85FE-560ABB3E8A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Graphic 2">
            <a:extLst>
              <a:ext uri="{FF2B5EF4-FFF2-40B4-BE49-F238E27FC236}">
                <a16:creationId xmlns:a16="http://schemas.microsoft.com/office/drawing/2014/main" id="{978CC8C7-891F-16E0-F5D4-5F8AAB6951C8}"/>
              </a:ext>
            </a:extLst>
          </p:cNvPr>
          <p:cNvSpPr/>
          <p:nvPr userDrawn="1"/>
        </p:nvSpPr>
        <p:spPr>
          <a:xfrm>
            <a:off x="4860602" y="0"/>
            <a:ext cx="6858000" cy="6858000"/>
          </a:xfrm>
          <a:custGeom>
            <a:avLst/>
            <a:gdLst>
              <a:gd name="connsiteX0" fmla="*/ 2898529 w 6858000"/>
              <a:gd name="connsiteY0" fmla="*/ 6858000 h 6858000"/>
              <a:gd name="connsiteX1" fmla="*/ 6858000 w 6858000"/>
              <a:gd name="connsiteY1" fmla="*/ 0 h 6858000"/>
              <a:gd name="connsiteX2" fmla="*/ 3959471 w 6858000"/>
              <a:gd name="connsiteY2" fmla="*/ 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2898529" y="6858000"/>
                </a:moveTo>
                <a:lnTo>
                  <a:pt x="6858000" y="0"/>
                </a:lnTo>
                <a:lnTo>
                  <a:pt x="3959471" y="0"/>
                </a:lnTo>
                <a:lnTo>
                  <a:pt x="0" y="6858000"/>
                </a:lnTo>
                <a:close/>
              </a:path>
            </a:pathLst>
          </a:custGeom>
          <a:gradFill flip="none" rotWithShape="1">
            <a:gsLst>
              <a:gs pos="0">
                <a:schemeClr val="bg2">
                  <a:alpha val="0"/>
                </a:schemeClr>
              </a:gs>
              <a:gs pos="100000">
                <a:schemeClr val="bg2">
                  <a:alpha val="20000"/>
                </a:schemeClr>
              </a:gs>
            </a:gsLst>
            <a:lin ang="16200000" scaled="1"/>
            <a:tileRect/>
          </a:gradFill>
          <a:ln w="7938" cap="flat">
            <a:noFill/>
            <a:prstDash val="solid"/>
            <a:miter/>
          </a:ln>
        </p:spPr>
        <p:txBody>
          <a:bodyPr rtlCol="0" anchor="ctr"/>
          <a:lstStyle/>
          <a:p>
            <a:endParaRPr lang="en-US">
              <a:solidFill>
                <a:prstClr val="black"/>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30" name="Text Placeholder 27">
            <a:extLst>
              <a:ext uri="{FF2B5EF4-FFF2-40B4-BE49-F238E27FC236}">
                <a16:creationId xmlns:a16="http://schemas.microsoft.com/office/drawing/2014/main" id="{E586DFEC-49D0-20F6-028A-C02D4CE48ADF}"/>
              </a:ext>
            </a:extLst>
          </p:cNvPr>
          <p:cNvSpPr>
            <a:spLocks noGrp="1"/>
          </p:cNvSpPr>
          <p:nvPr>
            <p:ph type="body" sz="quarter" idx="19"/>
          </p:nvPr>
        </p:nvSpPr>
        <p:spPr>
          <a:xfrm>
            <a:off x="1325899" y="4581329"/>
            <a:ext cx="3017710" cy="360612"/>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1"/>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28" name="Text Placeholder 27">
            <a:extLst>
              <a:ext uri="{FF2B5EF4-FFF2-40B4-BE49-F238E27FC236}">
                <a16:creationId xmlns:a16="http://schemas.microsoft.com/office/drawing/2014/main" id="{7383A3EC-21F5-3A41-BA55-C9369FA86F71}"/>
              </a:ext>
            </a:extLst>
          </p:cNvPr>
          <p:cNvSpPr>
            <a:spLocks noGrp="1"/>
          </p:cNvSpPr>
          <p:nvPr>
            <p:ph type="body" sz="quarter" idx="17"/>
          </p:nvPr>
        </p:nvSpPr>
        <p:spPr>
          <a:xfrm>
            <a:off x="546625" y="2317715"/>
            <a:ext cx="4313977" cy="1446550"/>
          </a:xfrm>
          <a:prstGeom prst="rect">
            <a:avLst/>
          </a:prstGeom>
        </p:spPr>
        <p:txBody>
          <a:bodyPr/>
          <a:lstStyle>
            <a:lvl1pPr marL="0" indent="0" algn="l" defTabSz="914400" rtl="0" eaLnBrk="1" latinLnBrk="0" hangingPunct="1">
              <a:buNone/>
              <a:defRPr lang="en-GB" sz="4400" b="1" kern="1200" dirty="0">
                <a:solidFill>
                  <a:schemeClr val="accent4"/>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lvl="0"/>
            <a:endParaRPr lang="en-GB" dirty="0"/>
          </a:p>
        </p:txBody>
      </p:sp>
      <p:sp>
        <p:nvSpPr>
          <p:cNvPr id="29" name="Text Placeholder 27">
            <a:extLst>
              <a:ext uri="{FF2B5EF4-FFF2-40B4-BE49-F238E27FC236}">
                <a16:creationId xmlns:a16="http://schemas.microsoft.com/office/drawing/2014/main" id="{427BB830-D4F7-8D1A-8CBB-651545BB1C81}"/>
              </a:ext>
            </a:extLst>
          </p:cNvPr>
          <p:cNvSpPr>
            <a:spLocks noGrp="1"/>
          </p:cNvSpPr>
          <p:nvPr>
            <p:ph type="body" sz="quarter" idx="18"/>
          </p:nvPr>
        </p:nvSpPr>
        <p:spPr>
          <a:xfrm>
            <a:off x="546625" y="3810504"/>
            <a:ext cx="4313977" cy="424732"/>
          </a:xfrm>
          <a:prstGeom prst="rect">
            <a:avLst/>
          </a:prstGeom>
        </p:spPr>
        <p:txBody>
          <a:bodyPr/>
          <a:lstStyle>
            <a:lvl1pPr marL="0" indent="0" algn="l" defTabSz="914400" rtl="0" eaLnBrk="1" latinLnBrk="0" hangingPunct="1">
              <a:buNone/>
              <a:defRPr kumimoji="0" lang="en-GB" sz="2000" strike="noStrike" kern="1200" cap="none" spc="0" normalizeH="0" baseline="0" dirty="0">
                <a:ln>
                  <a:noFill/>
                </a:ln>
                <a:solidFill>
                  <a:srgbClr val="FFFFFF"/>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GB" dirty="0"/>
          </a:p>
        </p:txBody>
      </p:sp>
      <p:sp>
        <p:nvSpPr>
          <p:cNvPr id="16" name="Parallelogram 15">
            <a:extLst>
              <a:ext uri="{FF2B5EF4-FFF2-40B4-BE49-F238E27FC236}">
                <a16:creationId xmlns:a16="http://schemas.microsoft.com/office/drawing/2014/main" id="{2094E519-8E2B-2B93-448C-9B89575F52FD}"/>
              </a:ext>
            </a:extLst>
          </p:cNvPr>
          <p:cNvSpPr/>
          <p:nvPr userDrawn="1"/>
        </p:nvSpPr>
        <p:spPr>
          <a:xfrm>
            <a:off x="596420" y="5183268"/>
            <a:ext cx="745946" cy="436894"/>
          </a:xfrm>
          <a:prstGeom prst="parallelogram">
            <a:avLst>
              <a:gd name="adj" fmla="val 56566"/>
            </a:avLst>
          </a:pr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black"/>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pic>
        <p:nvPicPr>
          <p:cNvPr id="22" name="Graphic 21" descr="Email with solid fill">
            <a:extLst>
              <a:ext uri="{FF2B5EF4-FFF2-40B4-BE49-F238E27FC236}">
                <a16:creationId xmlns:a16="http://schemas.microsoft.com/office/drawing/2014/main" id="{28F40432-BA67-3D8B-E014-1C9F27AF8E40}"/>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30098" y="5262420"/>
            <a:ext cx="278590" cy="278590"/>
          </a:xfrm>
          <a:prstGeom prst="rect">
            <a:avLst/>
          </a:prstGeom>
        </p:spPr>
      </p:pic>
      <p:sp>
        <p:nvSpPr>
          <p:cNvPr id="24" name="Parallelogram 23">
            <a:extLst>
              <a:ext uri="{FF2B5EF4-FFF2-40B4-BE49-F238E27FC236}">
                <a16:creationId xmlns:a16="http://schemas.microsoft.com/office/drawing/2014/main" id="{1CA3B60A-FF37-458E-B2F3-CFAB4BD31051}"/>
              </a:ext>
            </a:extLst>
          </p:cNvPr>
          <p:cNvSpPr/>
          <p:nvPr userDrawn="1"/>
        </p:nvSpPr>
        <p:spPr>
          <a:xfrm>
            <a:off x="596420" y="4543188"/>
            <a:ext cx="745946" cy="436894"/>
          </a:xfrm>
          <a:prstGeom prst="parallelogram">
            <a:avLst>
              <a:gd name="adj" fmla="val 56566"/>
            </a:avLst>
          </a:pr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pic>
        <p:nvPicPr>
          <p:cNvPr id="26" name="Graphic 25" descr="World with solid fill">
            <a:extLst>
              <a:ext uri="{FF2B5EF4-FFF2-40B4-BE49-F238E27FC236}">
                <a16:creationId xmlns:a16="http://schemas.microsoft.com/office/drawing/2014/main" id="{EC193956-BE70-B75F-90F6-BD72444196FD}"/>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0098" y="4622340"/>
            <a:ext cx="278590" cy="278590"/>
          </a:xfrm>
          <a:prstGeom prst="rect">
            <a:avLst/>
          </a:prstGeom>
        </p:spPr>
      </p:pic>
      <p:sp>
        <p:nvSpPr>
          <p:cNvPr id="27" name="Text Placeholder 27">
            <a:extLst>
              <a:ext uri="{FF2B5EF4-FFF2-40B4-BE49-F238E27FC236}">
                <a16:creationId xmlns:a16="http://schemas.microsoft.com/office/drawing/2014/main" id="{C771B09C-8A2C-AF59-F935-D71348795E5A}"/>
              </a:ext>
            </a:extLst>
          </p:cNvPr>
          <p:cNvSpPr>
            <a:spLocks noGrp="1"/>
          </p:cNvSpPr>
          <p:nvPr>
            <p:ph type="body" sz="quarter" idx="21"/>
          </p:nvPr>
        </p:nvSpPr>
        <p:spPr>
          <a:xfrm>
            <a:off x="1325899" y="5221409"/>
            <a:ext cx="3017710" cy="360612"/>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1"/>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pic>
        <p:nvPicPr>
          <p:cNvPr id="2" name="Picture 1" descr="A black and white sign with white text&#10;&#10;Description automatically generated">
            <a:extLst>
              <a:ext uri="{FF2B5EF4-FFF2-40B4-BE49-F238E27FC236}">
                <a16:creationId xmlns:a16="http://schemas.microsoft.com/office/drawing/2014/main" id="{E46D352C-9F24-650F-0F91-5582EC6C1A26}"/>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571087" y="1237838"/>
            <a:ext cx="3406554" cy="716526"/>
          </a:xfrm>
          <a:prstGeom prst="rect">
            <a:avLst/>
          </a:prstGeom>
        </p:spPr>
      </p:pic>
    </p:spTree>
    <p:extLst>
      <p:ext uri="{BB962C8B-B14F-4D97-AF65-F5344CB8AC3E}">
        <p14:creationId xmlns:p14="http://schemas.microsoft.com/office/powerpoint/2010/main" val="353380515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_Bild+Text+Icon">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E53105-B129-538F-2905-B26F59200106}"/>
              </a:ext>
            </a:extLst>
          </p:cNvPr>
          <p:cNvGraphicFramePr>
            <a:graphicFrameLocks noChangeAspect="1"/>
          </p:cNvGraphicFramePr>
          <p:nvPr userDrawn="1">
            <p:custDataLst>
              <p:tags r:id="rId1"/>
            </p:custDataLst>
            <p:extLst>
              <p:ext uri="{D42A27DB-BD31-4B8C-83A1-F6EECF244321}">
                <p14:modId xmlns:p14="http://schemas.microsoft.com/office/powerpoint/2010/main" val="1008944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D450F00-858D-36B5-1A2A-12903DF53292}"/>
              </a:ext>
            </a:extLst>
          </p:cNvPr>
          <p:cNvSpPr/>
          <p:nvPr userDrawn="1"/>
        </p:nvSpPr>
        <p:spPr>
          <a:xfrm>
            <a:off x="3797300" y="2459421"/>
            <a:ext cx="8394701" cy="2786882"/>
          </a:xfrm>
          <a:prstGeom prst="rect">
            <a:avLst/>
          </a:prstGeom>
          <a:solidFill>
            <a:schemeClr val="bg2">
              <a:lumMod val="95000"/>
            </a:schemeClr>
          </a:solidFill>
          <a:ln w="2910" cap="flat">
            <a:noFill/>
            <a:prstDash val="solid"/>
            <a:miter/>
          </a:ln>
        </p:spPr>
        <p:txBody>
          <a:bodyPr rtlCol="0" anchor="ctr"/>
          <a:lstStyle/>
          <a:p>
            <a:pPr fontAlgn="auto">
              <a:spcBef>
                <a:spcPts val="0"/>
              </a:spcBef>
              <a:spcAft>
                <a:spcPts val="0"/>
              </a:spcAft>
            </a:pPr>
            <a:endParaRPr lang="en-US"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pic>
        <p:nvPicPr>
          <p:cNvPr id="20" name="Picture 19">
            <a:extLst>
              <a:ext uri="{FF2B5EF4-FFF2-40B4-BE49-F238E27FC236}">
                <a16:creationId xmlns:a16="http://schemas.microsoft.com/office/drawing/2014/main" id="{81359555-2207-40F9-C748-4519283BE5CE}"/>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2" y="1562101"/>
            <a:ext cx="6453933" cy="4581525"/>
          </a:xfrm>
          <a:custGeom>
            <a:avLst/>
            <a:gdLst>
              <a:gd name="connsiteX0" fmla="*/ 0 w 6453933"/>
              <a:gd name="connsiteY0" fmla="*/ 0 h 4581525"/>
              <a:gd name="connsiteX1" fmla="*/ 771083 w 6453933"/>
              <a:gd name="connsiteY1" fmla="*/ 0 h 4581525"/>
              <a:gd name="connsiteX2" fmla="*/ 919558 w 6453933"/>
              <a:gd name="connsiteY2" fmla="*/ 0 h 4581525"/>
              <a:gd name="connsiteX3" fmla="*/ 1819489 w 6453933"/>
              <a:gd name="connsiteY3" fmla="*/ 0 h 4581525"/>
              <a:gd name="connsiteX4" fmla="*/ 2350289 w 6453933"/>
              <a:gd name="connsiteY4" fmla="*/ 0 h 4581525"/>
              <a:gd name="connsiteX5" fmla="*/ 6453933 w 6453933"/>
              <a:gd name="connsiteY5" fmla="*/ 0 h 4581525"/>
              <a:gd name="connsiteX6" fmla="*/ 3808788 w 6453933"/>
              <a:gd name="connsiteY6" fmla="*/ 4581524 h 4581525"/>
              <a:gd name="connsiteX7" fmla="*/ 2413089 w 6453933"/>
              <a:gd name="connsiteY7" fmla="*/ 4581524 h 4581525"/>
              <a:gd name="connsiteX8" fmla="*/ 2413089 w 6453933"/>
              <a:gd name="connsiteY8" fmla="*/ 4581525 h 4581525"/>
              <a:gd name="connsiteX9" fmla="*/ 2350289 w 6453933"/>
              <a:gd name="connsiteY9" fmla="*/ 4581525 h 4581525"/>
              <a:gd name="connsiteX10" fmla="*/ 919558 w 6453933"/>
              <a:gd name="connsiteY10" fmla="*/ 4581525 h 4581525"/>
              <a:gd name="connsiteX11" fmla="*/ 771083 w 6453933"/>
              <a:gd name="connsiteY11" fmla="*/ 4581525 h 4581525"/>
              <a:gd name="connsiteX12" fmla="*/ 0 w 6453933"/>
              <a:gd name="connsiteY12" fmla="*/ 4581525 h 458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53933" h="4581525">
                <a:moveTo>
                  <a:pt x="0" y="0"/>
                </a:moveTo>
                <a:lnTo>
                  <a:pt x="771083" y="0"/>
                </a:lnTo>
                <a:lnTo>
                  <a:pt x="919558" y="0"/>
                </a:lnTo>
                <a:lnTo>
                  <a:pt x="1819489" y="0"/>
                </a:lnTo>
                <a:lnTo>
                  <a:pt x="2350289" y="0"/>
                </a:lnTo>
                <a:lnTo>
                  <a:pt x="6453933" y="0"/>
                </a:lnTo>
                <a:lnTo>
                  <a:pt x="3808788" y="4581524"/>
                </a:lnTo>
                <a:lnTo>
                  <a:pt x="2413089" y="4581524"/>
                </a:lnTo>
                <a:lnTo>
                  <a:pt x="2413089" y="4581525"/>
                </a:lnTo>
                <a:lnTo>
                  <a:pt x="2350289" y="4581525"/>
                </a:lnTo>
                <a:lnTo>
                  <a:pt x="919558" y="4581525"/>
                </a:lnTo>
                <a:lnTo>
                  <a:pt x="771083" y="4581525"/>
                </a:lnTo>
                <a:lnTo>
                  <a:pt x="0" y="4581525"/>
                </a:lnTo>
                <a:close/>
              </a:path>
            </a:pathLst>
          </a:custGeom>
        </p:spPr>
      </p:pic>
      <p:sp>
        <p:nvSpPr>
          <p:cNvPr id="34" name="Freeform: Shape 33">
            <a:extLst>
              <a:ext uri="{FF2B5EF4-FFF2-40B4-BE49-F238E27FC236}">
                <a16:creationId xmlns:a16="http://schemas.microsoft.com/office/drawing/2014/main" id="{88CB9FB0-41A9-C4AF-8BA0-93CCADBFFB50}"/>
              </a:ext>
            </a:extLst>
          </p:cNvPr>
          <p:cNvSpPr/>
          <p:nvPr userDrawn="1"/>
        </p:nvSpPr>
        <p:spPr>
          <a:xfrm>
            <a:off x="1" y="1562101"/>
            <a:ext cx="6453933" cy="4581525"/>
          </a:xfrm>
          <a:custGeom>
            <a:avLst/>
            <a:gdLst>
              <a:gd name="connsiteX0" fmla="*/ 0 w 6453933"/>
              <a:gd name="connsiteY0" fmla="*/ 0 h 4581525"/>
              <a:gd name="connsiteX1" fmla="*/ 771083 w 6453933"/>
              <a:gd name="connsiteY1" fmla="*/ 0 h 4581525"/>
              <a:gd name="connsiteX2" fmla="*/ 919558 w 6453933"/>
              <a:gd name="connsiteY2" fmla="*/ 0 h 4581525"/>
              <a:gd name="connsiteX3" fmla="*/ 1819489 w 6453933"/>
              <a:gd name="connsiteY3" fmla="*/ 0 h 4581525"/>
              <a:gd name="connsiteX4" fmla="*/ 2350289 w 6453933"/>
              <a:gd name="connsiteY4" fmla="*/ 0 h 4581525"/>
              <a:gd name="connsiteX5" fmla="*/ 6453933 w 6453933"/>
              <a:gd name="connsiteY5" fmla="*/ 0 h 4581525"/>
              <a:gd name="connsiteX6" fmla="*/ 3808788 w 6453933"/>
              <a:gd name="connsiteY6" fmla="*/ 4581524 h 4581525"/>
              <a:gd name="connsiteX7" fmla="*/ 2413089 w 6453933"/>
              <a:gd name="connsiteY7" fmla="*/ 4581524 h 4581525"/>
              <a:gd name="connsiteX8" fmla="*/ 2413089 w 6453933"/>
              <a:gd name="connsiteY8" fmla="*/ 4581525 h 4581525"/>
              <a:gd name="connsiteX9" fmla="*/ 2350289 w 6453933"/>
              <a:gd name="connsiteY9" fmla="*/ 4581525 h 4581525"/>
              <a:gd name="connsiteX10" fmla="*/ 919558 w 6453933"/>
              <a:gd name="connsiteY10" fmla="*/ 4581525 h 4581525"/>
              <a:gd name="connsiteX11" fmla="*/ 771083 w 6453933"/>
              <a:gd name="connsiteY11" fmla="*/ 4581525 h 4581525"/>
              <a:gd name="connsiteX12" fmla="*/ 0 w 6453933"/>
              <a:gd name="connsiteY12" fmla="*/ 4581525 h 458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53933" h="4581525">
                <a:moveTo>
                  <a:pt x="0" y="0"/>
                </a:moveTo>
                <a:lnTo>
                  <a:pt x="771083" y="0"/>
                </a:lnTo>
                <a:lnTo>
                  <a:pt x="919558" y="0"/>
                </a:lnTo>
                <a:lnTo>
                  <a:pt x="1819489" y="0"/>
                </a:lnTo>
                <a:lnTo>
                  <a:pt x="2350289" y="0"/>
                </a:lnTo>
                <a:lnTo>
                  <a:pt x="6453933" y="0"/>
                </a:lnTo>
                <a:lnTo>
                  <a:pt x="3808788" y="4581524"/>
                </a:lnTo>
                <a:lnTo>
                  <a:pt x="2413089" y="4581524"/>
                </a:lnTo>
                <a:lnTo>
                  <a:pt x="2413089" y="4581525"/>
                </a:lnTo>
                <a:lnTo>
                  <a:pt x="2350289" y="4581525"/>
                </a:lnTo>
                <a:lnTo>
                  <a:pt x="919558" y="4581525"/>
                </a:lnTo>
                <a:lnTo>
                  <a:pt x="771083" y="4581525"/>
                </a:lnTo>
                <a:lnTo>
                  <a:pt x="0" y="4581525"/>
                </a:lnTo>
                <a:close/>
              </a:path>
            </a:pathLst>
          </a:custGeom>
          <a:gradFill flip="none" rotWithShape="0">
            <a:gsLst>
              <a:gs pos="0">
                <a:srgbClr val="00338D">
                  <a:alpha val="90980"/>
                </a:srgbClr>
              </a:gs>
              <a:gs pos="100000">
                <a:srgbClr val="7A2582">
                  <a:alpha val="9098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de-DE">
              <a:solidFill>
                <a:schemeClr val="lt1">
                  <a:alpha val="44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8" name="Text Placeholder 7">
            <a:extLst>
              <a:ext uri="{FF2B5EF4-FFF2-40B4-BE49-F238E27FC236}">
                <a16:creationId xmlns:a16="http://schemas.microsoft.com/office/drawing/2014/main" id="{B20EFF45-AF23-527A-74FE-FD2324CEA34A}"/>
              </a:ext>
            </a:extLst>
          </p:cNvPr>
          <p:cNvSpPr>
            <a:spLocks noGrp="1"/>
          </p:cNvSpPr>
          <p:nvPr>
            <p:ph type="body" sz="quarter" idx="10"/>
          </p:nvPr>
        </p:nvSpPr>
        <p:spPr>
          <a:xfrm>
            <a:off x="323129" y="407551"/>
            <a:ext cx="10283909" cy="480131"/>
          </a:xfrm>
          <a:prstGeom prst="rect">
            <a:avLst/>
          </a:prstGeom>
        </p:spPr>
        <p:txBody>
          <a:bodyPr/>
          <a:lstStyle>
            <a:lvl1pPr marL="0" indent="0" algn="l" defTabSz="914400" rtl="0" eaLnBrk="1" latinLnBrk="0" hangingPunct="1">
              <a:lnSpc>
                <a:spcPct val="90000"/>
              </a:lnSpc>
              <a:buNone/>
              <a:defRPr lang="en-US" sz="2800" b="1" kern="1200" dirty="0" smtClean="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lnSpc>
                <a:spcPct val="90000"/>
              </a:lnSpc>
              <a:defRPr lang="en-US" sz="2800" b="1" kern="1200" dirty="0" smtClean="0">
                <a:solidFill>
                  <a:schemeClr val="accent1"/>
                </a:solidFill>
                <a:latin typeface="Arial"/>
                <a:ea typeface="+mn-ea"/>
                <a:cs typeface="+mn-cs"/>
              </a:defRPr>
            </a:lvl2pPr>
            <a:lvl3pPr marL="0" algn="l" defTabSz="914400" rtl="0" eaLnBrk="1" latinLnBrk="0" hangingPunct="1">
              <a:lnSpc>
                <a:spcPct val="90000"/>
              </a:lnSpc>
              <a:defRPr lang="en-US" sz="2800" b="1" kern="1200" dirty="0" smtClean="0">
                <a:solidFill>
                  <a:schemeClr val="accent1"/>
                </a:solidFill>
                <a:latin typeface="Arial"/>
                <a:ea typeface="+mn-ea"/>
                <a:cs typeface="+mn-cs"/>
              </a:defRPr>
            </a:lvl3pPr>
            <a:lvl4pPr marL="0" algn="l" defTabSz="914400" rtl="0" eaLnBrk="1" latinLnBrk="0" hangingPunct="1">
              <a:lnSpc>
                <a:spcPct val="90000"/>
              </a:lnSpc>
              <a:defRPr lang="en-US" sz="2800" b="1" kern="1200" dirty="0" smtClean="0">
                <a:solidFill>
                  <a:schemeClr val="accent1"/>
                </a:solidFill>
                <a:latin typeface="Arial"/>
                <a:ea typeface="+mn-ea"/>
                <a:cs typeface="+mn-cs"/>
              </a:defRPr>
            </a:lvl4pPr>
            <a:lvl5pPr marL="0" algn="l" defTabSz="914400" rtl="0" eaLnBrk="1" latinLnBrk="0" hangingPunct="1">
              <a:lnSpc>
                <a:spcPct val="90000"/>
              </a:lnSpc>
              <a:defRPr lang="de-DE" sz="2800" b="1" kern="1200" dirty="0">
                <a:solidFill>
                  <a:schemeClr val="accent1"/>
                </a:solidFill>
                <a:latin typeface="Arial"/>
                <a:ea typeface="+mn-ea"/>
                <a:cs typeface="+mn-cs"/>
              </a:defRPr>
            </a:lvl5pPr>
          </a:lstStyle>
          <a:p>
            <a:pPr lvl="0"/>
            <a:endParaRPr lang="de-DE" dirty="0"/>
          </a:p>
        </p:txBody>
      </p:sp>
      <p:cxnSp>
        <p:nvCxnSpPr>
          <p:cNvPr id="5" name="Straight Connector 4">
            <a:extLst>
              <a:ext uri="{FF2B5EF4-FFF2-40B4-BE49-F238E27FC236}">
                <a16:creationId xmlns:a16="http://schemas.microsoft.com/office/drawing/2014/main" id="{D1901D5C-3C8E-1601-9C28-B812E4AC921E}"/>
              </a:ext>
            </a:extLst>
          </p:cNvPr>
          <p:cNvCxnSpPr>
            <a:cxnSpLocks/>
          </p:cNvCxnSpPr>
          <p:nvPr userDrawn="1"/>
        </p:nvCxnSpPr>
        <p:spPr>
          <a:xfrm>
            <a:off x="431800" y="964407"/>
            <a:ext cx="466407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7" name="Parallelogram 6">
            <a:extLst>
              <a:ext uri="{FF2B5EF4-FFF2-40B4-BE49-F238E27FC236}">
                <a16:creationId xmlns:a16="http://schemas.microsoft.com/office/drawing/2014/main" id="{513AF0DB-D6B8-9DDD-7839-A20446DF42CB}"/>
              </a:ext>
            </a:extLst>
          </p:cNvPr>
          <p:cNvSpPr/>
          <p:nvPr userDrawn="1"/>
        </p:nvSpPr>
        <p:spPr>
          <a:xfrm>
            <a:off x="6139453" y="1888883"/>
            <a:ext cx="5622017" cy="1121442"/>
          </a:xfrm>
          <a:prstGeom prst="parallelogram">
            <a:avLst>
              <a:gd name="adj" fmla="val 56566"/>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9" name="Parallelogram 8">
            <a:extLst>
              <a:ext uri="{FF2B5EF4-FFF2-40B4-BE49-F238E27FC236}">
                <a16:creationId xmlns:a16="http://schemas.microsoft.com/office/drawing/2014/main" id="{DAF0551D-91BE-B5F4-4794-AFB59C6294F7}"/>
              </a:ext>
            </a:extLst>
          </p:cNvPr>
          <p:cNvSpPr/>
          <p:nvPr userDrawn="1"/>
        </p:nvSpPr>
        <p:spPr>
          <a:xfrm>
            <a:off x="5978986" y="2142833"/>
            <a:ext cx="1042632" cy="613542"/>
          </a:xfrm>
          <a:prstGeom prst="parallelogram">
            <a:avLst>
              <a:gd name="adj" fmla="val 56566"/>
            </a:avLst>
          </a:pr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Parallelogram 11">
            <a:extLst>
              <a:ext uri="{FF2B5EF4-FFF2-40B4-BE49-F238E27FC236}">
                <a16:creationId xmlns:a16="http://schemas.microsoft.com/office/drawing/2014/main" id="{A3863BF7-8B54-3476-0EAD-46EBE1534A54}"/>
              </a:ext>
            </a:extLst>
          </p:cNvPr>
          <p:cNvSpPr/>
          <p:nvPr userDrawn="1"/>
        </p:nvSpPr>
        <p:spPr>
          <a:xfrm>
            <a:off x="5344083" y="3292141"/>
            <a:ext cx="5622017" cy="1121442"/>
          </a:xfrm>
          <a:prstGeom prst="parallelogram">
            <a:avLst>
              <a:gd name="adj" fmla="val 56566"/>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13" name="Parallelogram 12">
            <a:extLst>
              <a:ext uri="{FF2B5EF4-FFF2-40B4-BE49-F238E27FC236}">
                <a16:creationId xmlns:a16="http://schemas.microsoft.com/office/drawing/2014/main" id="{324C26FE-011A-C3CB-56ED-001684C03B5B}"/>
              </a:ext>
            </a:extLst>
          </p:cNvPr>
          <p:cNvSpPr/>
          <p:nvPr userDrawn="1"/>
        </p:nvSpPr>
        <p:spPr>
          <a:xfrm>
            <a:off x="5183616" y="3546091"/>
            <a:ext cx="1042632" cy="613542"/>
          </a:xfrm>
          <a:prstGeom prst="parallelogram">
            <a:avLst>
              <a:gd name="adj" fmla="val 56566"/>
            </a:avLst>
          </a:pr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5" name="Parallelogram 14">
            <a:extLst>
              <a:ext uri="{FF2B5EF4-FFF2-40B4-BE49-F238E27FC236}">
                <a16:creationId xmlns:a16="http://schemas.microsoft.com/office/drawing/2014/main" id="{B103E0EB-CEA9-04D8-EEE4-10C7C762C472}"/>
              </a:ext>
            </a:extLst>
          </p:cNvPr>
          <p:cNvSpPr/>
          <p:nvPr userDrawn="1"/>
        </p:nvSpPr>
        <p:spPr>
          <a:xfrm>
            <a:off x="4531633" y="4695399"/>
            <a:ext cx="5622017" cy="1121442"/>
          </a:xfrm>
          <a:prstGeom prst="parallelogram">
            <a:avLst>
              <a:gd name="adj" fmla="val 56566"/>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16" name="Parallelogram 15">
            <a:extLst>
              <a:ext uri="{FF2B5EF4-FFF2-40B4-BE49-F238E27FC236}">
                <a16:creationId xmlns:a16="http://schemas.microsoft.com/office/drawing/2014/main" id="{4DFE0FE5-D982-89AF-365B-1D7D57FA2F91}"/>
              </a:ext>
            </a:extLst>
          </p:cNvPr>
          <p:cNvSpPr/>
          <p:nvPr userDrawn="1"/>
        </p:nvSpPr>
        <p:spPr>
          <a:xfrm>
            <a:off x="4371166" y="4949349"/>
            <a:ext cx="1042632" cy="613542"/>
          </a:xfrm>
          <a:prstGeom prst="parallelogram">
            <a:avLst>
              <a:gd name="adj" fmla="val 56566"/>
            </a:avLst>
          </a:pr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Picture Placeholder 27">
            <a:extLst>
              <a:ext uri="{FF2B5EF4-FFF2-40B4-BE49-F238E27FC236}">
                <a16:creationId xmlns:a16="http://schemas.microsoft.com/office/drawing/2014/main" id="{4485090F-6CEE-19DC-6931-D10C1DA53B97}"/>
              </a:ext>
            </a:extLst>
          </p:cNvPr>
          <p:cNvSpPr>
            <a:spLocks noGrp="1"/>
          </p:cNvSpPr>
          <p:nvPr>
            <p:ph type="pic" sz="quarter" idx="16"/>
          </p:nvPr>
        </p:nvSpPr>
        <p:spPr>
          <a:xfrm>
            <a:off x="5978986" y="2142833"/>
            <a:ext cx="1042632" cy="613542"/>
          </a:xfrm>
          <a:prstGeom prst="rect">
            <a:avLst/>
          </a:prstGeom>
        </p:spPr>
        <p:txBody>
          <a:bodyPr anchor="ctr"/>
          <a:lstStyle>
            <a:lvl1pPr marL="0" indent="0" algn="ctr">
              <a:buNone/>
              <a:defRPr sz="800"/>
            </a:lvl1pPr>
          </a:lstStyle>
          <a:p>
            <a:endParaRPr lang="en-GB" dirty="0"/>
          </a:p>
        </p:txBody>
      </p:sp>
      <p:sp>
        <p:nvSpPr>
          <p:cNvPr id="22" name="Picture Placeholder 27">
            <a:extLst>
              <a:ext uri="{FF2B5EF4-FFF2-40B4-BE49-F238E27FC236}">
                <a16:creationId xmlns:a16="http://schemas.microsoft.com/office/drawing/2014/main" id="{4CE11E40-5EEF-B6DF-9EFF-7E3C82D62C85}"/>
              </a:ext>
            </a:extLst>
          </p:cNvPr>
          <p:cNvSpPr>
            <a:spLocks noGrp="1"/>
          </p:cNvSpPr>
          <p:nvPr>
            <p:ph type="pic" sz="quarter" idx="17"/>
          </p:nvPr>
        </p:nvSpPr>
        <p:spPr>
          <a:xfrm>
            <a:off x="5183618" y="3546091"/>
            <a:ext cx="1042631" cy="613542"/>
          </a:xfrm>
          <a:prstGeom prst="rect">
            <a:avLst/>
          </a:prstGeom>
        </p:spPr>
        <p:txBody>
          <a:bodyPr anchor="ctr"/>
          <a:lstStyle>
            <a:lvl1pPr marL="0" indent="0" algn="ctr">
              <a:buNone/>
              <a:defRPr sz="800"/>
            </a:lvl1pPr>
          </a:lstStyle>
          <a:p>
            <a:endParaRPr lang="en-GB" dirty="0"/>
          </a:p>
        </p:txBody>
      </p:sp>
      <p:sp>
        <p:nvSpPr>
          <p:cNvPr id="23" name="Picture Placeholder 27">
            <a:extLst>
              <a:ext uri="{FF2B5EF4-FFF2-40B4-BE49-F238E27FC236}">
                <a16:creationId xmlns:a16="http://schemas.microsoft.com/office/drawing/2014/main" id="{D241166D-594D-60C8-62AC-70F04644DB65}"/>
              </a:ext>
            </a:extLst>
          </p:cNvPr>
          <p:cNvSpPr>
            <a:spLocks noGrp="1"/>
          </p:cNvSpPr>
          <p:nvPr>
            <p:ph type="pic" sz="quarter" idx="18"/>
          </p:nvPr>
        </p:nvSpPr>
        <p:spPr>
          <a:xfrm>
            <a:off x="4371166" y="4949349"/>
            <a:ext cx="1042632" cy="613542"/>
          </a:xfrm>
          <a:prstGeom prst="rect">
            <a:avLst/>
          </a:prstGeom>
        </p:spPr>
        <p:txBody>
          <a:bodyPr anchor="ctr"/>
          <a:lstStyle>
            <a:lvl1pPr marL="0" indent="0" algn="ctr">
              <a:buNone/>
              <a:defRPr sz="800"/>
            </a:lvl1pPr>
          </a:lstStyle>
          <a:p>
            <a:endParaRPr lang="en-GB" dirty="0"/>
          </a:p>
        </p:txBody>
      </p:sp>
      <p:sp>
        <p:nvSpPr>
          <p:cNvPr id="3" name="Footer Placeholder 3">
            <a:extLst>
              <a:ext uri="{FF2B5EF4-FFF2-40B4-BE49-F238E27FC236}">
                <a16:creationId xmlns:a16="http://schemas.microsoft.com/office/drawing/2014/main" id="{EC15337B-BE57-4B6D-DF48-BFCFA136D470}"/>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1">
                    <a:lumMod val="7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p>
        </p:txBody>
      </p:sp>
      <p:sp>
        <p:nvSpPr>
          <p:cNvPr id="11" name="Text Placeholder 10">
            <a:extLst>
              <a:ext uri="{FF2B5EF4-FFF2-40B4-BE49-F238E27FC236}">
                <a16:creationId xmlns:a16="http://schemas.microsoft.com/office/drawing/2014/main" id="{E637AD56-4072-E414-B4A5-0F06C6373F65}"/>
              </a:ext>
            </a:extLst>
          </p:cNvPr>
          <p:cNvSpPr>
            <a:spLocks noGrp="1"/>
          </p:cNvSpPr>
          <p:nvPr>
            <p:ph type="body" sz="quarter" idx="22"/>
          </p:nvPr>
        </p:nvSpPr>
        <p:spPr>
          <a:xfrm>
            <a:off x="740300" y="2575590"/>
            <a:ext cx="3618976" cy="2554545"/>
          </a:xfrm>
          <a:prstGeom prst="rect">
            <a:avLst/>
          </a:prstGeom>
        </p:spPr>
        <p:txBody>
          <a:bodyPr anchor="ctr"/>
          <a:lstStyle>
            <a:lvl1pPr marL="0" indent="0">
              <a:buNone/>
              <a:defRPr sz="7200" b="1">
                <a:solidFill>
                  <a:schemeClr val="bg2"/>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17" name="Text Placeholder 16">
            <a:extLst>
              <a:ext uri="{FF2B5EF4-FFF2-40B4-BE49-F238E27FC236}">
                <a16:creationId xmlns:a16="http://schemas.microsoft.com/office/drawing/2014/main" id="{E938BC25-60A7-3E1A-9B00-283B9C0A88F1}"/>
              </a:ext>
            </a:extLst>
          </p:cNvPr>
          <p:cNvSpPr>
            <a:spLocks noGrp="1"/>
          </p:cNvSpPr>
          <p:nvPr>
            <p:ph type="body" sz="quarter" idx="23"/>
          </p:nvPr>
        </p:nvSpPr>
        <p:spPr>
          <a:xfrm>
            <a:off x="7059594" y="1985438"/>
            <a:ext cx="4131032" cy="928331"/>
          </a:xfrm>
          <a:prstGeom prst="rect">
            <a:avLst/>
          </a:prstGeom>
        </p:spPr>
        <p:txBody>
          <a:bodyPr anchor="ctr"/>
          <a:lstStyle>
            <a:lvl1pPr marL="0" indent="0">
              <a:lnSpc>
                <a:spcPct val="120000"/>
              </a:lnSpc>
              <a:buFont typeface="Arial" panose="020B0604020202020204" pitchFamily="34" charset="0"/>
              <a:buNone/>
              <a:defRPr sz="20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18" name="Text Placeholder 16">
            <a:extLst>
              <a:ext uri="{FF2B5EF4-FFF2-40B4-BE49-F238E27FC236}">
                <a16:creationId xmlns:a16="http://schemas.microsoft.com/office/drawing/2014/main" id="{F520D97B-B9AF-E442-68B3-700471ACC3EF}"/>
              </a:ext>
            </a:extLst>
          </p:cNvPr>
          <p:cNvSpPr>
            <a:spLocks noGrp="1"/>
          </p:cNvSpPr>
          <p:nvPr>
            <p:ph type="body" sz="quarter" idx="24"/>
          </p:nvPr>
        </p:nvSpPr>
        <p:spPr>
          <a:xfrm>
            <a:off x="6264225" y="3388697"/>
            <a:ext cx="4131032" cy="928331"/>
          </a:xfrm>
          <a:prstGeom prst="rect">
            <a:avLst/>
          </a:prstGeom>
        </p:spPr>
        <p:txBody>
          <a:bodyPr anchor="ctr"/>
          <a:lstStyle>
            <a:lvl1pPr marL="0" indent="0">
              <a:lnSpc>
                <a:spcPct val="120000"/>
              </a:lnSpc>
              <a:buFont typeface="Arial" panose="020B0604020202020204" pitchFamily="34" charset="0"/>
              <a:buNone/>
              <a:defRPr sz="20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19" name="Text Placeholder 16">
            <a:extLst>
              <a:ext uri="{FF2B5EF4-FFF2-40B4-BE49-F238E27FC236}">
                <a16:creationId xmlns:a16="http://schemas.microsoft.com/office/drawing/2014/main" id="{4B6A77C1-52D0-AA73-9F36-255FFF2B46B2}"/>
              </a:ext>
            </a:extLst>
          </p:cNvPr>
          <p:cNvSpPr>
            <a:spLocks noGrp="1"/>
          </p:cNvSpPr>
          <p:nvPr>
            <p:ph type="body" sz="quarter" idx="25"/>
          </p:nvPr>
        </p:nvSpPr>
        <p:spPr>
          <a:xfrm>
            <a:off x="5451775" y="4791955"/>
            <a:ext cx="4131032" cy="928331"/>
          </a:xfrm>
          <a:prstGeom prst="rect">
            <a:avLst/>
          </a:prstGeom>
        </p:spPr>
        <p:txBody>
          <a:bodyPr anchor="ctr"/>
          <a:lstStyle>
            <a:lvl1pPr marL="0" indent="0">
              <a:lnSpc>
                <a:spcPct val="120000"/>
              </a:lnSpc>
              <a:buFont typeface="Arial" panose="020B0604020202020204" pitchFamily="34" charset="0"/>
              <a:buNone/>
              <a:defRPr sz="20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2" name="Text Placeholder 9">
            <a:extLst>
              <a:ext uri="{FF2B5EF4-FFF2-40B4-BE49-F238E27FC236}">
                <a16:creationId xmlns:a16="http://schemas.microsoft.com/office/drawing/2014/main" id="{BFCAB757-F660-579E-5C12-DD7935B4EDE5}"/>
              </a:ext>
            </a:extLst>
          </p:cNvPr>
          <p:cNvSpPr>
            <a:spLocks noGrp="1"/>
          </p:cNvSpPr>
          <p:nvPr>
            <p:ph type="body" sz="quarter" idx="11"/>
          </p:nvPr>
        </p:nvSpPr>
        <p:spPr>
          <a:xfrm>
            <a:off x="323129" y="1055965"/>
            <a:ext cx="10283908" cy="338554"/>
          </a:xfrm>
          <a:prstGeom prst="rect">
            <a:avLst/>
          </a:prstGeom>
        </p:spPr>
        <p:txBody>
          <a:bodyPr/>
          <a:lstStyle>
            <a:lvl1pPr marL="0" indent="0" algn="l" defTabSz="914400" rtl="0" eaLnBrk="1" latinLnBrk="0" hangingPunct="1">
              <a:buNone/>
              <a:defRPr lang="en-US" sz="2400" kern="1200" dirty="0" smtClean="0">
                <a:solidFill>
                  <a:schemeClr val="tx1">
                    <a:lumMod val="75000"/>
                    <a:lumOff val="25000"/>
                  </a:schemeClr>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defRPr lang="en-US" sz="1600" kern="1200" dirty="0" smtClean="0">
                <a:solidFill>
                  <a:schemeClr val="tx1">
                    <a:lumMod val="75000"/>
                    <a:lumOff val="25000"/>
                  </a:schemeClr>
                </a:solidFill>
                <a:latin typeface="+mn-lt"/>
                <a:ea typeface="+mn-ea"/>
                <a:cs typeface="+mn-cs"/>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lvl="0"/>
            <a:endParaRPr lang="de-DE" dirty="0"/>
          </a:p>
        </p:txBody>
      </p:sp>
    </p:spTree>
    <p:extLst>
      <p:ext uri="{BB962C8B-B14F-4D97-AF65-F5344CB8AC3E}">
        <p14:creationId xmlns:p14="http://schemas.microsoft.com/office/powerpoint/2010/main" val="3058437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_Text + Diagram">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A14326F-68A6-7307-60E5-292CD1FC540F}"/>
              </a:ext>
            </a:extLst>
          </p:cNvPr>
          <p:cNvGraphicFramePr>
            <a:graphicFrameLocks noChangeAspect="1"/>
          </p:cNvGraphicFramePr>
          <p:nvPr userDrawn="1">
            <p:custDataLst>
              <p:tags r:id="rId1"/>
            </p:custDataLst>
            <p:extLst>
              <p:ext uri="{D42A27DB-BD31-4B8C-83A1-F6EECF244321}">
                <p14:modId xmlns:p14="http://schemas.microsoft.com/office/powerpoint/2010/main" val="3788284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243E1E3A-6FBE-7944-1215-CD67BBF208BB}"/>
              </a:ext>
            </a:extLst>
          </p:cNvPr>
          <p:cNvSpPr/>
          <p:nvPr userDrawn="1"/>
        </p:nvSpPr>
        <p:spPr>
          <a:xfrm>
            <a:off x="6310586" y="651641"/>
            <a:ext cx="4687616" cy="5554718"/>
          </a:xfrm>
          <a:prstGeom prst="roundRect">
            <a:avLst>
              <a:gd name="adj" fmla="val 3901"/>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prstClr val="black"/>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cxnSp>
        <p:nvCxnSpPr>
          <p:cNvPr id="9" name="Straight Connector 8">
            <a:extLst>
              <a:ext uri="{FF2B5EF4-FFF2-40B4-BE49-F238E27FC236}">
                <a16:creationId xmlns:a16="http://schemas.microsoft.com/office/drawing/2014/main" id="{11F9367F-362E-8197-F963-FE95AED32D6B}"/>
              </a:ext>
            </a:extLst>
          </p:cNvPr>
          <p:cNvCxnSpPr>
            <a:cxnSpLocks/>
          </p:cNvCxnSpPr>
          <p:nvPr/>
        </p:nvCxnSpPr>
        <p:spPr>
          <a:xfrm>
            <a:off x="781944" y="2804858"/>
            <a:ext cx="4494249"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27">
            <a:extLst>
              <a:ext uri="{FF2B5EF4-FFF2-40B4-BE49-F238E27FC236}">
                <a16:creationId xmlns:a16="http://schemas.microsoft.com/office/drawing/2014/main" id="{4AF62A0C-6442-094E-262F-7B1D599138A3}"/>
              </a:ext>
            </a:extLst>
          </p:cNvPr>
          <p:cNvSpPr>
            <a:spLocks noGrp="1"/>
          </p:cNvSpPr>
          <p:nvPr>
            <p:ph type="body" sz="quarter" idx="17"/>
          </p:nvPr>
        </p:nvSpPr>
        <p:spPr>
          <a:xfrm>
            <a:off x="664868" y="1974617"/>
            <a:ext cx="4876275" cy="707886"/>
          </a:xfrm>
          <a:prstGeom prst="rect">
            <a:avLst/>
          </a:prstGeom>
        </p:spPr>
        <p:txBody>
          <a:bodyPr/>
          <a:lstStyle>
            <a:lvl1pPr marL="0" indent="0" algn="l" defTabSz="914400" rtl="0" eaLnBrk="1" latinLnBrk="0" hangingPunct="1">
              <a:lnSpc>
                <a:spcPct val="90000"/>
              </a:lnSpc>
              <a:buNone/>
              <a:defRPr lang="en-GB" sz="4000" b="1" kern="1200" dirty="0">
                <a:solidFill>
                  <a:schemeClr val="accent1"/>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lvl="0"/>
            <a:endParaRPr lang="en-GB" dirty="0"/>
          </a:p>
        </p:txBody>
      </p:sp>
      <p:sp>
        <p:nvSpPr>
          <p:cNvPr id="12" name="Text Placeholder 27">
            <a:extLst>
              <a:ext uri="{FF2B5EF4-FFF2-40B4-BE49-F238E27FC236}">
                <a16:creationId xmlns:a16="http://schemas.microsoft.com/office/drawing/2014/main" id="{8CC9CE78-9F4A-23B9-5504-3590BE3F5EC3}"/>
              </a:ext>
            </a:extLst>
          </p:cNvPr>
          <p:cNvSpPr>
            <a:spLocks noGrp="1"/>
          </p:cNvSpPr>
          <p:nvPr>
            <p:ph type="body" sz="quarter" idx="18"/>
          </p:nvPr>
        </p:nvSpPr>
        <p:spPr>
          <a:xfrm>
            <a:off x="664867" y="3159579"/>
            <a:ext cx="5084292" cy="1723805"/>
          </a:xfrm>
          <a:prstGeom prst="rect">
            <a:avLst/>
          </a:prstGeom>
        </p:spPr>
        <p:txBody>
          <a:bodyPr/>
          <a:lstStyle>
            <a:lvl1pPr marL="0" indent="0" algn="l" defTabSz="914400" rtl="0" eaLnBrk="1" latinLnBrk="0" hangingPunct="1">
              <a:lnSpc>
                <a:spcPct val="120000"/>
              </a:lnSpc>
              <a:buNone/>
              <a:defRPr lang="en-GB" sz="2000" kern="1200" dirty="0">
                <a:solidFill>
                  <a:schemeClr val="tx1">
                    <a:lumMod val="75000"/>
                    <a:lumOff val="2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pPr lvl="0"/>
            <a:endParaRPr lang="en-GB" dirty="0"/>
          </a:p>
        </p:txBody>
      </p:sp>
      <p:sp>
        <p:nvSpPr>
          <p:cNvPr id="15" name="Chart Placeholder 14">
            <a:extLst>
              <a:ext uri="{FF2B5EF4-FFF2-40B4-BE49-F238E27FC236}">
                <a16:creationId xmlns:a16="http://schemas.microsoft.com/office/drawing/2014/main" id="{7C4013BB-3586-0E3D-4C81-C69A7A166191}"/>
              </a:ext>
            </a:extLst>
          </p:cNvPr>
          <p:cNvSpPr>
            <a:spLocks noGrp="1"/>
          </p:cNvSpPr>
          <p:nvPr>
            <p:ph type="chart" sz="quarter" idx="19"/>
          </p:nvPr>
        </p:nvSpPr>
        <p:spPr>
          <a:xfrm>
            <a:off x="6310586" y="651641"/>
            <a:ext cx="4687615" cy="5554718"/>
          </a:xfrm>
          <a:prstGeom prst="rect">
            <a:avLst/>
          </a:prstGeom>
        </p:spPr>
        <p:txBody>
          <a:bodyPr/>
          <a:lstStyle/>
          <a:p>
            <a:endParaRPr lang="en-GB"/>
          </a:p>
        </p:txBody>
      </p:sp>
      <p:sp>
        <p:nvSpPr>
          <p:cNvPr id="2" name="Footer Placeholder 3">
            <a:extLst>
              <a:ext uri="{FF2B5EF4-FFF2-40B4-BE49-F238E27FC236}">
                <a16:creationId xmlns:a16="http://schemas.microsoft.com/office/drawing/2014/main" id="{D3AA5659-FCCB-2258-C430-BCB2CDF90478}"/>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1">
                    <a:lumMod val="7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p>
        </p:txBody>
      </p:sp>
      <p:graphicFrame>
        <p:nvGraphicFramePr>
          <p:cNvPr id="4" name="Chart 3">
            <a:extLst>
              <a:ext uri="{FF2B5EF4-FFF2-40B4-BE49-F238E27FC236}">
                <a16:creationId xmlns:a16="http://schemas.microsoft.com/office/drawing/2014/main" id="{5CD187E3-2FD9-F378-5055-D4CE0FE28684}"/>
              </a:ext>
            </a:extLst>
          </p:cNvPr>
          <p:cNvGraphicFramePr/>
          <p:nvPr userDrawn="1">
            <p:extLst>
              <p:ext uri="{D42A27DB-BD31-4B8C-83A1-F6EECF244321}">
                <p14:modId xmlns:p14="http://schemas.microsoft.com/office/powerpoint/2010/main" val="1172701393"/>
              </p:ext>
            </p:extLst>
          </p:nvPr>
        </p:nvGraphicFramePr>
        <p:xfrm>
          <a:off x="5411078" y="961697"/>
          <a:ext cx="6486632" cy="493460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603881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ent_Diagram + Erläuterun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F18EE5-560B-F512-F45D-60ACBE6F9BC6}"/>
              </a:ext>
            </a:extLst>
          </p:cNvPr>
          <p:cNvGraphicFramePr>
            <a:graphicFrameLocks noChangeAspect="1"/>
          </p:cNvGraphicFramePr>
          <p:nvPr userDrawn="1">
            <p:custDataLst>
              <p:tags r:id="rId1"/>
            </p:custDataLst>
            <p:extLst>
              <p:ext uri="{D42A27DB-BD31-4B8C-83A1-F6EECF244321}">
                <p14:modId xmlns:p14="http://schemas.microsoft.com/office/powerpoint/2010/main" val="2812856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B20EFF45-AF23-527A-74FE-FD2324CEA34A}"/>
              </a:ext>
            </a:extLst>
          </p:cNvPr>
          <p:cNvSpPr>
            <a:spLocks noGrp="1"/>
          </p:cNvSpPr>
          <p:nvPr>
            <p:ph type="body" sz="quarter" idx="10"/>
          </p:nvPr>
        </p:nvSpPr>
        <p:spPr>
          <a:xfrm>
            <a:off x="323129" y="407551"/>
            <a:ext cx="10283909" cy="480131"/>
          </a:xfrm>
          <a:prstGeom prst="rect">
            <a:avLst/>
          </a:prstGeom>
        </p:spPr>
        <p:txBody>
          <a:bodyPr/>
          <a:lstStyle>
            <a:lvl1pPr marL="0" indent="0" algn="l" defTabSz="914400" rtl="0" eaLnBrk="1" latinLnBrk="0" hangingPunct="1">
              <a:lnSpc>
                <a:spcPct val="90000"/>
              </a:lnSpc>
              <a:buNone/>
              <a:defRPr lang="en-US" sz="2800" b="1" kern="1200" dirty="0" smtClean="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lnSpc>
                <a:spcPct val="90000"/>
              </a:lnSpc>
              <a:defRPr lang="en-US" sz="2800" b="1" kern="1200" dirty="0" smtClean="0">
                <a:solidFill>
                  <a:schemeClr val="accent1"/>
                </a:solidFill>
                <a:latin typeface="Arial"/>
                <a:ea typeface="+mn-ea"/>
                <a:cs typeface="+mn-cs"/>
              </a:defRPr>
            </a:lvl2pPr>
            <a:lvl3pPr marL="0" algn="l" defTabSz="914400" rtl="0" eaLnBrk="1" latinLnBrk="0" hangingPunct="1">
              <a:lnSpc>
                <a:spcPct val="90000"/>
              </a:lnSpc>
              <a:defRPr lang="en-US" sz="2800" b="1" kern="1200" dirty="0" smtClean="0">
                <a:solidFill>
                  <a:schemeClr val="accent1"/>
                </a:solidFill>
                <a:latin typeface="Arial"/>
                <a:ea typeface="+mn-ea"/>
                <a:cs typeface="+mn-cs"/>
              </a:defRPr>
            </a:lvl3pPr>
            <a:lvl4pPr marL="0" algn="l" defTabSz="914400" rtl="0" eaLnBrk="1" latinLnBrk="0" hangingPunct="1">
              <a:lnSpc>
                <a:spcPct val="90000"/>
              </a:lnSpc>
              <a:defRPr lang="en-US" sz="2800" b="1" kern="1200" dirty="0" smtClean="0">
                <a:solidFill>
                  <a:schemeClr val="accent1"/>
                </a:solidFill>
                <a:latin typeface="Arial"/>
                <a:ea typeface="+mn-ea"/>
                <a:cs typeface="+mn-cs"/>
              </a:defRPr>
            </a:lvl4pPr>
            <a:lvl5pPr marL="0" algn="l" defTabSz="914400" rtl="0" eaLnBrk="1" latinLnBrk="0" hangingPunct="1">
              <a:lnSpc>
                <a:spcPct val="90000"/>
              </a:lnSpc>
              <a:defRPr lang="de-DE" sz="2800" b="1" kern="1200" dirty="0">
                <a:solidFill>
                  <a:schemeClr val="accent1"/>
                </a:solidFill>
                <a:latin typeface="Arial"/>
                <a:ea typeface="+mn-ea"/>
                <a:cs typeface="+mn-cs"/>
              </a:defRPr>
            </a:lvl5pPr>
          </a:lstStyle>
          <a:p>
            <a:pPr lvl="0"/>
            <a:endParaRPr lang="de-DE" dirty="0"/>
          </a:p>
        </p:txBody>
      </p:sp>
      <p:sp>
        <p:nvSpPr>
          <p:cNvPr id="4" name="Background - Solid">
            <a:extLst>
              <a:ext uri="{FF2B5EF4-FFF2-40B4-BE49-F238E27FC236}">
                <a16:creationId xmlns:a16="http://schemas.microsoft.com/office/drawing/2014/main" id="{841E4FA6-7F3C-2C2D-37F1-7444C6BF7F13}"/>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5">
            <a:extLst>
              <a:ext uri="{FF2B5EF4-FFF2-40B4-BE49-F238E27FC236}">
                <a16:creationId xmlns:a16="http://schemas.microsoft.com/office/drawing/2014/main" id="{4A1036E1-081C-3694-F336-57602AF2D084}"/>
              </a:ext>
            </a:extLst>
          </p:cNvPr>
          <p:cNvSpPr txBox="1">
            <a:spLocks/>
          </p:cNvSpPr>
          <p:nvPr userDrawn="1"/>
        </p:nvSpPr>
        <p:spPr>
          <a:xfrm>
            <a:off x="9141577" y="629920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EB7FA4-D16D-498B-9843-862279835448}" type="slidenum">
              <a:rPr lang="en-GB" sz="1100" b="1" smtClean="0">
                <a:solidFill>
                  <a:schemeClr val="accent1"/>
                </a:solidFill>
                <a:latin typeface="Arial" panose="020B0604020202020204" pitchFamily="34" charset="0"/>
                <a:cs typeface="Arial" panose="020B0604020202020204" pitchFamily="34" charset="0"/>
                <a:sym typeface="Arial" panose="020B0604020202020204" pitchFamily="34" charset="0"/>
              </a:rPr>
              <a:pPr/>
              <a:t>‹Nr.›</a:t>
            </a:fld>
            <a:endParaRPr lang="en-GB" sz="1100" b="1" dirty="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cxnSp>
        <p:nvCxnSpPr>
          <p:cNvPr id="2" name="Straight Connector 1">
            <a:extLst>
              <a:ext uri="{FF2B5EF4-FFF2-40B4-BE49-F238E27FC236}">
                <a16:creationId xmlns:a16="http://schemas.microsoft.com/office/drawing/2014/main" id="{6A7F9501-C153-5FA3-ABB8-30512080E6F0}"/>
              </a:ext>
            </a:extLst>
          </p:cNvPr>
          <p:cNvCxnSpPr>
            <a:cxnSpLocks/>
          </p:cNvCxnSpPr>
          <p:nvPr userDrawn="1"/>
        </p:nvCxnSpPr>
        <p:spPr>
          <a:xfrm>
            <a:off x="431800" y="964407"/>
            <a:ext cx="466407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2321A52-DF5C-C19B-236A-3977604C2F29}"/>
              </a:ext>
            </a:extLst>
          </p:cNvPr>
          <p:cNvSpPr/>
          <p:nvPr userDrawn="1"/>
        </p:nvSpPr>
        <p:spPr>
          <a:xfrm>
            <a:off x="0" y="2264229"/>
            <a:ext cx="4717143" cy="3177266"/>
          </a:xfrm>
          <a:prstGeom prst="rect">
            <a:avLst/>
          </a:prstGeom>
          <a:solidFill>
            <a:schemeClr val="bg2">
              <a:lumMod val="95000"/>
            </a:schemeClr>
          </a:solidFill>
          <a:ln w="2910" cap="flat">
            <a:noFill/>
            <a:prstDash val="solid"/>
            <a:miter/>
          </a:ln>
        </p:spPr>
        <p:txBody>
          <a:bodyPr rtlCol="0" anchor="ctr"/>
          <a:lstStyle/>
          <a:p>
            <a:pPr fontAlgn="auto">
              <a:spcBef>
                <a:spcPts val="0"/>
              </a:spcBef>
              <a:spcAft>
                <a:spcPts val="0"/>
              </a:spcAft>
            </a:pPr>
            <a:endParaRPr lang="en-US"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13" name="Rectangle: Rounded Corners 12">
            <a:extLst>
              <a:ext uri="{FF2B5EF4-FFF2-40B4-BE49-F238E27FC236}">
                <a16:creationId xmlns:a16="http://schemas.microsoft.com/office/drawing/2014/main" id="{74AAA715-0585-25A2-66D7-C5E85C3D1D71}"/>
              </a:ext>
            </a:extLst>
          </p:cNvPr>
          <p:cNvSpPr/>
          <p:nvPr userDrawn="1"/>
        </p:nvSpPr>
        <p:spPr>
          <a:xfrm>
            <a:off x="431800" y="1562100"/>
            <a:ext cx="5748020" cy="4581526"/>
          </a:xfrm>
          <a:prstGeom prst="roundRect">
            <a:avLst>
              <a:gd name="adj" fmla="val 3901"/>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prstClr val="black"/>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17" name="Parallelogram 16">
            <a:extLst>
              <a:ext uri="{FF2B5EF4-FFF2-40B4-BE49-F238E27FC236}">
                <a16:creationId xmlns:a16="http://schemas.microsoft.com/office/drawing/2014/main" id="{A6A17389-C92F-8499-75A9-19AA78AEBD92}"/>
              </a:ext>
            </a:extLst>
          </p:cNvPr>
          <p:cNvSpPr/>
          <p:nvPr/>
        </p:nvSpPr>
        <p:spPr>
          <a:xfrm>
            <a:off x="6420946" y="1801130"/>
            <a:ext cx="703754" cy="414128"/>
          </a:xfrm>
          <a:prstGeom prst="parallelogram">
            <a:avLst>
              <a:gd name="adj" fmla="val 56566"/>
            </a:avLst>
          </a:prstGeom>
          <a:solidFill>
            <a:srgbClr val="FF5C35"/>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6" name="Parallelogram 25">
            <a:extLst>
              <a:ext uri="{FF2B5EF4-FFF2-40B4-BE49-F238E27FC236}">
                <a16:creationId xmlns:a16="http://schemas.microsoft.com/office/drawing/2014/main" id="{87F49895-DB44-5283-E1F2-7A23FF12914A}"/>
              </a:ext>
            </a:extLst>
          </p:cNvPr>
          <p:cNvSpPr/>
          <p:nvPr/>
        </p:nvSpPr>
        <p:spPr>
          <a:xfrm>
            <a:off x="6420946" y="2723464"/>
            <a:ext cx="703754" cy="414128"/>
          </a:xfrm>
          <a:prstGeom prst="parallelogram">
            <a:avLst>
              <a:gd name="adj" fmla="val 56566"/>
            </a:avLst>
          </a:prstGeom>
          <a:solidFill>
            <a:srgbClr val="7A268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1" name="Parallelogram 30">
            <a:extLst>
              <a:ext uri="{FF2B5EF4-FFF2-40B4-BE49-F238E27FC236}">
                <a16:creationId xmlns:a16="http://schemas.microsoft.com/office/drawing/2014/main" id="{7F0C5D9E-B54C-C70D-BF98-7CEA8E7DACD4}"/>
              </a:ext>
            </a:extLst>
          </p:cNvPr>
          <p:cNvSpPr/>
          <p:nvPr/>
        </p:nvSpPr>
        <p:spPr>
          <a:xfrm>
            <a:off x="6420946" y="3645798"/>
            <a:ext cx="703754" cy="414128"/>
          </a:xfrm>
          <a:prstGeom prst="parallelogram">
            <a:avLst>
              <a:gd name="adj" fmla="val 56566"/>
            </a:avLst>
          </a:prstGeom>
          <a:solidFill>
            <a:srgbClr val="EBB700"/>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8" name="Parallelogram 47">
            <a:extLst>
              <a:ext uri="{FF2B5EF4-FFF2-40B4-BE49-F238E27FC236}">
                <a16:creationId xmlns:a16="http://schemas.microsoft.com/office/drawing/2014/main" id="{ACA0BCCF-CEE2-8931-86F9-CAAA48513EF1}"/>
              </a:ext>
            </a:extLst>
          </p:cNvPr>
          <p:cNvSpPr/>
          <p:nvPr/>
        </p:nvSpPr>
        <p:spPr>
          <a:xfrm>
            <a:off x="6420946" y="4568132"/>
            <a:ext cx="703754" cy="414128"/>
          </a:xfrm>
          <a:prstGeom prst="parallelogram">
            <a:avLst>
              <a:gd name="adj" fmla="val 56566"/>
            </a:avLst>
          </a:prstGeom>
          <a:solidFill>
            <a:srgbClr val="407CCA"/>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3" name="Parallelogram 52">
            <a:extLst>
              <a:ext uri="{FF2B5EF4-FFF2-40B4-BE49-F238E27FC236}">
                <a16:creationId xmlns:a16="http://schemas.microsoft.com/office/drawing/2014/main" id="{54091EA7-69BC-B1B1-2AC8-B383F2733DEA}"/>
              </a:ext>
            </a:extLst>
          </p:cNvPr>
          <p:cNvSpPr/>
          <p:nvPr/>
        </p:nvSpPr>
        <p:spPr>
          <a:xfrm>
            <a:off x="6420946" y="5490469"/>
            <a:ext cx="703754" cy="414128"/>
          </a:xfrm>
          <a:prstGeom prst="parallelogram">
            <a:avLst>
              <a:gd name="adj" fmla="val 56566"/>
            </a:avLst>
          </a:prstGeom>
          <a:solidFill>
            <a:srgbClr val="00338D"/>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57" name="Straight Connector 56">
            <a:extLst>
              <a:ext uri="{FF2B5EF4-FFF2-40B4-BE49-F238E27FC236}">
                <a16:creationId xmlns:a16="http://schemas.microsoft.com/office/drawing/2014/main" id="{451BDB58-8782-9383-4FA1-BCA5721D50DC}"/>
              </a:ext>
            </a:extLst>
          </p:cNvPr>
          <p:cNvCxnSpPr>
            <a:cxnSpLocks/>
          </p:cNvCxnSpPr>
          <p:nvPr/>
        </p:nvCxnSpPr>
        <p:spPr>
          <a:xfrm>
            <a:off x="7330440" y="2469361"/>
            <a:ext cx="4423410" cy="0"/>
          </a:xfrm>
          <a:prstGeom prst="line">
            <a:avLst/>
          </a:prstGeom>
          <a:ln w="12700">
            <a:solidFill>
              <a:schemeClr val="bg1">
                <a:lumMod val="75000"/>
                <a:alpha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53ED936-5C72-BF78-A908-2AC1C7416204}"/>
              </a:ext>
            </a:extLst>
          </p:cNvPr>
          <p:cNvCxnSpPr>
            <a:cxnSpLocks/>
          </p:cNvCxnSpPr>
          <p:nvPr/>
        </p:nvCxnSpPr>
        <p:spPr>
          <a:xfrm>
            <a:off x="7330440" y="3391695"/>
            <a:ext cx="4423410" cy="0"/>
          </a:xfrm>
          <a:prstGeom prst="line">
            <a:avLst/>
          </a:prstGeom>
          <a:ln w="12700">
            <a:solidFill>
              <a:schemeClr val="bg1">
                <a:lumMod val="75000"/>
                <a:alpha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EFB83F4-CF8A-5E55-817F-75B6B9D80E6C}"/>
              </a:ext>
            </a:extLst>
          </p:cNvPr>
          <p:cNvCxnSpPr>
            <a:cxnSpLocks/>
          </p:cNvCxnSpPr>
          <p:nvPr/>
        </p:nvCxnSpPr>
        <p:spPr>
          <a:xfrm>
            <a:off x="7330440" y="4314029"/>
            <a:ext cx="4423410" cy="0"/>
          </a:xfrm>
          <a:prstGeom prst="line">
            <a:avLst/>
          </a:prstGeom>
          <a:ln w="12700">
            <a:solidFill>
              <a:schemeClr val="bg1">
                <a:lumMod val="75000"/>
                <a:alpha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02CA040-DAB7-96E2-44AC-007C5781F083}"/>
              </a:ext>
            </a:extLst>
          </p:cNvPr>
          <p:cNvCxnSpPr>
            <a:cxnSpLocks/>
          </p:cNvCxnSpPr>
          <p:nvPr/>
        </p:nvCxnSpPr>
        <p:spPr>
          <a:xfrm>
            <a:off x="7330440" y="5236363"/>
            <a:ext cx="4423410" cy="0"/>
          </a:xfrm>
          <a:prstGeom prst="line">
            <a:avLst/>
          </a:prstGeom>
          <a:ln w="12700">
            <a:solidFill>
              <a:schemeClr val="bg1">
                <a:lumMod val="75000"/>
                <a:alpha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1" name="Chart Placeholder 14">
            <a:extLst>
              <a:ext uri="{FF2B5EF4-FFF2-40B4-BE49-F238E27FC236}">
                <a16:creationId xmlns:a16="http://schemas.microsoft.com/office/drawing/2014/main" id="{7E174C44-2D2C-A0BC-0B13-85C27118A4A1}"/>
              </a:ext>
            </a:extLst>
          </p:cNvPr>
          <p:cNvSpPr>
            <a:spLocks noGrp="1"/>
          </p:cNvSpPr>
          <p:nvPr>
            <p:ph type="chart" sz="quarter" idx="19"/>
          </p:nvPr>
        </p:nvSpPr>
        <p:spPr>
          <a:xfrm>
            <a:off x="431800" y="1562100"/>
            <a:ext cx="5748020" cy="4581526"/>
          </a:xfrm>
          <a:prstGeom prst="rect">
            <a:avLst/>
          </a:prstGeom>
        </p:spPr>
        <p:txBody>
          <a:bodyPr/>
          <a:lstStyle/>
          <a:p>
            <a:endParaRPr lang="en-GB"/>
          </a:p>
        </p:txBody>
      </p:sp>
      <p:sp>
        <p:nvSpPr>
          <p:cNvPr id="3" name="Footer Placeholder 3">
            <a:extLst>
              <a:ext uri="{FF2B5EF4-FFF2-40B4-BE49-F238E27FC236}">
                <a16:creationId xmlns:a16="http://schemas.microsoft.com/office/drawing/2014/main" id="{1916DE52-1A49-6BBD-229D-34FDD9988D30}"/>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1">
                    <a:lumMod val="7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p>
        </p:txBody>
      </p:sp>
      <p:sp>
        <p:nvSpPr>
          <p:cNvPr id="12" name="Text Placeholder 11">
            <a:extLst>
              <a:ext uri="{FF2B5EF4-FFF2-40B4-BE49-F238E27FC236}">
                <a16:creationId xmlns:a16="http://schemas.microsoft.com/office/drawing/2014/main" id="{ABCCF493-A7D6-FB58-45DE-6AF556503D65}"/>
              </a:ext>
            </a:extLst>
          </p:cNvPr>
          <p:cNvSpPr>
            <a:spLocks noGrp="1"/>
          </p:cNvSpPr>
          <p:nvPr>
            <p:ph type="body" sz="quarter" idx="29"/>
          </p:nvPr>
        </p:nvSpPr>
        <p:spPr>
          <a:xfrm>
            <a:off x="7227235" y="1686108"/>
            <a:ext cx="4131030" cy="368049"/>
          </a:xfrm>
          <a:prstGeom prst="rect">
            <a:avLst/>
          </a:prstGeom>
        </p:spPr>
        <p:txBody>
          <a:bodyPr anchor="ctr"/>
          <a:lstStyle>
            <a:lvl1pPr marL="0" indent="0">
              <a:buNone/>
              <a:defRPr sz="2000" b="1">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15" name="Text Placeholder 14">
            <a:extLst>
              <a:ext uri="{FF2B5EF4-FFF2-40B4-BE49-F238E27FC236}">
                <a16:creationId xmlns:a16="http://schemas.microsoft.com/office/drawing/2014/main" id="{A0233B99-E7BF-D748-A0AC-77CC9BC64833}"/>
              </a:ext>
            </a:extLst>
          </p:cNvPr>
          <p:cNvSpPr>
            <a:spLocks noGrp="1"/>
          </p:cNvSpPr>
          <p:nvPr>
            <p:ph type="body" sz="quarter" idx="30"/>
          </p:nvPr>
        </p:nvSpPr>
        <p:spPr>
          <a:xfrm>
            <a:off x="7227235" y="2023529"/>
            <a:ext cx="4131030" cy="306751"/>
          </a:xfrm>
          <a:prstGeom prst="rect">
            <a:avLst/>
          </a:prstGeom>
        </p:spPr>
        <p:txBody>
          <a:bodyPr anchor="ctr"/>
          <a:lstStyle>
            <a:lvl1pPr marL="0" indent="0">
              <a:buNone/>
              <a:defRPr sz="20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16" name="Text Placeholder 14">
            <a:extLst>
              <a:ext uri="{FF2B5EF4-FFF2-40B4-BE49-F238E27FC236}">
                <a16:creationId xmlns:a16="http://schemas.microsoft.com/office/drawing/2014/main" id="{BF38ABAB-0E77-B071-9EF0-7D1843340274}"/>
              </a:ext>
            </a:extLst>
          </p:cNvPr>
          <p:cNvSpPr>
            <a:spLocks noGrp="1"/>
          </p:cNvSpPr>
          <p:nvPr>
            <p:ph type="body" sz="quarter" idx="31"/>
          </p:nvPr>
        </p:nvSpPr>
        <p:spPr>
          <a:xfrm>
            <a:off x="7227235" y="2945863"/>
            <a:ext cx="4131030" cy="306751"/>
          </a:xfrm>
          <a:prstGeom prst="rect">
            <a:avLst/>
          </a:prstGeom>
        </p:spPr>
        <p:txBody>
          <a:bodyPr anchor="ctr"/>
          <a:lstStyle>
            <a:lvl1pPr marL="0" indent="0">
              <a:buNone/>
              <a:defRPr sz="20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18" name="Text Placeholder 14">
            <a:extLst>
              <a:ext uri="{FF2B5EF4-FFF2-40B4-BE49-F238E27FC236}">
                <a16:creationId xmlns:a16="http://schemas.microsoft.com/office/drawing/2014/main" id="{E4288F38-5116-0ABB-490B-D8769AC32234}"/>
              </a:ext>
            </a:extLst>
          </p:cNvPr>
          <p:cNvSpPr>
            <a:spLocks noGrp="1"/>
          </p:cNvSpPr>
          <p:nvPr>
            <p:ph type="body" sz="quarter" idx="32"/>
          </p:nvPr>
        </p:nvSpPr>
        <p:spPr>
          <a:xfrm>
            <a:off x="7227235" y="3868197"/>
            <a:ext cx="4131030" cy="306751"/>
          </a:xfrm>
          <a:prstGeom prst="rect">
            <a:avLst/>
          </a:prstGeom>
        </p:spPr>
        <p:txBody>
          <a:bodyPr anchor="ctr"/>
          <a:lstStyle>
            <a:lvl1pPr marL="0" indent="0">
              <a:buNone/>
              <a:defRPr sz="20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19" name="Text Placeholder 14">
            <a:extLst>
              <a:ext uri="{FF2B5EF4-FFF2-40B4-BE49-F238E27FC236}">
                <a16:creationId xmlns:a16="http://schemas.microsoft.com/office/drawing/2014/main" id="{25AF28E4-EFEF-9F30-BCFF-34C673196AE2}"/>
              </a:ext>
            </a:extLst>
          </p:cNvPr>
          <p:cNvSpPr>
            <a:spLocks noGrp="1"/>
          </p:cNvSpPr>
          <p:nvPr>
            <p:ph type="body" sz="quarter" idx="33"/>
          </p:nvPr>
        </p:nvSpPr>
        <p:spPr>
          <a:xfrm>
            <a:off x="7227235" y="4790531"/>
            <a:ext cx="4131030" cy="306751"/>
          </a:xfrm>
          <a:prstGeom prst="rect">
            <a:avLst/>
          </a:prstGeom>
        </p:spPr>
        <p:txBody>
          <a:bodyPr anchor="ctr"/>
          <a:lstStyle>
            <a:lvl1pPr marL="0" indent="0">
              <a:buNone/>
              <a:defRPr sz="20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20" name="Text Placeholder 14">
            <a:extLst>
              <a:ext uri="{FF2B5EF4-FFF2-40B4-BE49-F238E27FC236}">
                <a16:creationId xmlns:a16="http://schemas.microsoft.com/office/drawing/2014/main" id="{C16AAD9C-DF06-BE90-796F-C30CAF7DB99A}"/>
              </a:ext>
            </a:extLst>
          </p:cNvPr>
          <p:cNvSpPr>
            <a:spLocks noGrp="1"/>
          </p:cNvSpPr>
          <p:nvPr>
            <p:ph type="body" sz="quarter" idx="34"/>
          </p:nvPr>
        </p:nvSpPr>
        <p:spPr>
          <a:xfrm>
            <a:off x="7227235" y="5712868"/>
            <a:ext cx="4131030" cy="306751"/>
          </a:xfrm>
          <a:prstGeom prst="rect">
            <a:avLst/>
          </a:prstGeom>
        </p:spPr>
        <p:txBody>
          <a:bodyPr anchor="ctr"/>
          <a:lstStyle>
            <a:lvl1pPr marL="0" indent="0">
              <a:buNone/>
              <a:defRPr sz="20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21" name="Text Placeholder 11">
            <a:extLst>
              <a:ext uri="{FF2B5EF4-FFF2-40B4-BE49-F238E27FC236}">
                <a16:creationId xmlns:a16="http://schemas.microsoft.com/office/drawing/2014/main" id="{295AE5A8-0A26-9788-80BE-6D1539FE2469}"/>
              </a:ext>
            </a:extLst>
          </p:cNvPr>
          <p:cNvSpPr>
            <a:spLocks noGrp="1"/>
          </p:cNvSpPr>
          <p:nvPr>
            <p:ph type="body" sz="quarter" idx="35"/>
          </p:nvPr>
        </p:nvSpPr>
        <p:spPr>
          <a:xfrm>
            <a:off x="7227235" y="2608442"/>
            <a:ext cx="4131030" cy="368049"/>
          </a:xfrm>
          <a:prstGeom prst="rect">
            <a:avLst/>
          </a:prstGeom>
        </p:spPr>
        <p:txBody>
          <a:bodyPr anchor="ctr"/>
          <a:lstStyle>
            <a:lvl1pPr marL="0" indent="0">
              <a:buNone/>
              <a:defRPr sz="2000" b="1">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22" name="Text Placeholder 11">
            <a:extLst>
              <a:ext uri="{FF2B5EF4-FFF2-40B4-BE49-F238E27FC236}">
                <a16:creationId xmlns:a16="http://schemas.microsoft.com/office/drawing/2014/main" id="{D8727794-C6EB-F739-46D4-A3513E6ABA6C}"/>
              </a:ext>
            </a:extLst>
          </p:cNvPr>
          <p:cNvSpPr>
            <a:spLocks noGrp="1"/>
          </p:cNvSpPr>
          <p:nvPr>
            <p:ph type="body" sz="quarter" idx="36"/>
          </p:nvPr>
        </p:nvSpPr>
        <p:spPr>
          <a:xfrm>
            <a:off x="7227235" y="3530776"/>
            <a:ext cx="4131030" cy="368049"/>
          </a:xfrm>
          <a:prstGeom prst="rect">
            <a:avLst/>
          </a:prstGeom>
        </p:spPr>
        <p:txBody>
          <a:bodyPr anchor="ctr"/>
          <a:lstStyle>
            <a:lvl1pPr marL="0" indent="0">
              <a:buNone/>
              <a:defRPr sz="2000" b="1">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23" name="Text Placeholder 11">
            <a:extLst>
              <a:ext uri="{FF2B5EF4-FFF2-40B4-BE49-F238E27FC236}">
                <a16:creationId xmlns:a16="http://schemas.microsoft.com/office/drawing/2014/main" id="{030B8AFC-4096-57AA-7157-228D94532EBD}"/>
              </a:ext>
            </a:extLst>
          </p:cNvPr>
          <p:cNvSpPr>
            <a:spLocks noGrp="1"/>
          </p:cNvSpPr>
          <p:nvPr>
            <p:ph type="body" sz="quarter" idx="37"/>
          </p:nvPr>
        </p:nvSpPr>
        <p:spPr>
          <a:xfrm>
            <a:off x="7227235" y="4453110"/>
            <a:ext cx="4131030" cy="368049"/>
          </a:xfrm>
          <a:prstGeom prst="rect">
            <a:avLst/>
          </a:prstGeom>
        </p:spPr>
        <p:txBody>
          <a:bodyPr anchor="ctr"/>
          <a:lstStyle>
            <a:lvl1pPr marL="0" indent="0">
              <a:buNone/>
              <a:defRPr sz="2000" b="1">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24" name="Text Placeholder 11">
            <a:extLst>
              <a:ext uri="{FF2B5EF4-FFF2-40B4-BE49-F238E27FC236}">
                <a16:creationId xmlns:a16="http://schemas.microsoft.com/office/drawing/2014/main" id="{A3CE9CE4-EE64-13C8-7DC8-38644D3DB285}"/>
              </a:ext>
            </a:extLst>
          </p:cNvPr>
          <p:cNvSpPr>
            <a:spLocks noGrp="1"/>
          </p:cNvSpPr>
          <p:nvPr>
            <p:ph type="body" sz="quarter" idx="38"/>
          </p:nvPr>
        </p:nvSpPr>
        <p:spPr>
          <a:xfrm>
            <a:off x="7227235" y="5375447"/>
            <a:ext cx="4131030" cy="368049"/>
          </a:xfrm>
          <a:prstGeom prst="rect">
            <a:avLst/>
          </a:prstGeom>
        </p:spPr>
        <p:txBody>
          <a:bodyPr anchor="ctr"/>
          <a:lstStyle>
            <a:lvl1pPr marL="0" indent="0">
              <a:buNone/>
              <a:defRPr sz="2000" b="1">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7" name="Text Placeholder 9">
            <a:extLst>
              <a:ext uri="{FF2B5EF4-FFF2-40B4-BE49-F238E27FC236}">
                <a16:creationId xmlns:a16="http://schemas.microsoft.com/office/drawing/2014/main" id="{231F6335-D781-F7D0-14FB-ECED1146CD62}"/>
              </a:ext>
            </a:extLst>
          </p:cNvPr>
          <p:cNvSpPr>
            <a:spLocks noGrp="1"/>
          </p:cNvSpPr>
          <p:nvPr>
            <p:ph type="body" sz="quarter" idx="11"/>
          </p:nvPr>
        </p:nvSpPr>
        <p:spPr>
          <a:xfrm>
            <a:off x="323129" y="1055965"/>
            <a:ext cx="10283908" cy="338554"/>
          </a:xfrm>
          <a:prstGeom prst="rect">
            <a:avLst/>
          </a:prstGeom>
        </p:spPr>
        <p:txBody>
          <a:bodyPr/>
          <a:lstStyle>
            <a:lvl1pPr marL="0" indent="0" algn="l" defTabSz="914400" rtl="0" eaLnBrk="1" latinLnBrk="0" hangingPunct="1">
              <a:buNone/>
              <a:defRPr lang="en-US" sz="2400" kern="1200" dirty="0" smtClean="0">
                <a:solidFill>
                  <a:schemeClr val="tx1">
                    <a:lumMod val="75000"/>
                    <a:lumOff val="25000"/>
                  </a:schemeClr>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defRPr lang="en-US" sz="1600" kern="1200" dirty="0" smtClean="0">
                <a:solidFill>
                  <a:schemeClr val="tx1">
                    <a:lumMod val="75000"/>
                    <a:lumOff val="25000"/>
                  </a:schemeClr>
                </a:solidFill>
                <a:latin typeface="+mn-lt"/>
                <a:ea typeface="+mn-ea"/>
                <a:cs typeface="+mn-cs"/>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lvl="0"/>
            <a:endParaRPr lang="de-DE" dirty="0"/>
          </a:p>
        </p:txBody>
      </p:sp>
      <p:graphicFrame>
        <p:nvGraphicFramePr>
          <p:cNvPr id="9" name="Chart 8">
            <a:extLst>
              <a:ext uri="{FF2B5EF4-FFF2-40B4-BE49-F238E27FC236}">
                <a16:creationId xmlns:a16="http://schemas.microsoft.com/office/drawing/2014/main" id="{AB5D5848-DC07-AB31-88B5-7047140F15BF}"/>
              </a:ext>
            </a:extLst>
          </p:cNvPr>
          <p:cNvGraphicFramePr/>
          <p:nvPr userDrawn="1">
            <p:extLst>
              <p:ext uri="{D42A27DB-BD31-4B8C-83A1-F6EECF244321}">
                <p14:modId xmlns:p14="http://schemas.microsoft.com/office/powerpoint/2010/main" val="154555756"/>
              </p:ext>
            </p:extLst>
          </p:nvPr>
        </p:nvGraphicFramePr>
        <p:xfrm>
          <a:off x="817924" y="1744717"/>
          <a:ext cx="4975772" cy="4216292"/>
        </p:xfrm>
        <a:graphic>
          <a:graphicData uri="http://schemas.openxmlformats.org/drawingml/2006/chart">
            <c:chart xmlns:c="http://schemas.openxmlformats.org/drawingml/2006/chart" xmlns:r="http://schemas.openxmlformats.org/officeDocument/2006/relationships" r:id="rId5"/>
          </a:graphicData>
        </a:graphic>
      </p:graphicFrame>
      <p:pic>
        <p:nvPicPr>
          <p:cNvPr id="10" name="Picture 9">
            <a:extLst>
              <a:ext uri="{FF2B5EF4-FFF2-40B4-BE49-F238E27FC236}">
                <a16:creationId xmlns:a16="http://schemas.microsoft.com/office/drawing/2014/main" id="{C9A63A4F-6DFA-57D9-9910-E9FA1808EC1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422015" y="6266696"/>
            <a:ext cx="2044957" cy="430131"/>
          </a:xfrm>
          <a:prstGeom prst="rect">
            <a:avLst/>
          </a:prstGeom>
        </p:spPr>
      </p:pic>
    </p:spTree>
    <p:extLst>
      <p:ext uri="{BB962C8B-B14F-4D97-AF65-F5344CB8AC3E}">
        <p14:creationId xmlns:p14="http://schemas.microsoft.com/office/powerpoint/2010/main" val="31517395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_3 Phasen Text + Bi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4AE3B61-BC79-568D-03CF-068BA478DFA6}"/>
              </a:ext>
            </a:extLst>
          </p:cNvPr>
          <p:cNvGraphicFramePr>
            <a:graphicFrameLocks noChangeAspect="1"/>
          </p:cNvGraphicFramePr>
          <p:nvPr userDrawn="1">
            <p:custDataLst>
              <p:tags r:id="rId1"/>
            </p:custDataLst>
            <p:extLst>
              <p:ext uri="{D42A27DB-BD31-4B8C-83A1-F6EECF244321}">
                <p14:modId xmlns:p14="http://schemas.microsoft.com/office/powerpoint/2010/main" val="2080183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B20EFF45-AF23-527A-74FE-FD2324CEA34A}"/>
              </a:ext>
            </a:extLst>
          </p:cNvPr>
          <p:cNvSpPr>
            <a:spLocks noGrp="1"/>
          </p:cNvSpPr>
          <p:nvPr>
            <p:ph type="body" sz="quarter" idx="10"/>
          </p:nvPr>
        </p:nvSpPr>
        <p:spPr>
          <a:xfrm>
            <a:off x="323129" y="407551"/>
            <a:ext cx="10283909" cy="480131"/>
          </a:xfrm>
          <a:prstGeom prst="rect">
            <a:avLst/>
          </a:prstGeom>
        </p:spPr>
        <p:txBody>
          <a:bodyPr/>
          <a:lstStyle>
            <a:lvl1pPr marL="0" indent="0" algn="l" defTabSz="914400" rtl="0" eaLnBrk="1" latinLnBrk="0" hangingPunct="1">
              <a:lnSpc>
                <a:spcPct val="90000"/>
              </a:lnSpc>
              <a:buNone/>
              <a:defRPr lang="en-US" sz="2800" b="1" kern="1200" dirty="0" smtClean="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lnSpc>
                <a:spcPct val="90000"/>
              </a:lnSpc>
              <a:defRPr lang="en-US" sz="2800" b="1" kern="1200" dirty="0" smtClean="0">
                <a:solidFill>
                  <a:schemeClr val="accent1"/>
                </a:solidFill>
                <a:latin typeface="Arial"/>
                <a:ea typeface="+mn-ea"/>
                <a:cs typeface="+mn-cs"/>
              </a:defRPr>
            </a:lvl2pPr>
            <a:lvl3pPr marL="0" algn="l" defTabSz="914400" rtl="0" eaLnBrk="1" latinLnBrk="0" hangingPunct="1">
              <a:lnSpc>
                <a:spcPct val="90000"/>
              </a:lnSpc>
              <a:defRPr lang="en-US" sz="2800" b="1" kern="1200" dirty="0" smtClean="0">
                <a:solidFill>
                  <a:schemeClr val="accent1"/>
                </a:solidFill>
                <a:latin typeface="Arial"/>
                <a:ea typeface="+mn-ea"/>
                <a:cs typeface="+mn-cs"/>
              </a:defRPr>
            </a:lvl3pPr>
            <a:lvl4pPr marL="0" algn="l" defTabSz="914400" rtl="0" eaLnBrk="1" latinLnBrk="0" hangingPunct="1">
              <a:lnSpc>
                <a:spcPct val="90000"/>
              </a:lnSpc>
              <a:defRPr lang="en-US" sz="2800" b="1" kern="1200" dirty="0" smtClean="0">
                <a:solidFill>
                  <a:schemeClr val="accent1"/>
                </a:solidFill>
                <a:latin typeface="Arial"/>
                <a:ea typeface="+mn-ea"/>
                <a:cs typeface="+mn-cs"/>
              </a:defRPr>
            </a:lvl4pPr>
            <a:lvl5pPr marL="0" algn="l" defTabSz="914400" rtl="0" eaLnBrk="1" latinLnBrk="0" hangingPunct="1">
              <a:lnSpc>
                <a:spcPct val="90000"/>
              </a:lnSpc>
              <a:defRPr lang="de-DE" sz="2800" b="1" kern="1200" dirty="0">
                <a:solidFill>
                  <a:schemeClr val="accent1"/>
                </a:solidFill>
                <a:latin typeface="Arial"/>
                <a:ea typeface="+mn-ea"/>
                <a:cs typeface="+mn-cs"/>
              </a:defRPr>
            </a:lvl5pPr>
          </a:lstStyle>
          <a:p>
            <a:pPr lvl="0"/>
            <a:endParaRPr lang="de-DE" dirty="0"/>
          </a:p>
        </p:txBody>
      </p:sp>
      <p:sp>
        <p:nvSpPr>
          <p:cNvPr id="4" name="Background - Solid">
            <a:extLst>
              <a:ext uri="{FF2B5EF4-FFF2-40B4-BE49-F238E27FC236}">
                <a16:creationId xmlns:a16="http://schemas.microsoft.com/office/drawing/2014/main" id="{841E4FA6-7F3C-2C2D-37F1-7444C6BF7F13}"/>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5">
            <a:extLst>
              <a:ext uri="{FF2B5EF4-FFF2-40B4-BE49-F238E27FC236}">
                <a16:creationId xmlns:a16="http://schemas.microsoft.com/office/drawing/2014/main" id="{4A1036E1-081C-3694-F336-57602AF2D084}"/>
              </a:ext>
            </a:extLst>
          </p:cNvPr>
          <p:cNvSpPr txBox="1">
            <a:spLocks/>
          </p:cNvSpPr>
          <p:nvPr userDrawn="1"/>
        </p:nvSpPr>
        <p:spPr>
          <a:xfrm>
            <a:off x="9141577" y="629920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EB7FA4-D16D-498B-9843-862279835448}" type="slidenum">
              <a:rPr lang="en-GB" sz="1100" b="1" smtClean="0">
                <a:solidFill>
                  <a:schemeClr val="accent1"/>
                </a:solidFill>
                <a:latin typeface="Arial" panose="020B0604020202020204" pitchFamily="34" charset="0"/>
                <a:cs typeface="Arial" panose="020B0604020202020204" pitchFamily="34" charset="0"/>
                <a:sym typeface="Arial" panose="020B0604020202020204" pitchFamily="34" charset="0"/>
              </a:rPr>
              <a:pPr/>
              <a:t>‹Nr.›</a:t>
            </a:fld>
            <a:endParaRPr lang="en-GB" sz="1100" b="1" dirty="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cxnSp>
        <p:nvCxnSpPr>
          <p:cNvPr id="2" name="Straight Connector 1">
            <a:extLst>
              <a:ext uri="{FF2B5EF4-FFF2-40B4-BE49-F238E27FC236}">
                <a16:creationId xmlns:a16="http://schemas.microsoft.com/office/drawing/2014/main" id="{6A7F9501-C153-5FA3-ABB8-30512080E6F0}"/>
              </a:ext>
            </a:extLst>
          </p:cNvPr>
          <p:cNvCxnSpPr>
            <a:cxnSpLocks/>
          </p:cNvCxnSpPr>
          <p:nvPr userDrawn="1"/>
        </p:nvCxnSpPr>
        <p:spPr>
          <a:xfrm>
            <a:off x="431800" y="964407"/>
            <a:ext cx="466407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556F70CC-5CEB-BE2C-16D4-D4360B51057C}"/>
              </a:ext>
            </a:extLst>
          </p:cNvPr>
          <p:cNvCxnSpPr>
            <a:cxnSpLocks/>
          </p:cNvCxnSpPr>
          <p:nvPr userDrawn="1"/>
        </p:nvCxnSpPr>
        <p:spPr>
          <a:xfrm>
            <a:off x="3000375" y="2798300"/>
            <a:ext cx="7200900" cy="0"/>
          </a:xfrm>
          <a:prstGeom prst="line">
            <a:avLst/>
          </a:prstGeom>
          <a:ln w="41275">
            <a:solidFill>
              <a:schemeClr val="accent2">
                <a:alpha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7" name="Arrow: Chevron 6">
            <a:extLst>
              <a:ext uri="{FF2B5EF4-FFF2-40B4-BE49-F238E27FC236}">
                <a16:creationId xmlns:a16="http://schemas.microsoft.com/office/drawing/2014/main" id="{51A779A9-07BF-F8EA-2625-327C8D4CD6AC}"/>
              </a:ext>
            </a:extLst>
          </p:cNvPr>
          <p:cNvSpPr/>
          <p:nvPr userDrawn="1"/>
        </p:nvSpPr>
        <p:spPr>
          <a:xfrm>
            <a:off x="431800" y="2241252"/>
            <a:ext cx="3509216" cy="1114096"/>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5" name="Oval 14">
            <a:extLst>
              <a:ext uri="{FF2B5EF4-FFF2-40B4-BE49-F238E27FC236}">
                <a16:creationId xmlns:a16="http://schemas.microsoft.com/office/drawing/2014/main" id="{BB474619-7EFF-C6E5-E196-CB9CD7401F72}"/>
              </a:ext>
            </a:extLst>
          </p:cNvPr>
          <p:cNvSpPr/>
          <p:nvPr/>
        </p:nvSpPr>
        <p:spPr>
          <a:xfrm>
            <a:off x="573754" y="2468766"/>
            <a:ext cx="659068" cy="659068"/>
          </a:xfrm>
          <a:prstGeom prst="ellipse">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prstClr val="black"/>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16" name="Arrow: Chevron 15">
            <a:extLst>
              <a:ext uri="{FF2B5EF4-FFF2-40B4-BE49-F238E27FC236}">
                <a16:creationId xmlns:a16="http://schemas.microsoft.com/office/drawing/2014/main" id="{6F886438-DD93-5C05-3345-85AFFE757084}"/>
              </a:ext>
            </a:extLst>
          </p:cNvPr>
          <p:cNvSpPr/>
          <p:nvPr userDrawn="1"/>
        </p:nvSpPr>
        <p:spPr>
          <a:xfrm>
            <a:off x="4338217" y="2241252"/>
            <a:ext cx="3509216" cy="1114096"/>
          </a:xfrm>
          <a:prstGeom prst="chevron">
            <a:avLst/>
          </a:prstGeom>
          <a:solidFill>
            <a:srgbClr val="407C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 name="Oval 20">
            <a:extLst>
              <a:ext uri="{FF2B5EF4-FFF2-40B4-BE49-F238E27FC236}">
                <a16:creationId xmlns:a16="http://schemas.microsoft.com/office/drawing/2014/main" id="{A859F462-CE8C-CA91-75A7-7671D920E6DD}"/>
              </a:ext>
            </a:extLst>
          </p:cNvPr>
          <p:cNvSpPr/>
          <p:nvPr/>
        </p:nvSpPr>
        <p:spPr>
          <a:xfrm>
            <a:off x="4480171" y="2468766"/>
            <a:ext cx="659068" cy="659068"/>
          </a:xfrm>
          <a:prstGeom prst="ellipse">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prstClr val="black"/>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22" name="Arrow: Chevron 21">
            <a:extLst>
              <a:ext uri="{FF2B5EF4-FFF2-40B4-BE49-F238E27FC236}">
                <a16:creationId xmlns:a16="http://schemas.microsoft.com/office/drawing/2014/main" id="{63D7EFF7-F8C2-C54C-BAC7-7AF399636782}"/>
              </a:ext>
            </a:extLst>
          </p:cNvPr>
          <p:cNvSpPr/>
          <p:nvPr userDrawn="1"/>
        </p:nvSpPr>
        <p:spPr>
          <a:xfrm>
            <a:off x="8244634" y="2241252"/>
            <a:ext cx="3509216" cy="1114096"/>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7" name="Oval 26">
            <a:extLst>
              <a:ext uri="{FF2B5EF4-FFF2-40B4-BE49-F238E27FC236}">
                <a16:creationId xmlns:a16="http://schemas.microsoft.com/office/drawing/2014/main" id="{DCFAD68D-2B46-D542-AE5A-FD108BFC6B49}"/>
              </a:ext>
            </a:extLst>
          </p:cNvPr>
          <p:cNvSpPr/>
          <p:nvPr/>
        </p:nvSpPr>
        <p:spPr>
          <a:xfrm>
            <a:off x="8386588" y="2468766"/>
            <a:ext cx="659068" cy="659068"/>
          </a:xfrm>
          <a:prstGeom prst="ellipse">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prstClr val="black"/>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29" name="Rectangle: Rounded Corners 28">
            <a:extLst>
              <a:ext uri="{FF2B5EF4-FFF2-40B4-BE49-F238E27FC236}">
                <a16:creationId xmlns:a16="http://schemas.microsoft.com/office/drawing/2014/main" id="{09D3CBED-801B-4554-B419-17EEE7EF4AEF}"/>
              </a:ext>
            </a:extLst>
          </p:cNvPr>
          <p:cNvSpPr/>
          <p:nvPr userDrawn="1"/>
        </p:nvSpPr>
        <p:spPr>
          <a:xfrm>
            <a:off x="431801" y="3674403"/>
            <a:ext cx="3027679" cy="1790070"/>
          </a:xfrm>
          <a:prstGeom prst="roundRect">
            <a:avLst>
              <a:gd name="adj" fmla="val 510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3" name="Rectangle: Rounded Corners 32">
            <a:extLst>
              <a:ext uri="{FF2B5EF4-FFF2-40B4-BE49-F238E27FC236}">
                <a16:creationId xmlns:a16="http://schemas.microsoft.com/office/drawing/2014/main" id="{8DFE27D2-4933-DAAB-C579-3A5B893A6BE9}"/>
              </a:ext>
            </a:extLst>
          </p:cNvPr>
          <p:cNvSpPr/>
          <p:nvPr userDrawn="1"/>
        </p:nvSpPr>
        <p:spPr>
          <a:xfrm>
            <a:off x="4338217" y="3674403"/>
            <a:ext cx="3027679" cy="1790070"/>
          </a:xfrm>
          <a:prstGeom prst="roundRect">
            <a:avLst>
              <a:gd name="adj" fmla="val 510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6" name="Rectangle: Rounded Corners 35">
            <a:extLst>
              <a:ext uri="{FF2B5EF4-FFF2-40B4-BE49-F238E27FC236}">
                <a16:creationId xmlns:a16="http://schemas.microsoft.com/office/drawing/2014/main" id="{5A62BEDE-5A81-688A-F2BA-D9D9DA6F03C6}"/>
              </a:ext>
            </a:extLst>
          </p:cNvPr>
          <p:cNvSpPr/>
          <p:nvPr userDrawn="1"/>
        </p:nvSpPr>
        <p:spPr>
          <a:xfrm>
            <a:off x="8244634" y="3674403"/>
            <a:ext cx="3027679" cy="1790070"/>
          </a:xfrm>
          <a:prstGeom prst="roundRect">
            <a:avLst>
              <a:gd name="adj" fmla="val 510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2" name="Picture Placeholder 51">
            <a:extLst>
              <a:ext uri="{FF2B5EF4-FFF2-40B4-BE49-F238E27FC236}">
                <a16:creationId xmlns:a16="http://schemas.microsoft.com/office/drawing/2014/main" id="{5AB32739-F4A5-100C-14A5-2E19BD40B769}"/>
              </a:ext>
            </a:extLst>
          </p:cNvPr>
          <p:cNvSpPr>
            <a:spLocks noGrp="1"/>
          </p:cNvSpPr>
          <p:nvPr userDrawn="1">
            <p:ph type="pic" sz="quarter" idx="27"/>
          </p:nvPr>
        </p:nvSpPr>
        <p:spPr>
          <a:xfrm>
            <a:off x="476713" y="2371725"/>
            <a:ext cx="853150" cy="853150"/>
          </a:xfrm>
          <a:prstGeom prst="rect">
            <a:avLst/>
          </a:prstGeom>
        </p:spPr>
        <p:txBody>
          <a:bodyPr anchor="ctr"/>
          <a:lstStyle>
            <a:lvl1pPr>
              <a:defRPr lang="en-GB" sz="800"/>
            </a:lvl1pPr>
          </a:lstStyle>
          <a:p>
            <a:pPr marL="0" lvl="0" indent="0" algn="ctr">
              <a:buNone/>
            </a:pPr>
            <a:endParaRPr lang="en-GB"/>
          </a:p>
        </p:txBody>
      </p:sp>
      <p:sp>
        <p:nvSpPr>
          <p:cNvPr id="54" name="Picture Placeholder 51">
            <a:extLst>
              <a:ext uri="{FF2B5EF4-FFF2-40B4-BE49-F238E27FC236}">
                <a16:creationId xmlns:a16="http://schemas.microsoft.com/office/drawing/2014/main" id="{67D12971-8F86-D976-E411-492DE0C22EC3}"/>
              </a:ext>
            </a:extLst>
          </p:cNvPr>
          <p:cNvSpPr>
            <a:spLocks noGrp="1"/>
          </p:cNvSpPr>
          <p:nvPr userDrawn="1">
            <p:ph type="pic" sz="quarter" idx="28"/>
          </p:nvPr>
        </p:nvSpPr>
        <p:spPr>
          <a:xfrm>
            <a:off x="4383130" y="2371725"/>
            <a:ext cx="853150" cy="853150"/>
          </a:xfrm>
          <a:prstGeom prst="rect">
            <a:avLst/>
          </a:prstGeom>
        </p:spPr>
        <p:txBody>
          <a:bodyPr anchor="ctr"/>
          <a:lstStyle>
            <a:lvl1pPr>
              <a:defRPr lang="en-GB" sz="800"/>
            </a:lvl1pPr>
          </a:lstStyle>
          <a:p>
            <a:pPr marL="0" lvl="0" indent="0" algn="ctr">
              <a:buNone/>
            </a:pPr>
            <a:endParaRPr lang="en-GB"/>
          </a:p>
        </p:txBody>
      </p:sp>
      <p:sp>
        <p:nvSpPr>
          <p:cNvPr id="55" name="Picture Placeholder 51">
            <a:extLst>
              <a:ext uri="{FF2B5EF4-FFF2-40B4-BE49-F238E27FC236}">
                <a16:creationId xmlns:a16="http://schemas.microsoft.com/office/drawing/2014/main" id="{0812BB59-AA70-E9D2-D0C3-566EC64E4231}"/>
              </a:ext>
            </a:extLst>
          </p:cNvPr>
          <p:cNvSpPr>
            <a:spLocks noGrp="1"/>
          </p:cNvSpPr>
          <p:nvPr userDrawn="1">
            <p:ph type="pic" sz="quarter" idx="29"/>
          </p:nvPr>
        </p:nvSpPr>
        <p:spPr>
          <a:xfrm>
            <a:off x="8289547" y="2371725"/>
            <a:ext cx="853150" cy="853150"/>
          </a:xfrm>
          <a:prstGeom prst="rect">
            <a:avLst/>
          </a:prstGeom>
        </p:spPr>
        <p:txBody>
          <a:bodyPr anchor="ctr"/>
          <a:lstStyle>
            <a:lvl1pPr>
              <a:defRPr lang="en-GB" sz="800"/>
            </a:lvl1pPr>
          </a:lstStyle>
          <a:p>
            <a:pPr marL="0" lvl="0" indent="0" algn="ctr">
              <a:buNone/>
            </a:pPr>
            <a:endParaRPr lang="en-GB"/>
          </a:p>
        </p:txBody>
      </p:sp>
      <p:sp>
        <p:nvSpPr>
          <p:cNvPr id="9" name="Footer Placeholder 3">
            <a:extLst>
              <a:ext uri="{FF2B5EF4-FFF2-40B4-BE49-F238E27FC236}">
                <a16:creationId xmlns:a16="http://schemas.microsoft.com/office/drawing/2014/main" id="{F907CBB2-4680-CABA-D6F9-B8E01C905465}"/>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1">
                    <a:lumMod val="7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p>
        </p:txBody>
      </p:sp>
      <p:sp>
        <p:nvSpPr>
          <p:cNvPr id="17" name="Text Placeholder 16">
            <a:extLst>
              <a:ext uri="{FF2B5EF4-FFF2-40B4-BE49-F238E27FC236}">
                <a16:creationId xmlns:a16="http://schemas.microsoft.com/office/drawing/2014/main" id="{2862AF54-5067-71C8-9D3A-6AF0AB4F5D89}"/>
              </a:ext>
            </a:extLst>
          </p:cNvPr>
          <p:cNvSpPr>
            <a:spLocks noGrp="1"/>
          </p:cNvSpPr>
          <p:nvPr>
            <p:ph type="body" sz="quarter" idx="30"/>
          </p:nvPr>
        </p:nvSpPr>
        <p:spPr>
          <a:xfrm>
            <a:off x="650628" y="3898997"/>
            <a:ext cx="2590027" cy="1340880"/>
          </a:xfrm>
          <a:prstGeom prst="rect">
            <a:avLst/>
          </a:prstGeom>
        </p:spPr>
        <p:txBody>
          <a:bodyPr/>
          <a:lstStyle>
            <a:lvl1pPr marL="0" indent="0" algn="l">
              <a:lnSpc>
                <a:spcPct val="120000"/>
              </a:lnSpc>
              <a:buNone/>
              <a:defRPr sz="20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23" name="Text Placeholder 22">
            <a:extLst>
              <a:ext uri="{FF2B5EF4-FFF2-40B4-BE49-F238E27FC236}">
                <a16:creationId xmlns:a16="http://schemas.microsoft.com/office/drawing/2014/main" id="{50DD1FDA-2330-FD81-0107-DC5E789734E7}"/>
              </a:ext>
            </a:extLst>
          </p:cNvPr>
          <p:cNvSpPr>
            <a:spLocks noGrp="1"/>
          </p:cNvSpPr>
          <p:nvPr>
            <p:ph type="body" sz="quarter" idx="31"/>
          </p:nvPr>
        </p:nvSpPr>
        <p:spPr>
          <a:xfrm>
            <a:off x="1052896" y="2482387"/>
            <a:ext cx="2267024" cy="631826"/>
          </a:xfrm>
          <a:prstGeom prst="rect">
            <a:avLst/>
          </a:prstGeom>
        </p:spPr>
        <p:txBody>
          <a:bodyPr anchor="ctr"/>
          <a:lstStyle>
            <a:lvl1pPr marL="0" indent="0" algn="ctr">
              <a:buFont typeface="Arial" panose="020B0604020202020204" pitchFamily="34" charset="0"/>
              <a:buNone/>
              <a:defRPr sz="2000" b="1">
                <a:solidFill>
                  <a:schemeClr val="bg2"/>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26" name="Text Placeholder 22">
            <a:extLst>
              <a:ext uri="{FF2B5EF4-FFF2-40B4-BE49-F238E27FC236}">
                <a16:creationId xmlns:a16="http://schemas.microsoft.com/office/drawing/2014/main" id="{648B5E07-CAA6-9308-D948-9717BD901842}"/>
              </a:ext>
            </a:extLst>
          </p:cNvPr>
          <p:cNvSpPr>
            <a:spLocks noGrp="1"/>
          </p:cNvSpPr>
          <p:nvPr>
            <p:ph type="body" sz="quarter" idx="32"/>
          </p:nvPr>
        </p:nvSpPr>
        <p:spPr>
          <a:xfrm>
            <a:off x="4959312" y="2482387"/>
            <a:ext cx="2267024" cy="631826"/>
          </a:xfrm>
          <a:prstGeom prst="rect">
            <a:avLst/>
          </a:prstGeom>
        </p:spPr>
        <p:txBody>
          <a:bodyPr anchor="ctr"/>
          <a:lstStyle>
            <a:lvl1pPr marL="0" indent="0" algn="ctr">
              <a:buFont typeface="Arial" panose="020B0604020202020204" pitchFamily="34" charset="0"/>
              <a:buNone/>
              <a:defRPr sz="2000" b="1">
                <a:solidFill>
                  <a:schemeClr val="bg2"/>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28" name="Text Placeholder 22">
            <a:extLst>
              <a:ext uri="{FF2B5EF4-FFF2-40B4-BE49-F238E27FC236}">
                <a16:creationId xmlns:a16="http://schemas.microsoft.com/office/drawing/2014/main" id="{401D2577-6CBF-78D7-D51D-C4B51312D99F}"/>
              </a:ext>
            </a:extLst>
          </p:cNvPr>
          <p:cNvSpPr>
            <a:spLocks noGrp="1"/>
          </p:cNvSpPr>
          <p:nvPr>
            <p:ph type="body" sz="quarter" idx="33"/>
          </p:nvPr>
        </p:nvSpPr>
        <p:spPr>
          <a:xfrm>
            <a:off x="8865730" y="2482387"/>
            <a:ext cx="2267024" cy="631826"/>
          </a:xfrm>
          <a:prstGeom prst="rect">
            <a:avLst/>
          </a:prstGeom>
        </p:spPr>
        <p:txBody>
          <a:bodyPr anchor="ctr"/>
          <a:lstStyle>
            <a:lvl1pPr marL="0" indent="0" algn="ctr">
              <a:buFont typeface="Arial" panose="020B0604020202020204" pitchFamily="34" charset="0"/>
              <a:buNone/>
              <a:defRPr sz="2000" b="1">
                <a:solidFill>
                  <a:schemeClr val="bg2"/>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30" name="Text Placeholder 16">
            <a:extLst>
              <a:ext uri="{FF2B5EF4-FFF2-40B4-BE49-F238E27FC236}">
                <a16:creationId xmlns:a16="http://schemas.microsoft.com/office/drawing/2014/main" id="{23C6BE9C-794F-5DF0-FF03-B7F7515A777D}"/>
              </a:ext>
            </a:extLst>
          </p:cNvPr>
          <p:cNvSpPr>
            <a:spLocks noGrp="1"/>
          </p:cNvSpPr>
          <p:nvPr>
            <p:ph type="body" sz="quarter" idx="34"/>
          </p:nvPr>
        </p:nvSpPr>
        <p:spPr>
          <a:xfrm>
            <a:off x="4557043" y="3898997"/>
            <a:ext cx="2590027" cy="1340880"/>
          </a:xfrm>
          <a:prstGeom prst="rect">
            <a:avLst/>
          </a:prstGeom>
        </p:spPr>
        <p:txBody>
          <a:bodyPr/>
          <a:lstStyle>
            <a:lvl1pPr marL="0" indent="0" algn="l">
              <a:lnSpc>
                <a:spcPct val="120000"/>
              </a:lnSpc>
              <a:buNone/>
              <a:defRPr sz="20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31" name="Text Placeholder 16">
            <a:extLst>
              <a:ext uri="{FF2B5EF4-FFF2-40B4-BE49-F238E27FC236}">
                <a16:creationId xmlns:a16="http://schemas.microsoft.com/office/drawing/2014/main" id="{D851960C-D505-A68A-D634-E6E6EA9AA06C}"/>
              </a:ext>
            </a:extLst>
          </p:cNvPr>
          <p:cNvSpPr>
            <a:spLocks noGrp="1"/>
          </p:cNvSpPr>
          <p:nvPr>
            <p:ph type="body" sz="quarter" idx="35"/>
          </p:nvPr>
        </p:nvSpPr>
        <p:spPr>
          <a:xfrm>
            <a:off x="8463460" y="3898997"/>
            <a:ext cx="2590027" cy="1340880"/>
          </a:xfrm>
          <a:prstGeom prst="rect">
            <a:avLst/>
          </a:prstGeom>
        </p:spPr>
        <p:txBody>
          <a:bodyPr/>
          <a:lstStyle>
            <a:lvl1pPr marL="0" indent="0" algn="l">
              <a:lnSpc>
                <a:spcPct val="120000"/>
              </a:lnSpc>
              <a:buNone/>
              <a:defRPr sz="20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11" name="Text Placeholder 9">
            <a:extLst>
              <a:ext uri="{FF2B5EF4-FFF2-40B4-BE49-F238E27FC236}">
                <a16:creationId xmlns:a16="http://schemas.microsoft.com/office/drawing/2014/main" id="{4CC024F6-1F98-626D-7EE8-25F453E3141A}"/>
              </a:ext>
            </a:extLst>
          </p:cNvPr>
          <p:cNvSpPr>
            <a:spLocks noGrp="1"/>
          </p:cNvSpPr>
          <p:nvPr>
            <p:ph type="body" sz="quarter" idx="11"/>
          </p:nvPr>
        </p:nvSpPr>
        <p:spPr>
          <a:xfrm>
            <a:off x="323129" y="1055965"/>
            <a:ext cx="10283908" cy="338554"/>
          </a:xfrm>
          <a:prstGeom prst="rect">
            <a:avLst/>
          </a:prstGeom>
        </p:spPr>
        <p:txBody>
          <a:bodyPr/>
          <a:lstStyle>
            <a:lvl1pPr marL="0" indent="0" algn="l" defTabSz="914400" rtl="0" eaLnBrk="1" latinLnBrk="0" hangingPunct="1">
              <a:buNone/>
              <a:defRPr lang="en-US" sz="2400" kern="1200" dirty="0" smtClean="0">
                <a:solidFill>
                  <a:schemeClr val="tx1">
                    <a:lumMod val="75000"/>
                    <a:lumOff val="25000"/>
                  </a:schemeClr>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defRPr lang="en-US" sz="1600" kern="1200" dirty="0" smtClean="0">
                <a:solidFill>
                  <a:schemeClr val="tx1">
                    <a:lumMod val="75000"/>
                    <a:lumOff val="25000"/>
                  </a:schemeClr>
                </a:solidFill>
                <a:latin typeface="+mn-lt"/>
                <a:ea typeface="+mn-ea"/>
                <a:cs typeface="+mn-cs"/>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lvl="0"/>
            <a:endParaRPr lang="de-DE" dirty="0"/>
          </a:p>
        </p:txBody>
      </p:sp>
      <p:pic>
        <p:nvPicPr>
          <p:cNvPr id="10" name="Picture 9">
            <a:extLst>
              <a:ext uri="{FF2B5EF4-FFF2-40B4-BE49-F238E27FC236}">
                <a16:creationId xmlns:a16="http://schemas.microsoft.com/office/drawing/2014/main" id="{56BDB59A-89B1-C802-227F-8725FC31F15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22015" y="6266696"/>
            <a:ext cx="2044957" cy="430131"/>
          </a:xfrm>
          <a:prstGeom prst="rect">
            <a:avLst/>
          </a:prstGeom>
        </p:spPr>
      </p:pic>
    </p:spTree>
    <p:extLst>
      <p:ext uri="{BB962C8B-B14F-4D97-AF65-F5344CB8AC3E}">
        <p14:creationId xmlns:p14="http://schemas.microsoft.com/office/powerpoint/2010/main" val="14900537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_3 Textfeld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C54A5F-D654-804B-C617-E94811BD99AF}"/>
              </a:ext>
            </a:extLst>
          </p:cNvPr>
          <p:cNvGraphicFramePr>
            <a:graphicFrameLocks noChangeAspect="1"/>
          </p:cNvGraphicFramePr>
          <p:nvPr userDrawn="1">
            <p:custDataLst>
              <p:tags r:id="rId1"/>
            </p:custDataLst>
            <p:extLst>
              <p:ext uri="{D42A27DB-BD31-4B8C-83A1-F6EECF244321}">
                <p14:modId xmlns:p14="http://schemas.microsoft.com/office/powerpoint/2010/main" val="1569237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B20EFF45-AF23-527A-74FE-FD2324CEA34A}"/>
              </a:ext>
            </a:extLst>
          </p:cNvPr>
          <p:cNvSpPr>
            <a:spLocks noGrp="1"/>
          </p:cNvSpPr>
          <p:nvPr>
            <p:ph type="body" sz="quarter" idx="10"/>
          </p:nvPr>
        </p:nvSpPr>
        <p:spPr>
          <a:xfrm>
            <a:off x="323129" y="407551"/>
            <a:ext cx="10283909" cy="480131"/>
          </a:xfrm>
          <a:prstGeom prst="rect">
            <a:avLst/>
          </a:prstGeom>
        </p:spPr>
        <p:txBody>
          <a:bodyPr/>
          <a:lstStyle>
            <a:lvl1pPr marL="0" indent="0" algn="l" defTabSz="914400" rtl="0" eaLnBrk="1" latinLnBrk="0" hangingPunct="1">
              <a:lnSpc>
                <a:spcPct val="90000"/>
              </a:lnSpc>
              <a:buNone/>
              <a:defRPr lang="en-US" sz="2800" b="1" kern="1200" dirty="0" smtClean="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lnSpc>
                <a:spcPct val="90000"/>
              </a:lnSpc>
              <a:defRPr lang="en-US" sz="2800" b="1" kern="1200" dirty="0" smtClean="0">
                <a:solidFill>
                  <a:schemeClr val="accent1"/>
                </a:solidFill>
                <a:latin typeface="Arial"/>
                <a:ea typeface="+mn-ea"/>
                <a:cs typeface="+mn-cs"/>
              </a:defRPr>
            </a:lvl2pPr>
            <a:lvl3pPr marL="0" algn="l" defTabSz="914400" rtl="0" eaLnBrk="1" latinLnBrk="0" hangingPunct="1">
              <a:lnSpc>
                <a:spcPct val="90000"/>
              </a:lnSpc>
              <a:defRPr lang="en-US" sz="2800" b="1" kern="1200" dirty="0" smtClean="0">
                <a:solidFill>
                  <a:schemeClr val="accent1"/>
                </a:solidFill>
                <a:latin typeface="Arial"/>
                <a:ea typeface="+mn-ea"/>
                <a:cs typeface="+mn-cs"/>
              </a:defRPr>
            </a:lvl3pPr>
            <a:lvl4pPr marL="0" algn="l" defTabSz="914400" rtl="0" eaLnBrk="1" latinLnBrk="0" hangingPunct="1">
              <a:lnSpc>
                <a:spcPct val="90000"/>
              </a:lnSpc>
              <a:defRPr lang="en-US" sz="2800" b="1" kern="1200" dirty="0" smtClean="0">
                <a:solidFill>
                  <a:schemeClr val="accent1"/>
                </a:solidFill>
                <a:latin typeface="Arial"/>
                <a:ea typeface="+mn-ea"/>
                <a:cs typeface="+mn-cs"/>
              </a:defRPr>
            </a:lvl4pPr>
            <a:lvl5pPr marL="0" algn="l" defTabSz="914400" rtl="0" eaLnBrk="1" latinLnBrk="0" hangingPunct="1">
              <a:lnSpc>
                <a:spcPct val="90000"/>
              </a:lnSpc>
              <a:defRPr lang="de-DE" sz="2800" b="1" kern="1200" dirty="0">
                <a:solidFill>
                  <a:schemeClr val="accent1"/>
                </a:solidFill>
                <a:latin typeface="Arial"/>
                <a:ea typeface="+mn-ea"/>
                <a:cs typeface="+mn-cs"/>
              </a:defRPr>
            </a:lvl5pPr>
          </a:lstStyle>
          <a:p>
            <a:pPr lvl="0"/>
            <a:endParaRPr lang="de-DE" dirty="0"/>
          </a:p>
        </p:txBody>
      </p:sp>
      <p:sp>
        <p:nvSpPr>
          <p:cNvPr id="4" name="Background - Solid">
            <a:extLst>
              <a:ext uri="{FF2B5EF4-FFF2-40B4-BE49-F238E27FC236}">
                <a16:creationId xmlns:a16="http://schemas.microsoft.com/office/drawing/2014/main" id="{841E4FA6-7F3C-2C2D-37F1-7444C6BF7F13}"/>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5">
            <a:extLst>
              <a:ext uri="{FF2B5EF4-FFF2-40B4-BE49-F238E27FC236}">
                <a16:creationId xmlns:a16="http://schemas.microsoft.com/office/drawing/2014/main" id="{4A1036E1-081C-3694-F336-57602AF2D084}"/>
              </a:ext>
            </a:extLst>
          </p:cNvPr>
          <p:cNvSpPr txBox="1">
            <a:spLocks/>
          </p:cNvSpPr>
          <p:nvPr userDrawn="1"/>
        </p:nvSpPr>
        <p:spPr>
          <a:xfrm>
            <a:off x="9141577" y="629920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EB7FA4-D16D-498B-9843-862279835448}" type="slidenum">
              <a:rPr lang="en-GB" sz="1100" b="1" smtClean="0">
                <a:solidFill>
                  <a:schemeClr val="accent1"/>
                </a:solidFill>
                <a:latin typeface="Arial" panose="020B0604020202020204" pitchFamily="34" charset="0"/>
                <a:cs typeface="Arial" panose="020B0604020202020204" pitchFamily="34" charset="0"/>
                <a:sym typeface="Arial" panose="020B0604020202020204" pitchFamily="34" charset="0"/>
              </a:rPr>
              <a:pPr/>
              <a:t>‹Nr.›</a:t>
            </a:fld>
            <a:endParaRPr lang="en-GB" sz="1100" b="1" dirty="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pic>
        <p:nvPicPr>
          <p:cNvPr id="6" name="Grafik 5" descr="Ein Bild, das Text, Schrift, Logo, Symbol enthält.&#10;&#10;Automatisch generierte Beschreibung">
            <a:extLst>
              <a:ext uri="{FF2B5EF4-FFF2-40B4-BE49-F238E27FC236}">
                <a16:creationId xmlns:a16="http://schemas.microsoft.com/office/drawing/2014/main" id="{5D52E29C-F809-14F1-E937-9B605189B106}"/>
              </a:ext>
            </a:extLst>
          </p:cNvPr>
          <p:cNvPicPr>
            <a:picLocks noChangeAspect="1"/>
          </p:cNvPicPr>
          <p:nvPr userDrawn="1"/>
        </p:nvPicPr>
        <p:blipFill>
          <a:blip r:embed="rId5" cstate="screen">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422015" y="6287595"/>
            <a:ext cx="2044960" cy="430131"/>
          </a:xfrm>
          <a:prstGeom prst="rect">
            <a:avLst/>
          </a:prstGeom>
        </p:spPr>
      </p:pic>
      <p:cxnSp>
        <p:nvCxnSpPr>
          <p:cNvPr id="2" name="Straight Connector 1">
            <a:extLst>
              <a:ext uri="{FF2B5EF4-FFF2-40B4-BE49-F238E27FC236}">
                <a16:creationId xmlns:a16="http://schemas.microsoft.com/office/drawing/2014/main" id="{6A7F9501-C153-5FA3-ABB8-30512080E6F0}"/>
              </a:ext>
            </a:extLst>
          </p:cNvPr>
          <p:cNvCxnSpPr>
            <a:cxnSpLocks/>
          </p:cNvCxnSpPr>
          <p:nvPr userDrawn="1"/>
        </p:nvCxnSpPr>
        <p:spPr>
          <a:xfrm>
            <a:off x="431800" y="964407"/>
            <a:ext cx="466407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73" name="Slide Number Placeholder 5">
            <a:extLst>
              <a:ext uri="{FF2B5EF4-FFF2-40B4-BE49-F238E27FC236}">
                <a16:creationId xmlns:a16="http://schemas.microsoft.com/office/drawing/2014/main" id="{3BA4B2FE-C7B6-61A9-C29C-4E09A1E94A4A}"/>
              </a:ext>
            </a:extLst>
          </p:cNvPr>
          <p:cNvSpPr txBox="1">
            <a:spLocks/>
          </p:cNvSpPr>
          <p:nvPr userDrawn="1"/>
        </p:nvSpPr>
        <p:spPr>
          <a:xfrm>
            <a:off x="7872455" y="6299200"/>
            <a:ext cx="369212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defTabSz="914400" rtl="0" eaLnBrk="1" latinLnBrk="0" hangingPunct="1"/>
            <a:r>
              <a:rPr lang="de-DE" sz="1000" kern="1200" dirty="0">
                <a:solidFill>
                  <a:schemeClr val="bg1">
                    <a:lumMod val="75000"/>
                  </a:schemeClr>
                </a:solidFill>
                <a:latin typeface="Arial" panose="020B0604020202020204" pitchFamily="34" charset="0"/>
                <a:ea typeface="+mn-ea"/>
                <a:cs typeface="Arial" panose="020B0604020202020204" pitchFamily="34" charset="0"/>
                <a:sym typeface="Arial" panose="020B0604020202020204" pitchFamily="34" charset="0"/>
              </a:rPr>
              <a:t>Footer</a:t>
            </a:r>
          </a:p>
        </p:txBody>
      </p:sp>
      <p:graphicFrame>
        <p:nvGraphicFramePr>
          <p:cNvPr id="9" name="Chart 8">
            <a:extLst>
              <a:ext uri="{FF2B5EF4-FFF2-40B4-BE49-F238E27FC236}">
                <a16:creationId xmlns:a16="http://schemas.microsoft.com/office/drawing/2014/main" id="{39201E97-377C-6CE4-235B-64381F972742}"/>
              </a:ext>
            </a:extLst>
          </p:cNvPr>
          <p:cNvGraphicFramePr/>
          <p:nvPr userDrawn="1">
            <p:extLst>
              <p:ext uri="{D42A27DB-BD31-4B8C-83A1-F6EECF244321}">
                <p14:modId xmlns:p14="http://schemas.microsoft.com/office/powerpoint/2010/main" val="4115584016"/>
              </p:ext>
            </p:extLst>
          </p:nvPr>
        </p:nvGraphicFramePr>
        <p:xfrm>
          <a:off x="-622299" y="3241605"/>
          <a:ext cx="13436598" cy="4029970"/>
        </p:xfrm>
        <a:graphic>
          <a:graphicData uri="http://schemas.openxmlformats.org/drawingml/2006/chart">
            <c:chart xmlns:c="http://schemas.openxmlformats.org/drawingml/2006/chart" xmlns:r="http://schemas.openxmlformats.org/officeDocument/2006/relationships" r:id="rId6"/>
          </a:graphicData>
        </a:graphic>
      </p:graphicFrame>
      <p:sp>
        <p:nvSpPr>
          <p:cNvPr id="11" name="Rectangle: Rounded Corners 10">
            <a:extLst>
              <a:ext uri="{FF2B5EF4-FFF2-40B4-BE49-F238E27FC236}">
                <a16:creationId xmlns:a16="http://schemas.microsoft.com/office/drawing/2014/main" id="{9BCB6E61-7B49-5E6B-688F-20AD78209B53}"/>
              </a:ext>
            </a:extLst>
          </p:cNvPr>
          <p:cNvSpPr/>
          <p:nvPr userDrawn="1"/>
        </p:nvSpPr>
        <p:spPr>
          <a:xfrm>
            <a:off x="431800" y="1562100"/>
            <a:ext cx="3605300" cy="2301240"/>
          </a:xfrm>
          <a:prstGeom prst="roundRect">
            <a:avLst>
              <a:gd name="adj" fmla="val 3974"/>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Freeform: Shape 12">
            <a:extLst>
              <a:ext uri="{FF2B5EF4-FFF2-40B4-BE49-F238E27FC236}">
                <a16:creationId xmlns:a16="http://schemas.microsoft.com/office/drawing/2014/main" id="{88C0C2FE-FE2A-0990-589E-15FEA6706DB6}"/>
              </a:ext>
            </a:extLst>
          </p:cNvPr>
          <p:cNvSpPr/>
          <p:nvPr userDrawn="1"/>
        </p:nvSpPr>
        <p:spPr>
          <a:xfrm>
            <a:off x="431799" y="1562100"/>
            <a:ext cx="3444875" cy="717550"/>
          </a:xfrm>
          <a:custGeom>
            <a:avLst/>
            <a:gdLst>
              <a:gd name="connsiteX0" fmla="*/ 91442 w 3444875"/>
              <a:gd name="connsiteY0" fmla="*/ 0 h 717550"/>
              <a:gd name="connsiteX1" fmla="*/ 555115 w 3444875"/>
              <a:gd name="connsiteY1" fmla="*/ 0 h 717550"/>
              <a:gd name="connsiteX2" fmla="*/ 605471 w 3444875"/>
              <a:gd name="connsiteY2" fmla="*/ 0 h 717550"/>
              <a:gd name="connsiteX3" fmla="*/ 3444875 w 3444875"/>
              <a:gd name="connsiteY3" fmla="*/ 0 h 717550"/>
              <a:gd name="connsiteX4" fmla="*/ 3038986 w 3444875"/>
              <a:gd name="connsiteY4" fmla="*/ 717550 h 717550"/>
              <a:gd name="connsiteX5" fmla="*/ 605471 w 3444875"/>
              <a:gd name="connsiteY5" fmla="*/ 717550 h 717550"/>
              <a:gd name="connsiteX6" fmla="*/ 149226 w 3444875"/>
              <a:gd name="connsiteY6" fmla="*/ 717550 h 717550"/>
              <a:gd name="connsiteX7" fmla="*/ 91442 w 3444875"/>
              <a:gd name="connsiteY7" fmla="*/ 717550 h 717550"/>
              <a:gd name="connsiteX8" fmla="*/ 0 w 3444875"/>
              <a:gd name="connsiteY8" fmla="*/ 626108 h 717550"/>
              <a:gd name="connsiteX9" fmla="*/ 0 w 3444875"/>
              <a:gd name="connsiteY9" fmla="*/ 91442 h 717550"/>
              <a:gd name="connsiteX10" fmla="*/ 91442 w 3444875"/>
              <a:gd name="connsiteY10"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44875" h="717550">
                <a:moveTo>
                  <a:pt x="91442" y="0"/>
                </a:moveTo>
                <a:lnTo>
                  <a:pt x="555115" y="0"/>
                </a:lnTo>
                <a:lnTo>
                  <a:pt x="605471" y="0"/>
                </a:lnTo>
                <a:lnTo>
                  <a:pt x="3444875" y="0"/>
                </a:lnTo>
                <a:lnTo>
                  <a:pt x="3038986" y="717550"/>
                </a:lnTo>
                <a:lnTo>
                  <a:pt x="605471" y="717550"/>
                </a:lnTo>
                <a:lnTo>
                  <a:pt x="149226" y="717550"/>
                </a:lnTo>
                <a:lnTo>
                  <a:pt x="91442" y="717550"/>
                </a:lnTo>
                <a:cubicBezTo>
                  <a:pt x="40940" y="717550"/>
                  <a:pt x="0" y="676610"/>
                  <a:pt x="0" y="626108"/>
                </a:cubicBezTo>
                <a:lnTo>
                  <a:pt x="0" y="91442"/>
                </a:lnTo>
                <a:cubicBezTo>
                  <a:pt x="0" y="40940"/>
                  <a:pt x="40940" y="0"/>
                  <a:pt x="91442" y="0"/>
                </a:cubicBezTo>
                <a:close/>
              </a:path>
            </a:pathLst>
          </a:custGeom>
          <a:solidFill>
            <a:schemeClr val="accent4"/>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3" name="Rectangle: Rounded Corners 22">
            <a:extLst>
              <a:ext uri="{FF2B5EF4-FFF2-40B4-BE49-F238E27FC236}">
                <a16:creationId xmlns:a16="http://schemas.microsoft.com/office/drawing/2014/main" id="{32D52CE9-095D-3777-1223-26396FBC0913}"/>
              </a:ext>
            </a:extLst>
          </p:cNvPr>
          <p:cNvSpPr/>
          <p:nvPr userDrawn="1"/>
        </p:nvSpPr>
        <p:spPr>
          <a:xfrm>
            <a:off x="4284256" y="1562100"/>
            <a:ext cx="3605300" cy="2301240"/>
          </a:xfrm>
          <a:prstGeom prst="roundRect">
            <a:avLst>
              <a:gd name="adj" fmla="val 3974"/>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6" name="Freeform: Shape 25">
            <a:extLst>
              <a:ext uri="{FF2B5EF4-FFF2-40B4-BE49-F238E27FC236}">
                <a16:creationId xmlns:a16="http://schemas.microsoft.com/office/drawing/2014/main" id="{283C26A3-E78E-66AE-EA7D-D1C0A2AC3F2A}"/>
              </a:ext>
            </a:extLst>
          </p:cNvPr>
          <p:cNvSpPr/>
          <p:nvPr userDrawn="1"/>
        </p:nvSpPr>
        <p:spPr>
          <a:xfrm>
            <a:off x="4284255" y="1562100"/>
            <a:ext cx="3444875" cy="717550"/>
          </a:xfrm>
          <a:custGeom>
            <a:avLst/>
            <a:gdLst>
              <a:gd name="connsiteX0" fmla="*/ 91442 w 3444875"/>
              <a:gd name="connsiteY0" fmla="*/ 0 h 717550"/>
              <a:gd name="connsiteX1" fmla="*/ 555115 w 3444875"/>
              <a:gd name="connsiteY1" fmla="*/ 0 h 717550"/>
              <a:gd name="connsiteX2" fmla="*/ 605471 w 3444875"/>
              <a:gd name="connsiteY2" fmla="*/ 0 h 717550"/>
              <a:gd name="connsiteX3" fmla="*/ 3444875 w 3444875"/>
              <a:gd name="connsiteY3" fmla="*/ 0 h 717550"/>
              <a:gd name="connsiteX4" fmla="*/ 3038986 w 3444875"/>
              <a:gd name="connsiteY4" fmla="*/ 717550 h 717550"/>
              <a:gd name="connsiteX5" fmla="*/ 605471 w 3444875"/>
              <a:gd name="connsiteY5" fmla="*/ 717550 h 717550"/>
              <a:gd name="connsiteX6" fmla="*/ 149226 w 3444875"/>
              <a:gd name="connsiteY6" fmla="*/ 717550 h 717550"/>
              <a:gd name="connsiteX7" fmla="*/ 91442 w 3444875"/>
              <a:gd name="connsiteY7" fmla="*/ 717550 h 717550"/>
              <a:gd name="connsiteX8" fmla="*/ 0 w 3444875"/>
              <a:gd name="connsiteY8" fmla="*/ 626108 h 717550"/>
              <a:gd name="connsiteX9" fmla="*/ 0 w 3444875"/>
              <a:gd name="connsiteY9" fmla="*/ 91442 h 717550"/>
              <a:gd name="connsiteX10" fmla="*/ 91442 w 3444875"/>
              <a:gd name="connsiteY10"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44875" h="717550">
                <a:moveTo>
                  <a:pt x="91442" y="0"/>
                </a:moveTo>
                <a:lnTo>
                  <a:pt x="555115" y="0"/>
                </a:lnTo>
                <a:lnTo>
                  <a:pt x="605471" y="0"/>
                </a:lnTo>
                <a:lnTo>
                  <a:pt x="3444875" y="0"/>
                </a:lnTo>
                <a:lnTo>
                  <a:pt x="3038986" y="717550"/>
                </a:lnTo>
                <a:lnTo>
                  <a:pt x="605471" y="717550"/>
                </a:lnTo>
                <a:lnTo>
                  <a:pt x="149226" y="717550"/>
                </a:lnTo>
                <a:lnTo>
                  <a:pt x="91442" y="717550"/>
                </a:lnTo>
                <a:cubicBezTo>
                  <a:pt x="40940" y="717550"/>
                  <a:pt x="0" y="676610"/>
                  <a:pt x="0" y="626108"/>
                </a:cubicBezTo>
                <a:lnTo>
                  <a:pt x="0" y="91442"/>
                </a:lnTo>
                <a:cubicBezTo>
                  <a:pt x="0" y="40940"/>
                  <a:pt x="40940" y="0"/>
                  <a:pt x="91442" y="0"/>
                </a:cubicBezTo>
                <a:close/>
              </a:path>
            </a:pathLst>
          </a:custGeom>
          <a:solidFill>
            <a:schemeClr val="accent2"/>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1" name="Rectangle: Rounded Corners 30">
            <a:extLst>
              <a:ext uri="{FF2B5EF4-FFF2-40B4-BE49-F238E27FC236}">
                <a16:creationId xmlns:a16="http://schemas.microsoft.com/office/drawing/2014/main" id="{A3784D6E-A445-7C6E-0063-F0B5F82C6043}"/>
              </a:ext>
            </a:extLst>
          </p:cNvPr>
          <p:cNvSpPr/>
          <p:nvPr userDrawn="1"/>
        </p:nvSpPr>
        <p:spPr>
          <a:xfrm>
            <a:off x="8136711" y="1562100"/>
            <a:ext cx="3605300" cy="2301240"/>
          </a:xfrm>
          <a:prstGeom prst="roundRect">
            <a:avLst>
              <a:gd name="adj" fmla="val 3974"/>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2" name="Freeform: Shape 31">
            <a:extLst>
              <a:ext uri="{FF2B5EF4-FFF2-40B4-BE49-F238E27FC236}">
                <a16:creationId xmlns:a16="http://schemas.microsoft.com/office/drawing/2014/main" id="{605BE5A8-9B56-D5E6-DBC3-E47996058B38}"/>
              </a:ext>
            </a:extLst>
          </p:cNvPr>
          <p:cNvSpPr/>
          <p:nvPr userDrawn="1"/>
        </p:nvSpPr>
        <p:spPr>
          <a:xfrm>
            <a:off x="8136710" y="1562100"/>
            <a:ext cx="3444875" cy="717550"/>
          </a:xfrm>
          <a:custGeom>
            <a:avLst/>
            <a:gdLst>
              <a:gd name="connsiteX0" fmla="*/ 91442 w 3444875"/>
              <a:gd name="connsiteY0" fmla="*/ 0 h 717550"/>
              <a:gd name="connsiteX1" fmla="*/ 555115 w 3444875"/>
              <a:gd name="connsiteY1" fmla="*/ 0 h 717550"/>
              <a:gd name="connsiteX2" fmla="*/ 605471 w 3444875"/>
              <a:gd name="connsiteY2" fmla="*/ 0 h 717550"/>
              <a:gd name="connsiteX3" fmla="*/ 3444875 w 3444875"/>
              <a:gd name="connsiteY3" fmla="*/ 0 h 717550"/>
              <a:gd name="connsiteX4" fmla="*/ 3038986 w 3444875"/>
              <a:gd name="connsiteY4" fmla="*/ 717550 h 717550"/>
              <a:gd name="connsiteX5" fmla="*/ 605471 w 3444875"/>
              <a:gd name="connsiteY5" fmla="*/ 717550 h 717550"/>
              <a:gd name="connsiteX6" fmla="*/ 149226 w 3444875"/>
              <a:gd name="connsiteY6" fmla="*/ 717550 h 717550"/>
              <a:gd name="connsiteX7" fmla="*/ 91442 w 3444875"/>
              <a:gd name="connsiteY7" fmla="*/ 717550 h 717550"/>
              <a:gd name="connsiteX8" fmla="*/ 0 w 3444875"/>
              <a:gd name="connsiteY8" fmla="*/ 626108 h 717550"/>
              <a:gd name="connsiteX9" fmla="*/ 0 w 3444875"/>
              <a:gd name="connsiteY9" fmla="*/ 91442 h 717550"/>
              <a:gd name="connsiteX10" fmla="*/ 91442 w 3444875"/>
              <a:gd name="connsiteY10"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44875" h="717550">
                <a:moveTo>
                  <a:pt x="91442" y="0"/>
                </a:moveTo>
                <a:lnTo>
                  <a:pt x="555115" y="0"/>
                </a:lnTo>
                <a:lnTo>
                  <a:pt x="605471" y="0"/>
                </a:lnTo>
                <a:lnTo>
                  <a:pt x="3444875" y="0"/>
                </a:lnTo>
                <a:lnTo>
                  <a:pt x="3038986" y="717550"/>
                </a:lnTo>
                <a:lnTo>
                  <a:pt x="605471" y="717550"/>
                </a:lnTo>
                <a:lnTo>
                  <a:pt x="149226" y="717550"/>
                </a:lnTo>
                <a:lnTo>
                  <a:pt x="91442" y="717550"/>
                </a:lnTo>
                <a:cubicBezTo>
                  <a:pt x="40940" y="717550"/>
                  <a:pt x="0" y="676610"/>
                  <a:pt x="0" y="626108"/>
                </a:cubicBezTo>
                <a:lnTo>
                  <a:pt x="0" y="91442"/>
                </a:lnTo>
                <a:cubicBezTo>
                  <a:pt x="0" y="40940"/>
                  <a:pt x="40940" y="0"/>
                  <a:pt x="91442" y="0"/>
                </a:cubicBezTo>
                <a:close/>
              </a:path>
            </a:pathLst>
          </a:custGeom>
          <a:solidFill>
            <a:schemeClr val="accent1"/>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7" name="Slide Number Placeholder 5">
            <a:extLst>
              <a:ext uri="{FF2B5EF4-FFF2-40B4-BE49-F238E27FC236}">
                <a16:creationId xmlns:a16="http://schemas.microsoft.com/office/drawing/2014/main" id="{2B3D06C9-2529-152E-C5F4-E04B50ADE066}"/>
              </a:ext>
            </a:extLst>
          </p:cNvPr>
          <p:cNvSpPr txBox="1">
            <a:spLocks/>
          </p:cNvSpPr>
          <p:nvPr userDrawn="1"/>
        </p:nvSpPr>
        <p:spPr>
          <a:xfrm>
            <a:off x="9293977" y="645160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EB7FA4-D16D-498B-9843-862279835448}" type="slidenum">
              <a:rPr lang="en-GB" sz="1100" b="1" smtClean="0">
                <a:solidFill>
                  <a:schemeClr val="accent4"/>
                </a:solidFill>
                <a:latin typeface="Arial" panose="020B0604020202020204" pitchFamily="34" charset="0"/>
                <a:cs typeface="Arial" panose="020B0604020202020204" pitchFamily="34" charset="0"/>
                <a:sym typeface="Arial" panose="020B0604020202020204" pitchFamily="34" charset="0"/>
              </a:rPr>
              <a:pPr/>
              <a:t>‹Nr.›</a:t>
            </a:fld>
            <a:endParaRPr lang="en-GB" sz="1100" b="1" dirty="0">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
        <p:nvSpPr>
          <p:cNvPr id="7" name="Footer Placeholder 3">
            <a:extLst>
              <a:ext uri="{FF2B5EF4-FFF2-40B4-BE49-F238E27FC236}">
                <a16:creationId xmlns:a16="http://schemas.microsoft.com/office/drawing/2014/main" id="{F4EAF6DC-BB16-9606-5C88-EA1BA49F7A45}"/>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2"/>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p>
        </p:txBody>
      </p:sp>
      <p:sp>
        <p:nvSpPr>
          <p:cNvPr id="14" name="Text Placeholder 16">
            <a:extLst>
              <a:ext uri="{FF2B5EF4-FFF2-40B4-BE49-F238E27FC236}">
                <a16:creationId xmlns:a16="http://schemas.microsoft.com/office/drawing/2014/main" id="{BAC5EBFF-FFF6-9CEF-F092-7AFE5AC25EDD}"/>
              </a:ext>
            </a:extLst>
          </p:cNvPr>
          <p:cNvSpPr>
            <a:spLocks noGrp="1"/>
          </p:cNvSpPr>
          <p:nvPr>
            <p:ph type="body" sz="quarter" idx="30"/>
          </p:nvPr>
        </p:nvSpPr>
        <p:spPr>
          <a:xfrm>
            <a:off x="578561" y="2382618"/>
            <a:ext cx="3311774" cy="1340880"/>
          </a:xfrm>
          <a:prstGeom prst="rect">
            <a:avLst/>
          </a:prstGeom>
        </p:spPr>
        <p:txBody>
          <a:bodyPr/>
          <a:lstStyle>
            <a:lvl1pPr marL="0" indent="0" algn="l">
              <a:lnSpc>
                <a:spcPct val="120000"/>
              </a:lnSpc>
              <a:buNone/>
              <a:defRPr sz="20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15" name="Text Placeholder 16">
            <a:extLst>
              <a:ext uri="{FF2B5EF4-FFF2-40B4-BE49-F238E27FC236}">
                <a16:creationId xmlns:a16="http://schemas.microsoft.com/office/drawing/2014/main" id="{2BAF0E08-4EB3-B618-1697-73B708D822C9}"/>
              </a:ext>
            </a:extLst>
          </p:cNvPr>
          <p:cNvSpPr>
            <a:spLocks noGrp="1"/>
          </p:cNvSpPr>
          <p:nvPr>
            <p:ph type="body" sz="quarter" idx="31"/>
          </p:nvPr>
        </p:nvSpPr>
        <p:spPr>
          <a:xfrm>
            <a:off x="4431019" y="2382618"/>
            <a:ext cx="3311774" cy="1340880"/>
          </a:xfrm>
          <a:prstGeom prst="rect">
            <a:avLst/>
          </a:prstGeom>
        </p:spPr>
        <p:txBody>
          <a:bodyPr/>
          <a:lstStyle>
            <a:lvl1pPr marL="0" indent="0" algn="l">
              <a:lnSpc>
                <a:spcPct val="120000"/>
              </a:lnSpc>
              <a:buNone/>
              <a:defRPr sz="20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16" name="Text Placeholder 16">
            <a:extLst>
              <a:ext uri="{FF2B5EF4-FFF2-40B4-BE49-F238E27FC236}">
                <a16:creationId xmlns:a16="http://schemas.microsoft.com/office/drawing/2014/main" id="{CE541255-8596-F96F-1A72-89CA2427EAE4}"/>
              </a:ext>
            </a:extLst>
          </p:cNvPr>
          <p:cNvSpPr>
            <a:spLocks noGrp="1"/>
          </p:cNvSpPr>
          <p:nvPr>
            <p:ph type="body" sz="quarter" idx="32"/>
          </p:nvPr>
        </p:nvSpPr>
        <p:spPr>
          <a:xfrm>
            <a:off x="8283474" y="2382618"/>
            <a:ext cx="3311774" cy="1340880"/>
          </a:xfrm>
          <a:prstGeom prst="rect">
            <a:avLst/>
          </a:prstGeom>
        </p:spPr>
        <p:txBody>
          <a:bodyPr/>
          <a:lstStyle>
            <a:lvl1pPr marL="0" indent="0" algn="l">
              <a:lnSpc>
                <a:spcPct val="120000"/>
              </a:lnSpc>
              <a:buNone/>
              <a:defRPr sz="20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17" name="Text Placeholder 22">
            <a:extLst>
              <a:ext uri="{FF2B5EF4-FFF2-40B4-BE49-F238E27FC236}">
                <a16:creationId xmlns:a16="http://schemas.microsoft.com/office/drawing/2014/main" id="{66F1E67F-D7AC-87FC-6D33-70250E553D97}"/>
              </a:ext>
            </a:extLst>
          </p:cNvPr>
          <p:cNvSpPr>
            <a:spLocks noGrp="1"/>
          </p:cNvSpPr>
          <p:nvPr>
            <p:ph type="body" sz="quarter" idx="33"/>
          </p:nvPr>
        </p:nvSpPr>
        <p:spPr>
          <a:xfrm>
            <a:off x="578562" y="1721494"/>
            <a:ext cx="2831387" cy="398764"/>
          </a:xfrm>
          <a:prstGeom prst="rect">
            <a:avLst/>
          </a:prstGeom>
        </p:spPr>
        <p:txBody>
          <a:bodyPr anchor="ctr"/>
          <a:lstStyle>
            <a:lvl1pPr marL="0" indent="0" algn="l">
              <a:buFont typeface="Arial" panose="020B0604020202020204" pitchFamily="34" charset="0"/>
              <a:buNone/>
              <a:defRPr sz="2000" b="1">
                <a:solidFill>
                  <a:schemeClr val="bg2"/>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18" name="Text Placeholder 22">
            <a:extLst>
              <a:ext uri="{FF2B5EF4-FFF2-40B4-BE49-F238E27FC236}">
                <a16:creationId xmlns:a16="http://schemas.microsoft.com/office/drawing/2014/main" id="{1CF0CC16-2765-05A7-364C-3F588AD75797}"/>
              </a:ext>
            </a:extLst>
          </p:cNvPr>
          <p:cNvSpPr>
            <a:spLocks noGrp="1"/>
          </p:cNvSpPr>
          <p:nvPr>
            <p:ph type="body" sz="quarter" idx="34"/>
          </p:nvPr>
        </p:nvSpPr>
        <p:spPr>
          <a:xfrm>
            <a:off x="4431019" y="1721494"/>
            <a:ext cx="2831387" cy="398764"/>
          </a:xfrm>
          <a:prstGeom prst="rect">
            <a:avLst/>
          </a:prstGeom>
        </p:spPr>
        <p:txBody>
          <a:bodyPr anchor="ctr"/>
          <a:lstStyle>
            <a:lvl1pPr marL="0" indent="0" algn="l">
              <a:buFont typeface="Arial" panose="020B0604020202020204" pitchFamily="34" charset="0"/>
              <a:buNone/>
              <a:defRPr sz="2000" b="1">
                <a:solidFill>
                  <a:schemeClr val="bg2"/>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19" name="Text Placeholder 22">
            <a:extLst>
              <a:ext uri="{FF2B5EF4-FFF2-40B4-BE49-F238E27FC236}">
                <a16:creationId xmlns:a16="http://schemas.microsoft.com/office/drawing/2014/main" id="{300F2E8D-3D5B-B675-5FE0-CA54CB077854}"/>
              </a:ext>
            </a:extLst>
          </p:cNvPr>
          <p:cNvSpPr>
            <a:spLocks noGrp="1"/>
          </p:cNvSpPr>
          <p:nvPr>
            <p:ph type="body" sz="quarter" idx="35"/>
          </p:nvPr>
        </p:nvSpPr>
        <p:spPr>
          <a:xfrm>
            <a:off x="8283474" y="1721494"/>
            <a:ext cx="2831387" cy="398764"/>
          </a:xfrm>
          <a:prstGeom prst="rect">
            <a:avLst/>
          </a:prstGeom>
        </p:spPr>
        <p:txBody>
          <a:bodyPr anchor="ctr"/>
          <a:lstStyle>
            <a:lvl1pPr marL="0" indent="0" algn="l">
              <a:buFont typeface="Arial" panose="020B0604020202020204" pitchFamily="34" charset="0"/>
              <a:buNone/>
              <a:defRPr sz="2000" b="1">
                <a:solidFill>
                  <a:schemeClr val="bg2"/>
                </a:solidFill>
                <a:latin typeface="Arial" panose="020B0604020202020204" pitchFamily="34" charset="0"/>
                <a:cs typeface="Arial" panose="020B0604020202020204" pitchFamily="34" charset="0"/>
                <a:sym typeface="Arial" panose="020B0604020202020204" pitchFamily="34" charset="0"/>
              </a:defRPr>
            </a:lvl1pPr>
          </a:lstStyle>
          <a:p>
            <a:pPr lvl="0"/>
            <a:endParaRPr lang="en-US" dirty="0"/>
          </a:p>
        </p:txBody>
      </p:sp>
      <p:sp>
        <p:nvSpPr>
          <p:cNvPr id="12" name="Text Placeholder 9">
            <a:extLst>
              <a:ext uri="{FF2B5EF4-FFF2-40B4-BE49-F238E27FC236}">
                <a16:creationId xmlns:a16="http://schemas.microsoft.com/office/drawing/2014/main" id="{A891A567-E647-877B-9CBC-8642B4B7ADC2}"/>
              </a:ext>
            </a:extLst>
          </p:cNvPr>
          <p:cNvSpPr>
            <a:spLocks noGrp="1"/>
          </p:cNvSpPr>
          <p:nvPr>
            <p:ph type="body" sz="quarter" idx="11"/>
          </p:nvPr>
        </p:nvSpPr>
        <p:spPr>
          <a:xfrm>
            <a:off x="323129" y="1055965"/>
            <a:ext cx="10283908" cy="338554"/>
          </a:xfrm>
          <a:prstGeom prst="rect">
            <a:avLst/>
          </a:prstGeom>
        </p:spPr>
        <p:txBody>
          <a:bodyPr/>
          <a:lstStyle>
            <a:lvl1pPr marL="0" indent="0" algn="l" defTabSz="914400" rtl="0" eaLnBrk="1" latinLnBrk="0" hangingPunct="1">
              <a:buNone/>
              <a:defRPr lang="en-US" sz="2400" kern="1200" dirty="0" smtClean="0">
                <a:solidFill>
                  <a:schemeClr val="tx1">
                    <a:lumMod val="75000"/>
                    <a:lumOff val="25000"/>
                  </a:schemeClr>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defRPr lang="en-US" sz="1600" kern="1200" dirty="0" smtClean="0">
                <a:solidFill>
                  <a:schemeClr val="tx1">
                    <a:lumMod val="75000"/>
                    <a:lumOff val="25000"/>
                  </a:schemeClr>
                </a:solidFill>
                <a:latin typeface="+mn-lt"/>
                <a:ea typeface="+mn-ea"/>
                <a:cs typeface="+mn-cs"/>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lvl="0"/>
            <a:endParaRPr lang="de-DE" dirty="0"/>
          </a:p>
        </p:txBody>
      </p:sp>
      <p:pic>
        <p:nvPicPr>
          <p:cNvPr id="10" name="Picture 9" descr="A black and white sign with white text&#10;&#10;Description automatically generated">
            <a:extLst>
              <a:ext uri="{FF2B5EF4-FFF2-40B4-BE49-F238E27FC236}">
                <a16:creationId xmlns:a16="http://schemas.microsoft.com/office/drawing/2014/main" id="{E82CE4B2-F1A1-85AB-3845-FCE7BA832A75}"/>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422015" y="6287595"/>
            <a:ext cx="2044952" cy="430130"/>
          </a:xfrm>
          <a:prstGeom prst="rect">
            <a:avLst/>
          </a:prstGeom>
        </p:spPr>
      </p:pic>
    </p:spTree>
    <p:extLst>
      <p:ext uri="{BB962C8B-B14F-4D97-AF65-F5344CB8AC3E}">
        <p14:creationId xmlns:p14="http://schemas.microsoft.com/office/powerpoint/2010/main" val="13695971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ent_große Zah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DD4806-14E7-FB93-DB5D-59A486822CDA}"/>
              </a:ext>
            </a:extLst>
          </p:cNvPr>
          <p:cNvGraphicFramePr>
            <a:graphicFrameLocks noChangeAspect="1"/>
          </p:cNvGraphicFramePr>
          <p:nvPr userDrawn="1">
            <p:custDataLst>
              <p:tags r:id="rId1"/>
            </p:custDataLst>
            <p:extLst>
              <p:ext uri="{D42A27DB-BD31-4B8C-83A1-F6EECF244321}">
                <p14:modId xmlns:p14="http://schemas.microsoft.com/office/powerpoint/2010/main" val="3928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CB1539C4-EAB2-B530-D05B-2DB1921EDBCF}"/>
              </a:ext>
            </a:extLst>
          </p:cNvPr>
          <p:cNvPicPr>
            <a:picLocks noChangeAspect="1"/>
          </p:cNvPicPr>
          <p:nvPr userDrawn="1"/>
        </p:nvPicPr>
        <p:blipFill>
          <a:blip r:embed="rId5"/>
          <a:stretch>
            <a:fillRect/>
          </a:stretch>
        </p:blipFill>
        <p:spPr>
          <a:xfrm>
            <a:off x="-1" y="0"/>
            <a:ext cx="12192001" cy="6858000"/>
          </a:xfrm>
          <a:prstGeom prst="rect">
            <a:avLst/>
          </a:prstGeom>
        </p:spPr>
      </p:pic>
      <p:sp>
        <p:nvSpPr>
          <p:cNvPr id="2" name="Background - Overlay">
            <a:extLst>
              <a:ext uri="{FF2B5EF4-FFF2-40B4-BE49-F238E27FC236}">
                <a16:creationId xmlns:a16="http://schemas.microsoft.com/office/drawing/2014/main" id="{75D88D43-51A3-CB03-DF88-F977E9D6687D}"/>
              </a:ext>
            </a:extLst>
          </p:cNvPr>
          <p:cNvSpPr/>
          <p:nvPr userDrawn="1"/>
        </p:nvSpPr>
        <p:spPr>
          <a:xfrm>
            <a:off x="-1" y="-1"/>
            <a:ext cx="12192000" cy="6858000"/>
          </a:xfrm>
          <a:prstGeom prst="rect">
            <a:avLst/>
          </a:prstGeom>
          <a:gradFill flip="none" rotWithShape="0">
            <a:gsLst>
              <a:gs pos="0">
                <a:srgbClr val="00338D">
                  <a:alpha val="90980"/>
                </a:srgbClr>
              </a:gs>
              <a:gs pos="100000">
                <a:srgbClr val="7A2582">
                  <a:alpha val="9098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lvl="0" algn="ctr"/>
            <a:endParaRPr lang="en-US" dirty="0">
              <a:solidFill>
                <a:prstClr val="white">
                  <a:alpha val="44000"/>
                </a:prstClr>
              </a:solidFill>
              <a:latin typeface="Arial" panose="020B0604020202020204" pitchFamily="34" charset="0"/>
              <a:cs typeface="Arial" panose="020B0604020202020204" pitchFamily="34" charset="0"/>
              <a:sym typeface="Arial" panose="020B0604020202020204" pitchFamily="34" charset="0"/>
            </a:endParaRPr>
          </a:p>
        </p:txBody>
      </p:sp>
      <p:sp>
        <p:nvSpPr>
          <p:cNvPr id="4" name="Background - Solid">
            <a:extLst>
              <a:ext uri="{FF2B5EF4-FFF2-40B4-BE49-F238E27FC236}">
                <a16:creationId xmlns:a16="http://schemas.microsoft.com/office/drawing/2014/main" id="{841E4FA6-7F3C-2C2D-37F1-7444C6BF7F13}"/>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2" name="Straight Connector 11">
            <a:extLst>
              <a:ext uri="{FF2B5EF4-FFF2-40B4-BE49-F238E27FC236}">
                <a16:creationId xmlns:a16="http://schemas.microsoft.com/office/drawing/2014/main" id="{B1EBC0A7-658A-E948-BD35-974DDF264273}"/>
              </a:ext>
            </a:extLst>
          </p:cNvPr>
          <p:cNvCxnSpPr>
            <a:cxnSpLocks/>
          </p:cNvCxnSpPr>
          <p:nvPr userDrawn="1"/>
        </p:nvCxnSpPr>
        <p:spPr>
          <a:xfrm>
            <a:off x="4754154" y="2460020"/>
            <a:ext cx="2683692"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Text Placeholder 27">
            <a:extLst>
              <a:ext uri="{FF2B5EF4-FFF2-40B4-BE49-F238E27FC236}">
                <a16:creationId xmlns:a16="http://schemas.microsoft.com/office/drawing/2014/main" id="{880B389D-7A68-2145-C3A2-F806E24F8540}"/>
              </a:ext>
            </a:extLst>
          </p:cNvPr>
          <p:cNvSpPr>
            <a:spLocks noGrp="1"/>
          </p:cNvSpPr>
          <p:nvPr>
            <p:ph type="body" sz="quarter" idx="17"/>
          </p:nvPr>
        </p:nvSpPr>
        <p:spPr>
          <a:xfrm>
            <a:off x="923921" y="1648998"/>
            <a:ext cx="10344150" cy="701731"/>
          </a:xfrm>
          <a:prstGeom prst="rect">
            <a:avLst/>
          </a:prstGeom>
        </p:spPr>
        <p:txBody>
          <a:bodyPr/>
          <a:lstStyle>
            <a:lvl1pPr marL="0" indent="0" algn="ctr" defTabSz="914400" rtl="0" eaLnBrk="1" latinLnBrk="0" hangingPunct="1">
              <a:lnSpc>
                <a:spcPct val="90000"/>
              </a:lnSpc>
              <a:buNone/>
              <a:defRPr kumimoji="0" lang="en-GB" sz="4400" b="1" i="0" u="none" strike="noStrike" kern="1200" cap="none" spc="0" normalizeH="0" baseline="0" dirty="0">
                <a:ln>
                  <a:noFill/>
                </a:ln>
                <a:solidFill>
                  <a:schemeClr val="bg2"/>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GB" dirty="0"/>
          </a:p>
        </p:txBody>
      </p:sp>
      <p:sp>
        <p:nvSpPr>
          <p:cNvPr id="22" name="Text Placeholder 27">
            <a:extLst>
              <a:ext uri="{FF2B5EF4-FFF2-40B4-BE49-F238E27FC236}">
                <a16:creationId xmlns:a16="http://schemas.microsoft.com/office/drawing/2014/main" id="{210DA406-A82C-3855-D45C-3E434A680CD3}"/>
              </a:ext>
            </a:extLst>
          </p:cNvPr>
          <p:cNvSpPr>
            <a:spLocks noGrp="1"/>
          </p:cNvSpPr>
          <p:nvPr>
            <p:ph type="body" sz="quarter" idx="18"/>
          </p:nvPr>
        </p:nvSpPr>
        <p:spPr>
          <a:xfrm>
            <a:off x="923921" y="4958543"/>
            <a:ext cx="10344150" cy="535531"/>
          </a:xfrm>
          <a:prstGeom prst="rect">
            <a:avLst/>
          </a:prstGeom>
        </p:spPr>
        <p:txBody>
          <a:bodyPr/>
          <a:lstStyle>
            <a:lvl1pPr marL="0" indent="0" algn="ctr" defTabSz="914400" rtl="0" eaLnBrk="1" latinLnBrk="0" hangingPunct="1">
              <a:lnSpc>
                <a:spcPct val="90000"/>
              </a:lnSpc>
              <a:buNone/>
              <a:defRPr kumimoji="0" lang="en-GB" sz="3200" b="1"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GB" dirty="0"/>
          </a:p>
        </p:txBody>
      </p:sp>
      <p:sp>
        <p:nvSpPr>
          <p:cNvPr id="23" name="Text Placeholder 27">
            <a:extLst>
              <a:ext uri="{FF2B5EF4-FFF2-40B4-BE49-F238E27FC236}">
                <a16:creationId xmlns:a16="http://schemas.microsoft.com/office/drawing/2014/main" id="{7081AE76-6A03-1A7F-6A0F-16345FD7560F}"/>
              </a:ext>
            </a:extLst>
          </p:cNvPr>
          <p:cNvSpPr>
            <a:spLocks noGrp="1"/>
          </p:cNvSpPr>
          <p:nvPr>
            <p:ph type="body" sz="quarter" idx="19"/>
          </p:nvPr>
        </p:nvSpPr>
        <p:spPr>
          <a:xfrm>
            <a:off x="923921" y="3003715"/>
            <a:ext cx="10344150" cy="1862048"/>
          </a:xfrm>
          <a:prstGeom prst="rect">
            <a:avLst/>
          </a:prstGeom>
        </p:spPr>
        <p:txBody>
          <a:bodyPr/>
          <a:lstStyle>
            <a:lvl1pPr marL="0" indent="0" algn="ctr" defTabSz="914400" rtl="0" eaLnBrk="1" latinLnBrk="0" hangingPunct="1">
              <a:lnSpc>
                <a:spcPct val="90000"/>
              </a:lnSpc>
              <a:buNone/>
              <a:defRPr kumimoji="0" lang="en-GB" sz="11500" b="1"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dirty="0"/>
          </a:p>
        </p:txBody>
      </p:sp>
      <p:sp>
        <p:nvSpPr>
          <p:cNvPr id="6" name="Footer Placeholder 3">
            <a:extLst>
              <a:ext uri="{FF2B5EF4-FFF2-40B4-BE49-F238E27FC236}">
                <a16:creationId xmlns:a16="http://schemas.microsoft.com/office/drawing/2014/main" id="{149B1D00-DBD9-5C76-28BA-63EC6B616950}"/>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2"/>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p>
        </p:txBody>
      </p:sp>
      <p:pic>
        <p:nvPicPr>
          <p:cNvPr id="7" name="Picture 6" descr="A black and white sign with white text&#10;&#10;Description automatically generated">
            <a:extLst>
              <a:ext uri="{FF2B5EF4-FFF2-40B4-BE49-F238E27FC236}">
                <a16:creationId xmlns:a16="http://schemas.microsoft.com/office/drawing/2014/main" id="{B4A8339F-E0B8-A193-DB18-8B2EEF5351F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911601" y="491815"/>
            <a:ext cx="4368799" cy="918922"/>
          </a:xfrm>
          <a:prstGeom prst="rect">
            <a:avLst/>
          </a:prstGeom>
        </p:spPr>
      </p:pic>
    </p:spTree>
    <p:extLst>
      <p:ext uri="{BB962C8B-B14F-4D97-AF65-F5344CB8AC3E}">
        <p14:creationId xmlns:p14="http://schemas.microsoft.com/office/powerpoint/2010/main" val="26025584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ent_weltkart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21EEE70-350F-3E4A-AE1E-F6523067A923}"/>
              </a:ext>
            </a:extLst>
          </p:cNvPr>
          <p:cNvGraphicFramePr>
            <a:graphicFrameLocks noChangeAspect="1"/>
          </p:cNvGraphicFramePr>
          <p:nvPr userDrawn="1">
            <p:custDataLst>
              <p:tags r:id="rId1"/>
            </p:custDataLst>
            <p:extLst>
              <p:ext uri="{D42A27DB-BD31-4B8C-83A1-F6EECF244321}">
                <p14:modId xmlns:p14="http://schemas.microsoft.com/office/powerpoint/2010/main" val="243785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B20EFF45-AF23-527A-74FE-FD2324CEA34A}"/>
              </a:ext>
            </a:extLst>
          </p:cNvPr>
          <p:cNvSpPr>
            <a:spLocks noGrp="1"/>
          </p:cNvSpPr>
          <p:nvPr>
            <p:ph type="body" sz="quarter" idx="10"/>
          </p:nvPr>
        </p:nvSpPr>
        <p:spPr>
          <a:xfrm>
            <a:off x="323129" y="407551"/>
            <a:ext cx="10283909" cy="480131"/>
          </a:xfrm>
          <a:prstGeom prst="rect">
            <a:avLst/>
          </a:prstGeom>
        </p:spPr>
        <p:txBody>
          <a:bodyPr/>
          <a:lstStyle>
            <a:lvl1pPr marL="0" indent="0" algn="l" defTabSz="914400" rtl="0" eaLnBrk="1" latinLnBrk="0" hangingPunct="1">
              <a:lnSpc>
                <a:spcPct val="90000"/>
              </a:lnSpc>
              <a:buNone/>
              <a:defRPr lang="en-US" sz="2800" b="1" kern="1200" dirty="0" smtClean="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lnSpc>
                <a:spcPct val="90000"/>
              </a:lnSpc>
              <a:defRPr lang="en-US" sz="2800" b="1" kern="1200" dirty="0" smtClean="0">
                <a:solidFill>
                  <a:schemeClr val="accent1"/>
                </a:solidFill>
                <a:latin typeface="Arial"/>
                <a:ea typeface="+mn-ea"/>
                <a:cs typeface="+mn-cs"/>
              </a:defRPr>
            </a:lvl2pPr>
            <a:lvl3pPr marL="0" algn="l" defTabSz="914400" rtl="0" eaLnBrk="1" latinLnBrk="0" hangingPunct="1">
              <a:lnSpc>
                <a:spcPct val="90000"/>
              </a:lnSpc>
              <a:defRPr lang="en-US" sz="2800" b="1" kern="1200" dirty="0" smtClean="0">
                <a:solidFill>
                  <a:schemeClr val="accent1"/>
                </a:solidFill>
                <a:latin typeface="Arial"/>
                <a:ea typeface="+mn-ea"/>
                <a:cs typeface="+mn-cs"/>
              </a:defRPr>
            </a:lvl3pPr>
            <a:lvl4pPr marL="0" algn="l" defTabSz="914400" rtl="0" eaLnBrk="1" latinLnBrk="0" hangingPunct="1">
              <a:lnSpc>
                <a:spcPct val="90000"/>
              </a:lnSpc>
              <a:defRPr lang="en-US" sz="2800" b="1" kern="1200" dirty="0" smtClean="0">
                <a:solidFill>
                  <a:schemeClr val="accent1"/>
                </a:solidFill>
                <a:latin typeface="Arial"/>
                <a:ea typeface="+mn-ea"/>
                <a:cs typeface="+mn-cs"/>
              </a:defRPr>
            </a:lvl4pPr>
            <a:lvl5pPr marL="0" algn="l" defTabSz="914400" rtl="0" eaLnBrk="1" latinLnBrk="0" hangingPunct="1">
              <a:lnSpc>
                <a:spcPct val="90000"/>
              </a:lnSpc>
              <a:defRPr lang="de-DE" sz="2800" b="1" kern="1200" dirty="0">
                <a:solidFill>
                  <a:schemeClr val="accent1"/>
                </a:solidFill>
                <a:latin typeface="Arial"/>
                <a:ea typeface="+mn-ea"/>
                <a:cs typeface="+mn-cs"/>
              </a:defRPr>
            </a:lvl5pPr>
          </a:lstStyle>
          <a:p>
            <a:pPr lvl="0"/>
            <a:endParaRPr lang="de-DE" dirty="0"/>
          </a:p>
        </p:txBody>
      </p:sp>
      <p:sp>
        <p:nvSpPr>
          <p:cNvPr id="4" name="Background - Solid">
            <a:extLst>
              <a:ext uri="{FF2B5EF4-FFF2-40B4-BE49-F238E27FC236}">
                <a16:creationId xmlns:a16="http://schemas.microsoft.com/office/drawing/2014/main" id="{841E4FA6-7F3C-2C2D-37F1-7444C6BF7F13}"/>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5">
            <a:extLst>
              <a:ext uri="{FF2B5EF4-FFF2-40B4-BE49-F238E27FC236}">
                <a16:creationId xmlns:a16="http://schemas.microsoft.com/office/drawing/2014/main" id="{4A1036E1-081C-3694-F336-57602AF2D084}"/>
              </a:ext>
            </a:extLst>
          </p:cNvPr>
          <p:cNvSpPr txBox="1">
            <a:spLocks/>
          </p:cNvSpPr>
          <p:nvPr userDrawn="1"/>
        </p:nvSpPr>
        <p:spPr>
          <a:xfrm>
            <a:off x="9141577" y="629920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EB7FA4-D16D-498B-9843-862279835448}" type="slidenum">
              <a:rPr lang="en-GB" sz="1100" b="1" smtClean="0">
                <a:solidFill>
                  <a:schemeClr val="accent1"/>
                </a:solidFill>
                <a:latin typeface="Arial" panose="020B0604020202020204" pitchFamily="34" charset="0"/>
                <a:cs typeface="Arial" panose="020B0604020202020204" pitchFamily="34" charset="0"/>
                <a:sym typeface="Arial" panose="020B0604020202020204" pitchFamily="34" charset="0"/>
              </a:rPr>
              <a:pPr/>
              <a:t>‹Nr.›</a:t>
            </a:fld>
            <a:endParaRPr lang="en-GB" sz="1100" b="1" dirty="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cxnSp>
        <p:nvCxnSpPr>
          <p:cNvPr id="2" name="Straight Connector 1">
            <a:extLst>
              <a:ext uri="{FF2B5EF4-FFF2-40B4-BE49-F238E27FC236}">
                <a16:creationId xmlns:a16="http://schemas.microsoft.com/office/drawing/2014/main" id="{6A7F9501-C153-5FA3-ABB8-30512080E6F0}"/>
              </a:ext>
            </a:extLst>
          </p:cNvPr>
          <p:cNvCxnSpPr>
            <a:cxnSpLocks/>
          </p:cNvCxnSpPr>
          <p:nvPr userDrawn="1"/>
        </p:nvCxnSpPr>
        <p:spPr>
          <a:xfrm>
            <a:off x="431800" y="964407"/>
            <a:ext cx="466407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Freeform 8">
            <a:extLst>
              <a:ext uri="{FF2B5EF4-FFF2-40B4-BE49-F238E27FC236}">
                <a16:creationId xmlns:a16="http://schemas.microsoft.com/office/drawing/2014/main" id="{3B950CE6-EA84-826B-4EC4-977528D9DA22}"/>
              </a:ext>
            </a:extLst>
          </p:cNvPr>
          <p:cNvSpPr>
            <a:spLocks noEditPoints="1"/>
          </p:cNvSpPr>
          <p:nvPr userDrawn="1"/>
        </p:nvSpPr>
        <p:spPr bwMode="auto">
          <a:xfrm>
            <a:off x="3943350" y="1564034"/>
            <a:ext cx="7810500" cy="4604778"/>
          </a:xfrm>
          <a:custGeom>
            <a:avLst/>
            <a:gdLst>
              <a:gd name="T0" fmla="*/ 8677235 w 2360"/>
              <a:gd name="T1" fmla="*/ 2592571 h 1390"/>
              <a:gd name="T2" fmla="*/ 9312689 w 2360"/>
              <a:gd name="T3" fmla="*/ 1197584 h 1390"/>
              <a:gd name="T4" fmla="*/ 9067272 w 2360"/>
              <a:gd name="T5" fmla="*/ 530797 h 1390"/>
              <a:gd name="T6" fmla="*/ 7209117 w 2360"/>
              <a:gd name="T7" fmla="*/ 486930 h 1390"/>
              <a:gd name="T8" fmla="*/ 6521074 w 2360"/>
              <a:gd name="T9" fmla="*/ 1223904 h 1390"/>
              <a:gd name="T10" fmla="*/ 5329049 w 2360"/>
              <a:gd name="T11" fmla="*/ 1302866 h 1390"/>
              <a:gd name="T12" fmla="*/ 5464905 w 2360"/>
              <a:gd name="T13" fmla="*/ 1930171 h 1390"/>
              <a:gd name="T14" fmla="*/ 5372874 w 2360"/>
              <a:gd name="T15" fmla="*/ 2680306 h 1390"/>
              <a:gd name="T16" fmla="*/ 4386824 w 2360"/>
              <a:gd name="T17" fmla="*/ 3254971 h 1390"/>
              <a:gd name="T18" fmla="*/ 5999563 w 2360"/>
              <a:gd name="T19" fmla="*/ 3294452 h 1390"/>
              <a:gd name="T20" fmla="*/ 7743775 w 2360"/>
              <a:gd name="T21" fmla="*/ 3290065 h 1390"/>
              <a:gd name="T22" fmla="*/ 5473670 w 2360"/>
              <a:gd name="T23" fmla="*/ 1250225 h 1390"/>
              <a:gd name="T24" fmla="*/ 5925062 w 2360"/>
              <a:gd name="T25" fmla="*/ 3987559 h 1390"/>
              <a:gd name="T26" fmla="*/ 6249362 w 2360"/>
              <a:gd name="T27" fmla="*/ 2026680 h 1390"/>
              <a:gd name="T28" fmla="*/ 7305531 w 2360"/>
              <a:gd name="T29" fmla="*/ 631692 h 1390"/>
              <a:gd name="T30" fmla="*/ 815134 w 2360"/>
              <a:gd name="T31" fmla="*/ 1386214 h 1390"/>
              <a:gd name="T32" fmla="*/ 2322694 w 2360"/>
              <a:gd name="T33" fmla="*/ 3079501 h 1390"/>
              <a:gd name="T34" fmla="*/ 3080857 w 2360"/>
              <a:gd name="T35" fmla="*/ 1781022 h 1390"/>
              <a:gd name="T36" fmla="*/ 2572493 w 2360"/>
              <a:gd name="T37" fmla="*/ 1092302 h 1390"/>
              <a:gd name="T38" fmla="*/ 1687240 w 2360"/>
              <a:gd name="T39" fmla="*/ 846643 h 1390"/>
              <a:gd name="T40" fmla="*/ 411950 w 2360"/>
              <a:gd name="T41" fmla="*/ 1289705 h 1390"/>
              <a:gd name="T42" fmla="*/ 1139435 w 2360"/>
              <a:gd name="T43" fmla="*/ 1671353 h 1390"/>
              <a:gd name="T44" fmla="*/ 1433059 w 2360"/>
              <a:gd name="T45" fmla="*/ 3184783 h 1390"/>
              <a:gd name="T46" fmla="*/ 2695202 w 2360"/>
              <a:gd name="T47" fmla="*/ 5812448 h 1390"/>
              <a:gd name="T48" fmla="*/ 3115916 w 2360"/>
              <a:gd name="T49" fmla="*/ 5198303 h 1390"/>
              <a:gd name="T50" fmla="*/ 2489227 w 2360"/>
              <a:gd name="T51" fmla="*/ 2395167 h 1390"/>
              <a:gd name="T52" fmla="*/ 2107955 w 2360"/>
              <a:gd name="T53" fmla="*/ 1943332 h 1390"/>
              <a:gd name="T54" fmla="*/ 1130670 w 2360"/>
              <a:gd name="T55" fmla="*/ 1741541 h 1390"/>
              <a:gd name="T56" fmla="*/ 1691623 w 2360"/>
              <a:gd name="T57" fmla="*/ 1504656 h 1390"/>
              <a:gd name="T58" fmla="*/ 3335038 w 2360"/>
              <a:gd name="T59" fmla="*/ 4097228 h 1390"/>
              <a:gd name="T60" fmla="*/ 4430649 w 2360"/>
              <a:gd name="T61" fmla="*/ 320233 h 1390"/>
              <a:gd name="T62" fmla="*/ 3352568 w 2360"/>
              <a:gd name="T63" fmla="*/ 570278 h 1390"/>
              <a:gd name="T64" fmla="*/ 3549778 w 2360"/>
              <a:gd name="T65" fmla="*/ 1688900 h 1390"/>
              <a:gd name="T66" fmla="*/ 9067272 w 2360"/>
              <a:gd name="T67" fmla="*/ 4426234 h 1390"/>
              <a:gd name="T68" fmla="*/ 3111534 w 2360"/>
              <a:gd name="T69" fmla="*/ 394808 h 1390"/>
              <a:gd name="T70" fmla="*/ 3413922 w 2360"/>
              <a:gd name="T71" fmla="*/ 35094 h 1390"/>
              <a:gd name="T72" fmla="*/ 2953766 w 2360"/>
              <a:gd name="T73" fmla="*/ 1215131 h 1390"/>
              <a:gd name="T74" fmla="*/ 2813528 w 2360"/>
              <a:gd name="T75" fmla="*/ 987019 h 1390"/>
              <a:gd name="T76" fmla="*/ 2274487 w 2360"/>
              <a:gd name="T77" fmla="*/ 851030 h 1390"/>
              <a:gd name="T78" fmla="*/ 6411513 w 2360"/>
              <a:gd name="T79" fmla="*/ 4443781 h 1390"/>
              <a:gd name="T80" fmla="*/ 8962094 w 2360"/>
              <a:gd name="T81" fmla="*/ 2732947 h 1390"/>
              <a:gd name="T82" fmla="*/ 1919510 w 2360"/>
              <a:gd name="T83" fmla="*/ 780842 h 1390"/>
              <a:gd name="T84" fmla="*/ 5302755 w 2360"/>
              <a:gd name="T85" fmla="*/ 745748 h 1390"/>
              <a:gd name="T86" fmla="*/ 2476080 w 2360"/>
              <a:gd name="T87" fmla="*/ 478156 h 1390"/>
              <a:gd name="T88" fmla="*/ 10276826 w 2360"/>
              <a:gd name="T89" fmla="*/ 5531696 h 1390"/>
              <a:gd name="T90" fmla="*/ 8668470 w 2360"/>
              <a:gd name="T91" fmla="*/ 4220057 h 1390"/>
              <a:gd name="T92" fmla="*/ 5386021 w 2360"/>
              <a:gd name="T93" fmla="*/ 504477 h 1390"/>
              <a:gd name="T94" fmla="*/ 2677672 w 2360"/>
              <a:gd name="T95" fmla="*/ 307073 h 1390"/>
              <a:gd name="T96" fmla="*/ 8760501 w 2360"/>
              <a:gd name="T97" fmla="*/ 3772608 h 1390"/>
              <a:gd name="T98" fmla="*/ 2677672 w 2360"/>
              <a:gd name="T99" fmla="*/ 679947 h 1390"/>
              <a:gd name="T100" fmla="*/ 8848150 w 2360"/>
              <a:gd name="T101" fmla="*/ 3689259 h 1390"/>
              <a:gd name="T102" fmla="*/ 5149369 w 2360"/>
              <a:gd name="T103" fmla="*/ 2596958 h 1390"/>
              <a:gd name="T104" fmla="*/ 9290777 w 2360"/>
              <a:gd name="T105" fmla="*/ 2224084 h 1390"/>
              <a:gd name="T106" fmla="*/ 9089185 w 2360"/>
              <a:gd name="T107" fmla="*/ 5360612 h 1390"/>
              <a:gd name="T108" fmla="*/ 8835003 w 2360"/>
              <a:gd name="T109" fmla="*/ 4097228 h 1390"/>
              <a:gd name="T110" fmla="*/ 2379666 w 2360"/>
              <a:gd name="T111" fmla="*/ 403581 h 1390"/>
              <a:gd name="T112" fmla="*/ 2949383 w 2360"/>
              <a:gd name="T113" fmla="*/ 1197584 h 1390"/>
              <a:gd name="T114" fmla="*/ 2712732 w 2360"/>
              <a:gd name="T115" fmla="*/ 1087915 h 1390"/>
              <a:gd name="T116" fmla="*/ 2572493 w 2360"/>
              <a:gd name="T117" fmla="*/ 3285678 h 1390"/>
              <a:gd name="T118" fmla="*/ 2112337 w 2360"/>
              <a:gd name="T119" fmla="*/ 3048794 h 1390"/>
              <a:gd name="T120" fmla="*/ 4772479 w 2360"/>
              <a:gd name="T121" fmla="*/ 1903851 h 1390"/>
              <a:gd name="T122" fmla="*/ 8742972 w 2360"/>
              <a:gd name="T123" fmla="*/ 4211283 h 1390"/>
              <a:gd name="T124" fmla="*/ 438244 w 2360"/>
              <a:gd name="T125" fmla="*/ 1557297 h 139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360" h="1390">
                <a:moveTo>
                  <a:pt x="1809" y="794"/>
                </a:moveTo>
                <a:cubicBezTo>
                  <a:pt x="1810" y="794"/>
                  <a:pt x="1811" y="794"/>
                  <a:pt x="1811" y="794"/>
                </a:cubicBezTo>
                <a:cubicBezTo>
                  <a:pt x="1813" y="795"/>
                  <a:pt x="1815" y="796"/>
                  <a:pt x="1815" y="799"/>
                </a:cubicBezTo>
                <a:cubicBezTo>
                  <a:pt x="1816" y="801"/>
                  <a:pt x="1816" y="803"/>
                  <a:pt x="1817" y="805"/>
                </a:cubicBezTo>
                <a:cubicBezTo>
                  <a:pt x="1818" y="810"/>
                  <a:pt x="1819" y="815"/>
                  <a:pt x="1822" y="820"/>
                </a:cubicBezTo>
                <a:cubicBezTo>
                  <a:pt x="1823" y="820"/>
                  <a:pt x="1823" y="822"/>
                  <a:pt x="1824" y="823"/>
                </a:cubicBezTo>
                <a:cubicBezTo>
                  <a:pt x="1824" y="824"/>
                  <a:pt x="1824" y="825"/>
                  <a:pt x="1824" y="826"/>
                </a:cubicBezTo>
                <a:cubicBezTo>
                  <a:pt x="1826" y="831"/>
                  <a:pt x="1826" y="835"/>
                  <a:pt x="1824" y="839"/>
                </a:cubicBezTo>
                <a:cubicBezTo>
                  <a:pt x="1824" y="840"/>
                  <a:pt x="1824" y="842"/>
                  <a:pt x="1824" y="843"/>
                </a:cubicBezTo>
                <a:cubicBezTo>
                  <a:pt x="1825" y="846"/>
                  <a:pt x="1825" y="849"/>
                  <a:pt x="1824" y="852"/>
                </a:cubicBezTo>
                <a:cubicBezTo>
                  <a:pt x="1822" y="856"/>
                  <a:pt x="1823" y="858"/>
                  <a:pt x="1827" y="860"/>
                </a:cubicBezTo>
                <a:cubicBezTo>
                  <a:pt x="1827" y="860"/>
                  <a:pt x="1827" y="860"/>
                  <a:pt x="1827" y="860"/>
                </a:cubicBezTo>
                <a:cubicBezTo>
                  <a:pt x="1831" y="865"/>
                  <a:pt x="1834" y="869"/>
                  <a:pt x="1838" y="873"/>
                </a:cubicBezTo>
                <a:cubicBezTo>
                  <a:pt x="1839" y="875"/>
                  <a:pt x="1839" y="878"/>
                  <a:pt x="1839" y="881"/>
                </a:cubicBezTo>
                <a:cubicBezTo>
                  <a:pt x="1840" y="881"/>
                  <a:pt x="1840" y="882"/>
                  <a:pt x="1840" y="882"/>
                </a:cubicBezTo>
                <a:cubicBezTo>
                  <a:pt x="1841" y="884"/>
                  <a:pt x="1841" y="886"/>
                  <a:pt x="1841" y="887"/>
                </a:cubicBezTo>
                <a:cubicBezTo>
                  <a:pt x="1841" y="889"/>
                  <a:pt x="1842" y="891"/>
                  <a:pt x="1843" y="892"/>
                </a:cubicBezTo>
                <a:cubicBezTo>
                  <a:pt x="1845" y="894"/>
                  <a:pt x="1847" y="896"/>
                  <a:pt x="1847" y="899"/>
                </a:cubicBezTo>
                <a:cubicBezTo>
                  <a:pt x="1847" y="899"/>
                  <a:pt x="1848" y="900"/>
                  <a:pt x="1849" y="901"/>
                </a:cubicBezTo>
                <a:cubicBezTo>
                  <a:pt x="1850" y="901"/>
                  <a:pt x="1851" y="902"/>
                  <a:pt x="1852" y="903"/>
                </a:cubicBezTo>
                <a:cubicBezTo>
                  <a:pt x="1853" y="905"/>
                  <a:pt x="1855" y="906"/>
                  <a:pt x="1858" y="908"/>
                </a:cubicBezTo>
                <a:cubicBezTo>
                  <a:pt x="1861" y="909"/>
                  <a:pt x="1863" y="910"/>
                  <a:pt x="1866" y="912"/>
                </a:cubicBezTo>
                <a:cubicBezTo>
                  <a:pt x="1866" y="912"/>
                  <a:pt x="1866" y="912"/>
                  <a:pt x="1866" y="912"/>
                </a:cubicBezTo>
                <a:cubicBezTo>
                  <a:pt x="1866" y="912"/>
                  <a:pt x="1866" y="912"/>
                  <a:pt x="1867" y="912"/>
                </a:cubicBezTo>
                <a:cubicBezTo>
                  <a:pt x="1866" y="912"/>
                  <a:pt x="1866" y="912"/>
                  <a:pt x="1866" y="912"/>
                </a:cubicBezTo>
                <a:cubicBezTo>
                  <a:pt x="1867" y="911"/>
                  <a:pt x="1867" y="911"/>
                  <a:pt x="1868" y="910"/>
                </a:cubicBezTo>
                <a:cubicBezTo>
                  <a:pt x="1869" y="910"/>
                  <a:pt x="1869" y="909"/>
                  <a:pt x="1869" y="907"/>
                </a:cubicBezTo>
                <a:cubicBezTo>
                  <a:pt x="1868" y="905"/>
                  <a:pt x="1867" y="902"/>
                  <a:pt x="1865" y="901"/>
                </a:cubicBezTo>
                <a:cubicBezTo>
                  <a:pt x="1863" y="898"/>
                  <a:pt x="1863" y="895"/>
                  <a:pt x="1863" y="893"/>
                </a:cubicBezTo>
                <a:cubicBezTo>
                  <a:pt x="1863" y="891"/>
                  <a:pt x="1863" y="889"/>
                  <a:pt x="1863" y="887"/>
                </a:cubicBezTo>
                <a:cubicBezTo>
                  <a:pt x="1863" y="885"/>
                  <a:pt x="1862" y="883"/>
                  <a:pt x="1861" y="882"/>
                </a:cubicBezTo>
                <a:cubicBezTo>
                  <a:pt x="1859" y="879"/>
                  <a:pt x="1856" y="877"/>
                  <a:pt x="1854" y="874"/>
                </a:cubicBezTo>
                <a:cubicBezTo>
                  <a:pt x="1850" y="873"/>
                  <a:pt x="1848" y="870"/>
                  <a:pt x="1845" y="868"/>
                </a:cubicBezTo>
                <a:cubicBezTo>
                  <a:pt x="1842" y="867"/>
                  <a:pt x="1840" y="865"/>
                  <a:pt x="1840" y="862"/>
                </a:cubicBezTo>
                <a:cubicBezTo>
                  <a:pt x="1840" y="860"/>
                  <a:pt x="1840" y="858"/>
                  <a:pt x="1839" y="857"/>
                </a:cubicBezTo>
                <a:cubicBezTo>
                  <a:pt x="1837" y="855"/>
                  <a:pt x="1836" y="853"/>
                  <a:pt x="1835" y="851"/>
                </a:cubicBezTo>
                <a:cubicBezTo>
                  <a:pt x="1832" y="850"/>
                  <a:pt x="1831" y="849"/>
                  <a:pt x="1830" y="846"/>
                </a:cubicBezTo>
                <a:cubicBezTo>
                  <a:pt x="1830" y="844"/>
                  <a:pt x="1830" y="843"/>
                  <a:pt x="1831" y="841"/>
                </a:cubicBezTo>
                <a:cubicBezTo>
                  <a:pt x="1833" y="834"/>
                  <a:pt x="1835" y="828"/>
                  <a:pt x="1835" y="821"/>
                </a:cubicBezTo>
                <a:cubicBezTo>
                  <a:pt x="1835" y="821"/>
                  <a:pt x="1836" y="821"/>
                  <a:pt x="1836" y="821"/>
                </a:cubicBezTo>
                <a:cubicBezTo>
                  <a:pt x="1836" y="820"/>
                  <a:pt x="1837" y="820"/>
                  <a:pt x="1837" y="820"/>
                </a:cubicBezTo>
                <a:cubicBezTo>
                  <a:pt x="1838" y="820"/>
                  <a:pt x="1838" y="820"/>
                  <a:pt x="1839" y="820"/>
                </a:cubicBezTo>
                <a:cubicBezTo>
                  <a:pt x="1839" y="821"/>
                  <a:pt x="1840" y="821"/>
                  <a:pt x="1840" y="822"/>
                </a:cubicBezTo>
                <a:cubicBezTo>
                  <a:pt x="1840" y="825"/>
                  <a:pt x="1842" y="826"/>
                  <a:pt x="1845" y="826"/>
                </a:cubicBezTo>
                <a:cubicBezTo>
                  <a:pt x="1846" y="826"/>
                  <a:pt x="1847" y="826"/>
                  <a:pt x="1848" y="827"/>
                </a:cubicBezTo>
                <a:cubicBezTo>
                  <a:pt x="1851" y="829"/>
                  <a:pt x="1854" y="830"/>
                  <a:pt x="1856" y="834"/>
                </a:cubicBezTo>
                <a:cubicBezTo>
                  <a:pt x="1858" y="838"/>
                  <a:pt x="1862" y="841"/>
                  <a:pt x="1865" y="844"/>
                </a:cubicBezTo>
                <a:cubicBezTo>
                  <a:pt x="1866" y="844"/>
                  <a:pt x="1867" y="843"/>
                  <a:pt x="1868" y="843"/>
                </a:cubicBezTo>
                <a:cubicBezTo>
                  <a:pt x="1869" y="844"/>
                  <a:pt x="1871" y="845"/>
                  <a:pt x="1871" y="848"/>
                </a:cubicBezTo>
                <a:cubicBezTo>
                  <a:pt x="1871" y="850"/>
                  <a:pt x="1871" y="852"/>
                  <a:pt x="1871" y="855"/>
                </a:cubicBezTo>
                <a:cubicBezTo>
                  <a:pt x="1871" y="855"/>
                  <a:pt x="1873" y="856"/>
                  <a:pt x="1873" y="855"/>
                </a:cubicBezTo>
                <a:cubicBezTo>
                  <a:pt x="1874" y="855"/>
                  <a:pt x="1874" y="855"/>
                  <a:pt x="1874" y="855"/>
                </a:cubicBezTo>
                <a:cubicBezTo>
                  <a:pt x="1878" y="852"/>
                  <a:pt x="1881" y="849"/>
                  <a:pt x="1884" y="845"/>
                </a:cubicBezTo>
                <a:cubicBezTo>
                  <a:pt x="1885" y="845"/>
                  <a:pt x="1886" y="844"/>
                  <a:pt x="1887" y="843"/>
                </a:cubicBezTo>
                <a:cubicBezTo>
                  <a:pt x="1892" y="842"/>
                  <a:pt x="1895" y="839"/>
                  <a:pt x="1898" y="837"/>
                </a:cubicBezTo>
                <a:cubicBezTo>
                  <a:pt x="1900" y="835"/>
                  <a:pt x="1901" y="833"/>
                  <a:pt x="1902" y="830"/>
                </a:cubicBezTo>
                <a:cubicBezTo>
                  <a:pt x="1903" y="826"/>
                  <a:pt x="1903" y="822"/>
                  <a:pt x="1902" y="818"/>
                </a:cubicBezTo>
                <a:cubicBezTo>
                  <a:pt x="1902" y="818"/>
                  <a:pt x="1902" y="817"/>
                  <a:pt x="1902" y="817"/>
                </a:cubicBezTo>
                <a:cubicBezTo>
                  <a:pt x="1901" y="812"/>
                  <a:pt x="1899" y="807"/>
                  <a:pt x="1897" y="802"/>
                </a:cubicBezTo>
                <a:cubicBezTo>
                  <a:pt x="1896" y="800"/>
                  <a:pt x="1894" y="799"/>
                  <a:pt x="1893" y="797"/>
                </a:cubicBezTo>
                <a:cubicBezTo>
                  <a:pt x="1890" y="794"/>
                  <a:pt x="1887" y="792"/>
                  <a:pt x="1883" y="790"/>
                </a:cubicBezTo>
                <a:cubicBezTo>
                  <a:pt x="1881" y="788"/>
                  <a:pt x="1879" y="787"/>
                  <a:pt x="1878" y="784"/>
                </a:cubicBezTo>
                <a:cubicBezTo>
                  <a:pt x="1878" y="783"/>
                  <a:pt x="1877" y="781"/>
                  <a:pt x="1876" y="781"/>
                </a:cubicBezTo>
                <a:cubicBezTo>
                  <a:pt x="1875" y="780"/>
                  <a:pt x="1874" y="779"/>
                  <a:pt x="1873" y="778"/>
                </a:cubicBezTo>
                <a:cubicBezTo>
                  <a:pt x="1873" y="778"/>
                  <a:pt x="1872" y="777"/>
                  <a:pt x="1872" y="777"/>
                </a:cubicBezTo>
                <a:cubicBezTo>
                  <a:pt x="1872" y="774"/>
                  <a:pt x="1871" y="770"/>
                  <a:pt x="1874" y="768"/>
                </a:cubicBezTo>
                <a:cubicBezTo>
                  <a:pt x="1876" y="767"/>
                  <a:pt x="1877" y="765"/>
                  <a:pt x="1877" y="763"/>
                </a:cubicBezTo>
                <a:cubicBezTo>
                  <a:pt x="1877" y="762"/>
                  <a:pt x="1878" y="761"/>
                  <a:pt x="1879" y="760"/>
                </a:cubicBezTo>
                <a:cubicBezTo>
                  <a:pt x="1882" y="759"/>
                  <a:pt x="1885" y="757"/>
                  <a:pt x="1889" y="755"/>
                </a:cubicBezTo>
                <a:cubicBezTo>
                  <a:pt x="1889" y="755"/>
                  <a:pt x="1890" y="755"/>
                  <a:pt x="1891" y="755"/>
                </a:cubicBezTo>
                <a:cubicBezTo>
                  <a:pt x="1892" y="755"/>
                  <a:pt x="1893" y="755"/>
                  <a:pt x="1894" y="756"/>
                </a:cubicBezTo>
                <a:cubicBezTo>
                  <a:pt x="1896" y="756"/>
                  <a:pt x="1897" y="757"/>
                  <a:pt x="1898" y="760"/>
                </a:cubicBezTo>
                <a:cubicBezTo>
                  <a:pt x="1898" y="761"/>
                  <a:pt x="1899" y="763"/>
                  <a:pt x="1901" y="764"/>
                </a:cubicBezTo>
                <a:cubicBezTo>
                  <a:pt x="1902" y="765"/>
                  <a:pt x="1905" y="764"/>
                  <a:pt x="1905" y="762"/>
                </a:cubicBezTo>
                <a:cubicBezTo>
                  <a:pt x="1905" y="761"/>
                  <a:pt x="1905" y="760"/>
                  <a:pt x="1905" y="760"/>
                </a:cubicBezTo>
                <a:cubicBezTo>
                  <a:pt x="1905" y="760"/>
                  <a:pt x="1905" y="760"/>
                  <a:pt x="1905" y="760"/>
                </a:cubicBezTo>
                <a:cubicBezTo>
                  <a:pt x="1905" y="759"/>
                  <a:pt x="1905" y="759"/>
                  <a:pt x="1905" y="759"/>
                </a:cubicBezTo>
                <a:cubicBezTo>
                  <a:pt x="1905" y="760"/>
                  <a:pt x="1905" y="760"/>
                  <a:pt x="1905" y="760"/>
                </a:cubicBezTo>
                <a:cubicBezTo>
                  <a:pt x="1905" y="759"/>
                  <a:pt x="1904" y="759"/>
                  <a:pt x="1904" y="758"/>
                </a:cubicBezTo>
                <a:cubicBezTo>
                  <a:pt x="1904" y="758"/>
                  <a:pt x="1905" y="757"/>
                  <a:pt x="1905" y="757"/>
                </a:cubicBezTo>
                <a:cubicBezTo>
                  <a:pt x="1909" y="756"/>
                  <a:pt x="1913" y="754"/>
                  <a:pt x="1917" y="753"/>
                </a:cubicBezTo>
                <a:cubicBezTo>
                  <a:pt x="1920" y="752"/>
                  <a:pt x="1923" y="750"/>
                  <a:pt x="1925" y="747"/>
                </a:cubicBezTo>
                <a:cubicBezTo>
                  <a:pt x="1925" y="746"/>
                  <a:pt x="1926" y="746"/>
                  <a:pt x="1927" y="746"/>
                </a:cubicBezTo>
                <a:cubicBezTo>
                  <a:pt x="1927" y="747"/>
                  <a:pt x="1928" y="748"/>
                  <a:pt x="1930" y="747"/>
                </a:cubicBezTo>
                <a:cubicBezTo>
                  <a:pt x="1932" y="746"/>
                  <a:pt x="1935" y="745"/>
                  <a:pt x="1937" y="745"/>
                </a:cubicBezTo>
                <a:cubicBezTo>
                  <a:pt x="1939" y="744"/>
                  <a:pt x="1941" y="744"/>
                  <a:pt x="1943" y="743"/>
                </a:cubicBezTo>
                <a:cubicBezTo>
                  <a:pt x="1945" y="742"/>
                  <a:pt x="1947" y="741"/>
                  <a:pt x="1947" y="739"/>
                </a:cubicBezTo>
                <a:cubicBezTo>
                  <a:pt x="1947" y="738"/>
                  <a:pt x="1948" y="738"/>
                  <a:pt x="1949" y="737"/>
                </a:cubicBezTo>
                <a:cubicBezTo>
                  <a:pt x="1952" y="735"/>
                  <a:pt x="1955" y="734"/>
                  <a:pt x="1956" y="730"/>
                </a:cubicBezTo>
                <a:cubicBezTo>
                  <a:pt x="1956" y="730"/>
                  <a:pt x="1956" y="729"/>
                  <a:pt x="1957" y="729"/>
                </a:cubicBezTo>
                <a:cubicBezTo>
                  <a:pt x="1959" y="728"/>
                  <a:pt x="1960" y="726"/>
                  <a:pt x="1961" y="723"/>
                </a:cubicBezTo>
                <a:cubicBezTo>
                  <a:pt x="1961" y="722"/>
                  <a:pt x="1962" y="722"/>
                  <a:pt x="1963" y="722"/>
                </a:cubicBezTo>
                <a:cubicBezTo>
                  <a:pt x="1965" y="721"/>
                  <a:pt x="1965" y="721"/>
                  <a:pt x="1965" y="719"/>
                </a:cubicBezTo>
                <a:cubicBezTo>
                  <a:pt x="1964" y="717"/>
                  <a:pt x="1964" y="715"/>
                  <a:pt x="1964" y="712"/>
                </a:cubicBezTo>
                <a:cubicBezTo>
                  <a:pt x="1964" y="711"/>
                  <a:pt x="1964" y="710"/>
                  <a:pt x="1965" y="709"/>
                </a:cubicBezTo>
                <a:cubicBezTo>
                  <a:pt x="1968" y="707"/>
                  <a:pt x="1970" y="705"/>
                  <a:pt x="1970" y="702"/>
                </a:cubicBezTo>
                <a:cubicBezTo>
                  <a:pt x="1970" y="700"/>
                  <a:pt x="1971" y="698"/>
                  <a:pt x="1972" y="697"/>
                </a:cubicBezTo>
                <a:cubicBezTo>
                  <a:pt x="1974" y="696"/>
                  <a:pt x="1975" y="694"/>
                  <a:pt x="1975" y="691"/>
                </a:cubicBezTo>
                <a:cubicBezTo>
                  <a:pt x="1975" y="690"/>
                  <a:pt x="1975" y="688"/>
                  <a:pt x="1976" y="687"/>
                </a:cubicBezTo>
                <a:cubicBezTo>
                  <a:pt x="1977" y="684"/>
                  <a:pt x="1976" y="682"/>
                  <a:pt x="1975" y="681"/>
                </a:cubicBezTo>
                <a:cubicBezTo>
                  <a:pt x="1974" y="680"/>
                  <a:pt x="1973" y="679"/>
                  <a:pt x="1971" y="678"/>
                </a:cubicBezTo>
                <a:cubicBezTo>
                  <a:pt x="1971" y="677"/>
                  <a:pt x="1969" y="677"/>
                  <a:pt x="1968" y="677"/>
                </a:cubicBezTo>
                <a:cubicBezTo>
                  <a:pt x="1968" y="677"/>
                  <a:pt x="1968" y="677"/>
                  <a:pt x="1968" y="677"/>
                </a:cubicBezTo>
                <a:cubicBezTo>
                  <a:pt x="1968" y="677"/>
                  <a:pt x="1968" y="677"/>
                  <a:pt x="1968" y="677"/>
                </a:cubicBezTo>
                <a:cubicBezTo>
                  <a:pt x="1968" y="677"/>
                  <a:pt x="1968" y="677"/>
                  <a:pt x="1968" y="677"/>
                </a:cubicBezTo>
                <a:cubicBezTo>
                  <a:pt x="1968" y="677"/>
                  <a:pt x="1968" y="677"/>
                  <a:pt x="1968" y="677"/>
                </a:cubicBezTo>
                <a:cubicBezTo>
                  <a:pt x="1969" y="676"/>
                  <a:pt x="1969" y="675"/>
                  <a:pt x="1969" y="675"/>
                </a:cubicBezTo>
                <a:cubicBezTo>
                  <a:pt x="1970" y="674"/>
                  <a:pt x="1971" y="673"/>
                  <a:pt x="1972" y="672"/>
                </a:cubicBezTo>
                <a:cubicBezTo>
                  <a:pt x="1973" y="671"/>
                  <a:pt x="1973" y="670"/>
                  <a:pt x="1972" y="669"/>
                </a:cubicBezTo>
                <a:cubicBezTo>
                  <a:pt x="1971" y="667"/>
                  <a:pt x="1970" y="666"/>
                  <a:pt x="1968" y="665"/>
                </a:cubicBezTo>
                <a:cubicBezTo>
                  <a:pt x="1968" y="665"/>
                  <a:pt x="1968" y="665"/>
                  <a:pt x="1968" y="665"/>
                </a:cubicBezTo>
                <a:cubicBezTo>
                  <a:pt x="1968" y="665"/>
                  <a:pt x="1968" y="665"/>
                  <a:pt x="1968" y="665"/>
                </a:cubicBezTo>
                <a:cubicBezTo>
                  <a:pt x="1968" y="665"/>
                  <a:pt x="1968" y="665"/>
                  <a:pt x="1968" y="665"/>
                </a:cubicBezTo>
                <a:cubicBezTo>
                  <a:pt x="1968" y="665"/>
                  <a:pt x="1968" y="665"/>
                  <a:pt x="1968" y="665"/>
                </a:cubicBezTo>
                <a:cubicBezTo>
                  <a:pt x="1969" y="665"/>
                  <a:pt x="1969" y="665"/>
                  <a:pt x="1970" y="665"/>
                </a:cubicBezTo>
                <a:cubicBezTo>
                  <a:pt x="1972" y="664"/>
                  <a:pt x="1972" y="662"/>
                  <a:pt x="1971" y="660"/>
                </a:cubicBezTo>
                <a:cubicBezTo>
                  <a:pt x="1970" y="659"/>
                  <a:pt x="1969" y="658"/>
                  <a:pt x="1968" y="657"/>
                </a:cubicBezTo>
                <a:cubicBezTo>
                  <a:pt x="1965" y="656"/>
                  <a:pt x="1964" y="655"/>
                  <a:pt x="1963" y="652"/>
                </a:cubicBezTo>
                <a:cubicBezTo>
                  <a:pt x="1962" y="649"/>
                  <a:pt x="1960" y="647"/>
                  <a:pt x="1959" y="644"/>
                </a:cubicBezTo>
                <a:cubicBezTo>
                  <a:pt x="1958" y="642"/>
                  <a:pt x="1956" y="640"/>
                  <a:pt x="1954" y="639"/>
                </a:cubicBezTo>
                <a:cubicBezTo>
                  <a:pt x="1953" y="639"/>
                  <a:pt x="1952" y="638"/>
                  <a:pt x="1951" y="638"/>
                </a:cubicBezTo>
                <a:cubicBezTo>
                  <a:pt x="1949" y="637"/>
                  <a:pt x="1948" y="635"/>
                  <a:pt x="1948" y="632"/>
                </a:cubicBezTo>
                <a:cubicBezTo>
                  <a:pt x="1949" y="630"/>
                  <a:pt x="1949" y="629"/>
                  <a:pt x="1950" y="627"/>
                </a:cubicBezTo>
                <a:cubicBezTo>
                  <a:pt x="1951" y="626"/>
                  <a:pt x="1952" y="625"/>
                  <a:pt x="1952" y="623"/>
                </a:cubicBezTo>
                <a:cubicBezTo>
                  <a:pt x="1953" y="621"/>
                  <a:pt x="1955" y="619"/>
                  <a:pt x="1958" y="618"/>
                </a:cubicBezTo>
                <a:cubicBezTo>
                  <a:pt x="1960" y="616"/>
                  <a:pt x="1962" y="615"/>
                  <a:pt x="1965" y="615"/>
                </a:cubicBezTo>
                <a:cubicBezTo>
                  <a:pt x="1966" y="615"/>
                  <a:pt x="1966" y="614"/>
                  <a:pt x="1967" y="614"/>
                </a:cubicBezTo>
                <a:cubicBezTo>
                  <a:pt x="1967" y="613"/>
                  <a:pt x="1967" y="612"/>
                  <a:pt x="1967" y="611"/>
                </a:cubicBezTo>
                <a:cubicBezTo>
                  <a:pt x="1967" y="610"/>
                  <a:pt x="1966" y="608"/>
                  <a:pt x="1964" y="608"/>
                </a:cubicBezTo>
                <a:cubicBezTo>
                  <a:pt x="1963" y="608"/>
                  <a:pt x="1962" y="608"/>
                  <a:pt x="1960" y="608"/>
                </a:cubicBezTo>
                <a:cubicBezTo>
                  <a:pt x="1959" y="608"/>
                  <a:pt x="1958" y="608"/>
                  <a:pt x="1957" y="608"/>
                </a:cubicBezTo>
                <a:cubicBezTo>
                  <a:pt x="1956" y="607"/>
                  <a:pt x="1955" y="606"/>
                  <a:pt x="1954" y="606"/>
                </a:cubicBezTo>
                <a:cubicBezTo>
                  <a:pt x="1952" y="605"/>
                  <a:pt x="1951" y="606"/>
                  <a:pt x="1950" y="606"/>
                </a:cubicBezTo>
                <a:cubicBezTo>
                  <a:pt x="1948" y="607"/>
                  <a:pt x="1947" y="609"/>
                  <a:pt x="1945" y="611"/>
                </a:cubicBezTo>
                <a:cubicBezTo>
                  <a:pt x="1945" y="612"/>
                  <a:pt x="1944" y="612"/>
                  <a:pt x="1943" y="612"/>
                </a:cubicBezTo>
                <a:cubicBezTo>
                  <a:pt x="1942" y="612"/>
                  <a:pt x="1940" y="612"/>
                  <a:pt x="1940" y="610"/>
                </a:cubicBezTo>
                <a:cubicBezTo>
                  <a:pt x="1939" y="608"/>
                  <a:pt x="1938" y="606"/>
                  <a:pt x="1935" y="605"/>
                </a:cubicBezTo>
                <a:cubicBezTo>
                  <a:pt x="1932" y="605"/>
                  <a:pt x="1931" y="603"/>
                  <a:pt x="1929" y="601"/>
                </a:cubicBezTo>
                <a:cubicBezTo>
                  <a:pt x="1927" y="599"/>
                  <a:pt x="1929" y="595"/>
                  <a:pt x="1931" y="595"/>
                </a:cubicBezTo>
                <a:cubicBezTo>
                  <a:pt x="1932" y="595"/>
                  <a:pt x="1933" y="595"/>
                  <a:pt x="1933" y="595"/>
                </a:cubicBezTo>
                <a:cubicBezTo>
                  <a:pt x="1935" y="595"/>
                  <a:pt x="1937" y="594"/>
                  <a:pt x="1937" y="592"/>
                </a:cubicBezTo>
                <a:cubicBezTo>
                  <a:pt x="1938" y="588"/>
                  <a:pt x="1939" y="585"/>
                  <a:pt x="1943" y="583"/>
                </a:cubicBezTo>
                <a:cubicBezTo>
                  <a:pt x="1943" y="583"/>
                  <a:pt x="1944" y="582"/>
                  <a:pt x="1944" y="581"/>
                </a:cubicBezTo>
                <a:cubicBezTo>
                  <a:pt x="1945" y="579"/>
                  <a:pt x="1946" y="577"/>
                  <a:pt x="1947" y="576"/>
                </a:cubicBezTo>
                <a:cubicBezTo>
                  <a:pt x="1947" y="575"/>
                  <a:pt x="1948" y="575"/>
                  <a:pt x="1949" y="575"/>
                </a:cubicBezTo>
                <a:cubicBezTo>
                  <a:pt x="1951" y="574"/>
                  <a:pt x="1953" y="575"/>
                  <a:pt x="1954" y="577"/>
                </a:cubicBezTo>
                <a:cubicBezTo>
                  <a:pt x="1956" y="578"/>
                  <a:pt x="1955" y="579"/>
                  <a:pt x="1955" y="581"/>
                </a:cubicBezTo>
                <a:cubicBezTo>
                  <a:pt x="1954" y="581"/>
                  <a:pt x="1954" y="582"/>
                  <a:pt x="1954" y="582"/>
                </a:cubicBezTo>
                <a:cubicBezTo>
                  <a:pt x="1953" y="584"/>
                  <a:pt x="1952" y="586"/>
                  <a:pt x="1953" y="588"/>
                </a:cubicBezTo>
                <a:cubicBezTo>
                  <a:pt x="1954" y="589"/>
                  <a:pt x="1954" y="590"/>
                  <a:pt x="1954" y="591"/>
                </a:cubicBezTo>
                <a:cubicBezTo>
                  <a:pt x="1955" y="592"/>
                  <a:pt x="1954" y="593"/>
                  <a:pt x="1953" y="594"/>
                </a:cubicBezTo>
                <a:cubicBezTo>
                  <a:pt x="1953" y="594"/>
                  <a:pt x="1953" y="594"/>
                  <a:pt x="1953" y="594"/>
                </a:cubicBezTo>
                <a:cubicBezTo>
                  <a:pt x="1953" y="595"/>
                  <a:pt x="1953" y="596"/>
                  <a:pt x="1953" y="596"/>
                </a:cubicBezTo>
                <a:cubicBezTo>
                  <a:pt x="1953" y="596"/>
                  <a:pt x="1954" y="596"/>
                  <a:pt x="1955" y="596"/>
                </a:cubicBezTo>
                <a:cubicBezTo>
                  <a:pt x="1957" y="595"/>
                  <a:pt x="1958" y="594"/>
                  <a:pt x="1959" y="592"/>
                </a:cubicBezTo>
                <a:cubicBezTo>
                  <a:pt x="1962" y="588"/>
                  <a:pt x="1967" y="586"/>
                  <a:pt x="1972" y="585"/>
                </a:cubicBezTo>
                <a:cubicBezTo>
                  <a:pt x="1973" y="585"/>
                  <a:pt x="1973" y="585"/>
                  <a:pt x="1974" y="586"/>
                </a:cubicBezTo>
                <a:cubicBezTo>
                  <a:pt x="1975" y="586"/>
                  <a:pt x="1976" y="586"/>
                  <a:pt x="1977" y="586"/>
                </a:cubicBezTo>
                <a:cubicBezTo>
                  <a:pt x="1980" y="588"/>
                  <a:pt x="1980" y="588"/>
                  <a:pt x="1980" y="591"/>
                </a:cubicBezTo>
                <a:cubicBezTo>
                  <a:pt x="1980" y="594"/>
                  <a:pt x="1980" y="597"/>
                  <a:pt x="1980" y="600"/>
                </a:cubicBezTo>
                <a:cubicBezTo>
                  <a:pt x="1980" y="601"/>
                  <a:pt x="1981" y="603"/>
                  <a:pt x="1982" y="604"/>
                </a:cubicBezTo>
                <a:cubicBezTo>
                  <a:pt x="1983" y="605"/>
                  <a:pt x="1984" y="605"/>
                  <a:pt x="1985" y="605"/>
                </a:cubicBezTo>
                <a:cubicBezTo>
                  <a:pt x="1986" y="605"/>
                  <a:pt x="1986" y="604"/>
                  <a:pt x="1987" y="604"/>
                </a:cubicBezTo>
                <a:cubicBezTo>
                  <a:pt x="1989" y="604"/>
                  <a:pt x="1990" y="604"/>
                  <a:pt x="1991" y="605"/>
                </a:cubicBezTo>
                <a:cubicBezTo>
                  <a:pt x="1993" y="606"/>
                  <a:pt x="1994" y="607"/>
                  <a:pt x="1994" y="608"/>
                </a:cubicBezTo>
                <a:cubicBezTo>
                  <a:pt x="1995" y="609"/>
                  <a:pt x="1995" y="610"/>
                  <a:pt x="1994" y="612"/>
                </a:cubicBezTo>
                <a:cubicBezTo>
                  <a:pt x="1993" y="613"/>
                  <a:pt x="1992" y="614"/>
                  <a:pt x="1993" y="615"/>
                </a:cubicBezTo>
                <a:cubicBezTo>
                  <a:pt x="1997" y="618"/>
                  <a:pt x="1998" y="622"/>
                  <a:pt x="1997" y="626"/>
                </a:cubicBezTo>
                <a:cubicBezTo>
                  <a:pt x="1997" y="627"/>
                  <a:pt x="1997" y="628"/>
                  <a:pt x="1997" y="630"/>
                </a:cubicBezTo>
                <a:cubicBezTo>
                  <a:pt x="1997" y="632"/>
                  <a:pt x="1998" y="634"/>
                  <a:pt x="1999" y="636"/>
                </a:cubicBezTo>
                <a:cubicBezTo>
                  <a:pt x="2000" y="636"/>
                  <a:pt x="2000" y="636"/>
                  <a:pt x="2000" y="636"/>
                </a:cubicBezTo>
                <a:cubicBezTo>
                  <a:pt x="2002" y="636"/>
                  <a:pt x="2003" y="635"/>
                  <a:pt x="2004" y="634"/>
                </a:cubicBezTo>
                <a:cubicBezTo>
                  <a:pt x="2005" y="633"/>
                  <a:pt x="2007" y="632"/>
                  <a:pt x="2009" y="632"/>
                </a:cubicBezTo>
                <a:cubicBezTo>
                  <a:pt x="2010" y="632"/>
                  <a:pt x="2011" y="632"/>
                  <a:pt x="2012" y="632"/>
                </a:cubicBezTo>
                <a:cubicBezTo>
                  <a:pt x="2014" y="632"/>
                  <a:pt x="2015" y="631"/>
                  <a:pt x="2016" y="630"/>
                </a:cubicBezTo>
                <a:cubicBezTo>
                  <a:pt x="2019" y="627"/>
                  <a:pt x="2020" y="623"/>
                  <a:pt x="2018" y="620"/>
                </a:cubicBezTo>
                <a:cubicBezTo>
                  <a:pt x="2018" y="618"/>
                  <a:pt x="2017" y="616"/>
                  <a:pt x="2017" y="615"/>
                </a:cubicBezTo>
                <a:cubicBezTo>
                  <a:pt x="2015" y="608"/>
                  <a:pt x="2015" y="608"/>
                  <a:pt x="2010" y="603"/>
                </a:cubicBezTo>
                <a:cubicBezTo>
                  <a:pt x="2008" y="601"/>
                  <a:pt x="2007" y="599"/>
                  <a:pt x="2005" y="596"/>
                </a:cubicBezTo>
                <a:cubicBezTo>
                  <a:pt x="2004" y="594"/>
                  <a:pt x="2003" y="593"/>
                  <a:pt x="2001" y="591"/>
                </a:cubicBezTo>
                <a:cubicBezTo>
                  <a:pt x="1999" y="590"/>
                  <a:pt x="1998" y="589"/>
                  <a:pt x="1996" y="588"/>
                </a:cubicBezTo>
                <a:cubicBezTo>
                  <a:pt x="1995" y="587"/>
                  <a:pt x="1994" y="584"/>
                  <a:pt x="1996" y="583"/>
                </a:cubicBezTo>
                <a:cubicBezTo>
                  <a:pt x="1996" y="582"/>
                  <a:pt x="1997" y="581"/>
                  <a:pt x="1998" y="580"/>
                </a:cubicBezTo>
                <a:cubicBezTo>
                  <a:pt x="2000" y="579"/>
                  <a:pt x="2001" y="577"/>
                  <a:pt x="2002" y="576"/>
                </a:cubicBezTo>
                <a:cubicBezTo>
                  <a:pt x="2005" y="572"/>
                  <a:pt x="2007" y="568"/>
                  <a:pt x="2005" y="563"/>
                </a:cubicBezTo>
                <a:cubicBezTo>
                  <a:pt x="2004" y="559"/>
                  <a:pt x="2005" y="556"/>
                  <a:pt x="2008" y="554"/>
                </a:cubicBezTo>
                <a:cubicBezTo>
                  <a:pt x="2009" y="553"/>
                  <a:pt x="2010" y="552"/>
                  <a:pt x="2010" y="551"/>
                </a:cubicBezTo>
                <a:cubicBezTo>
                  <a:pt x="2011" y="550"/>
                  <a:pt x="2012" y="550"/>
                  <a:pt x="2013" y="549"/>
                </a:cubicBezTo>
                <a:cubicBezTo>
                  <a:pt x="2014" y="547"/>
                  <a:pt x="2014" y="545"/>
                  <a:pt x="2016" y="544"/>
                </a:cubicBezTo>
                <a:cubicBezTo>
                  <a:pt x="2018" y="544"/>
                  <a:pt x="2019" y="546"/>
                  <a:pt x="2021" y="547"/>
                </a:cubicBezTo>
                <a:cubicBezTo>
                  <a:pt x="2023" y="548"/>
                  <a:pt x="2025" y="548"/>
                  <a:pt x="2027" y="547"/>
                </a:cubicBezTo>
                <a:cubicBezTo>
                  <a:pt x="2029" y="546"/>
                  <a:pt x="2030" y="545"/>
                  <a:pt x="2032" y="543"/>
                </a:cubicBezTo>
                <a:cubicBezTo>
                  <a:pt x="2034" y="541"/>
                  <a:pt x="2036" y="537"/>
                  <a:pt x="2037" y="534"/>
                </a:cubicBezTo>
                <a:cubicBezTo>
                  <a:pt x="2039" y="529"/>
                  <a:pt x="2042" y="524"/>
                  <a:pt x="2043" y="519"/>
                </a:cubicBezTo>
                <a:cubicBezTo>
                  <a:pt x="2043" y="518"/>
                  <a:pt x="2043" y="516"/>
                  <a:pt x="2044" y="516"/>
                </a:cubicBezTo>
                <a:cubicBezTo>
                  <a:pt x="2048" y="511"/>
                  <a:pt x="2048" y="505"/>
                  <a:pt x="2049" y="500"/>
                </a:cubicBezTo>
                <a:cubicBezTo>
                  <a:pt x="2049" y="495"/>
                  <a:pt x="2051" y="491"/>
                  <a:pt x="2051" y="486"/>
                </a:cubicBezTo>
                <a:cubicBezTo>
                  <a:pt x="2051" y="485"/>
                  <a:pt x="2051" y="484"/>
                  <a:pt x="2052" y="484"/>
                </a:cubicBezTo>
                <a:cubicBezTo>
                  <a:pt x="2054" y="481"/>
                  <a:pt x="2053" y="478"/>
                  <a:pt x="2053" y="474"/>
                </a:cubicBezTo>
                <a:cubicBezTo>
                  <a:pt x="2052" y="468"/>
                  <a:pt x="2050" y="463"/>
                  <a:pt x="2047" y="458"/>
                </a:cubicBezTo>
                <a:cubicBezTo>
                  <a:pt x="2046" y="456"/>
                  <a:pt x="2046" y="454"/>
                  <a:pt x="2045" y="451"/>
                </a:cubicBezTo>
                <a:cubicBezTo>
                  <a:pt x="2045" y="446"/>
                  <a:pt x="2045" y="441"/>
                  <a:pt x="2045" y="436"/>
                </a:cubicBezTo>
                <a:cubicBezTo>
                  <a:pt x="2045" y="436"/>
                  <a:pt x="2045" y="435"/>
                  <a:pt x="2046" y="435"/>
                </a:cubicBezTo>
                <a:cubicBezTo>
                  <a:pt x="2046" y="435"/>
                  <a:pt x="2046" y="435"/>
                  <a:pt x="2046" y="435"/>
                </a:cubicBezTo>
                <a:cubicBezTo>
                  <a:pt x="2048" y="438"/>
                  <a:pt x="2050" y="440"/>
                  <a:pt x="2053" y="443"/>
                </a:cubicBezTo>
                <a:cubicBezTo>
                  <a:pt x="2055" y="445"/>
                  <a:pt x="2054" y="449"/>
                  <a:pt x="2056" y="452"/>
                </a:cubicBezTo>
                <a:cubicBezTo>
                  <a:pt x="2057" y="453"/>
                  <a:pt x="2057" y="454"/>
                  <a:pt x="2058" y="456"/>
                </a:cubicBezTo>
                <a:cubicBezTo>
                  <a:pt x="2059" y="459"/>
                  <a:pt x="2061" y="462"/>
                  <a:pt x="2061" y="466"/>
                </a:cubicBezTo>
                <a:cubicBezTo>
                  <a:pt x="2061" y="466"/>
                  <a:pt x="2061" y="467"/>
                  <a:pt x="2061" y="467"/>
                </a:cubicBezTo>
                <a:cubicBezTo>
                  <a:pt x="2062" y="471"/>
                  <a:pt x="2062" y="475"/>
                  <a:pt x="2065" y="479"/>
                </a:cubicBezTo>
                <a:cubicBezTo>
                  <a:pt x="2066" y="480"/>
                  <a:pt x="2067" y="482"/>
                  <a:pt x="2067" y="484"/>
                </a:cubicBezTo>
                <a:cubicBezTo>
                  <a:pt x="2067" y="487"/>
                  <a:pt x="2068" y="490"/>
                  <a:pt x="2070" y="493"/>
                </a:cubicBezTo>
                <a:cubicBezTo>
                  <a:pt x="2071" y="495"/>
                  <a:pt x="2071" y="496"/>
                  <a:pt x="2071" y="499"/>
                </a:cubicBezTo>
                <a:cubicBezTo>
                  <a:pt x="2071" y="499"/>
                  <a:pt x="2071" y="500"/>
                  <a:pt x="2071" y="501"/>
                </a:cubicBezTo>
                <a:cubicBezTo>
                  <a:pt x="2072" y="503"/>
                  <a:pt x="2073" y="505"/>
                  <a:pt x="2075" y="506"/>
                </a:cubicBezTo>
                <a:cubicBezTo>
                  <a:pt x="2075" y="506"/>
                  <a:pt x="2076" y="505"/>
                  <a:pt x="2076" y="505"/>
                </a:cubicBezTo>
                <a:cubicBezTo>
                  <a:pt x="2076" y="504"/>
                  <a:pt x="2076" y="503"/>
                  <a:pt x="2076" y="502"/>
                </a:cubicBezTo>
                <a:cubicBezTo>
                  <a:pt x="2076" y="500"/>
                  <a:pt x="2077" y="499"/>
                  <a:pt x="2079" y="500"/>
                </a:cubicBezTo>
                <a:cubicBezTo>
                  <a:pt x="2081" y="500"/>
                  <a:pt x="2082" y="501"/>
                  <a:pt x="2083" y="502"/>
                </a:cubicBezTo>
                <a:cubicBezTo>
                  <a:pt x="2084" y="502"/>
                  <a:pt x="2084" y="502"/>
                  <a:pt x="2084" y="502"/>
                </a:cubicBezTo>
                <a:cubicBezTo>
                  <a:pt x="2085" y="502"/>
                  <a:pt x="2085" y="501"/>
                  <a:pt x="2085" y="501"/>
                </a:cubicBezTo>
                <a:cubicBezTo>
                  <a:pt x="2085" y="499"/>
                  <a:pt x="2084" y="496"/>
                  <a:pt x="2082" y="495"/>
                </a:cubicBezTo>
                <a:cubicBezTo>
                  <a:pt x="2078" y="494"/>
                  <a:pt x="2078" y="489"/>
                  <a:pt x="2074" y="487"/>
                </a:cubicBezTo>
                <a:cubicBezTo>
                  <a:pt x="2073" y="485"/>
                  <a:pt x="2072" y="483"/>
                  <a:pt x="2072" y="481"/>
                </a:cubicBezTo>
                <a:cubicBezTo>
                  <a:pt x="2071" y="478"/>
                  <a:pt x="2071" y="475"/>
                  <a:pt x="2070" y="472"/>
                </a:cubicBezTo>
                <a:cubicBezTo>
                  <a:pt x="2070" y="471"/>
                  <a:pt x="2070" y="471"/>
                  <a:pt x="2070" y="470"/>
                </a:cubicBezTo>
                <a:cubicBezTo>
                  <a:pt x="2070" y="469"/>
                  <a:pt x="2071" y="467"/>
                  <a:pt x="2072" y="467"/>
                </a:cubicBezTo>
                <a:cubicBezTo>
                  <a:pt x="2074" y="467"/>
                  <a:pt x="2075" y="467"/>
                  <a:pt x="2077" y="467"/>
                </a:cubicBezTo>
                <a:cubicBezTo>
                  <a:pt x="2077" y="465"/>
                  <a:pt x="2076" y="464"/>
                  <a:pt x="2076" y="463"/>
                </a:cubicBezTo>
                <a:cubicBezTo>
                  <a:pt x="2070" y="454"/>
                  <a:pt x="2066" y="444"/>
                  <a:pt x="2059" y="436"/>
                </a:cubicBezTo>
                <a:cubicBezTo>
                  <a:pt x="2057" y="434"/>
                  <a:pt x="2056" y="431"/>
                  <a:pt x="2056" y="427"/>
                </a:cubicBezTo>
                <a:cubicBezTo>
                  <a:pt x="2056" y="426"/>
                  <a:pt x="2055" y="424"/>
                  <a:pt x="2055" y="423"/>
                </a:cubicBezTo>
                <a:cubicBezTo>
                  <a:pt x="2052" y="419"/>
                  <a:pt x="2051" y="414"/>
                  <a:pt x="2047" y="412"/>
                </a:cubicBezTo>
                <a:cubicBezTo>
                  <a:pt x="2046" y="410"/>
                  <a:pt x="2046" y="408"/>
                  <a:pt x="2045" y="407"/>
                </a:cubicBezTo>
                <a:cubicBezTo>
                  <a:pt x="2044" y="405"/>
                  <a:pt x="2042" y="405"/>
                  <a:pt x="2041" y="404"/>
                </a:cubicBezTo>
                <a:cubicBezTo>
                  <a:pt x="2040" y="404"/>
                  <a:pt x="2040" y="405"/>
                  <a:pt x="2039" y="405"/>
                </a:cubicBezTo>
                <a:cubicBezTo>
                  <a:pt x="2039" y="405"/>
                  <a:pt x="2039" y="406"/>
                  <a:pt x="2039" y="406"/>
                </a:cubicBezTo>
                <a:cubicBezTo>
                  <a:pt x="2039" y="407"/>
                  <a:pt x="2040" y="407"/>
                  <a:pt x="2040" y="408"/>
                </a:cubicBezTo>
                <a:cubicBezTo>
                  <a:pt x="2043" y="411"/>
                  <a:pt x="2043" y="411"/>
                  <a:pt x="2040" y="415"/>
                </a:cubicBezTo>
                <a:cubicBezTo>
                  <a:pt x="2040" y="416"/>
                  <a:pt x="2040" y="417"/>
                  <a:pt x="2040" y="417"/>
                </a:cubicBezTo>
                <a:cubicBezTo>
                  <a:pt x="2040" y="418"/>
                  <a:pt x="2041" y="419"/>
                  <a:pt x="2041" y="420"/>
                </a:cubicBezTo>
                <a:cubicBezTo>
                  <a:pt x="2043" y="423"/>
                  <a:pt x="2044" y="426"/>
                  <a:pt x="2044" y="429"/>
                </a:cubicBezTo>
                <a:cubicBezTo>
                  <a:pt x="2044" y="430"/>
                  <a:pt x="2044" y="430"/>
                  <a:pt x="2044" y="431"/>
                </a:cubicBezTo>
                <a:cubicBezTo>
                  <a:pt x="2043" y="431"/>
                  <a:pt x="2042" y="431"/>
                  <a:pt x="2042" y="430"/>
                </a:cubicBezTo>
                <a:cubicBezTo>
                  <a:pt x="2041" y="428"/>
                  <a:pt x="2041" y="426"/>
                  <a:pt x="2040" y="425"/>
                </a:cubicBezTo>
                <a:cubicBezTo>
                  <a:pt x="2039" y="424"/>
                  <a:pt x="2038" y="423"/>
                  <a:pt x="2039" y="422"/>
                </a:cubicBezTo>
                <a:cubicBezTo>
                  <a:pt x="2039" y="419"/>
                  <a:pt x="2037" y="417"/>
                  <a:pt x="2035" y="416"/>
                </a:cubicBezTo>
                <a:cubicBezTo>
                  <a:pt x="2032" y="414"/>
                  <a:pt x="2028" y="412"/>
                  <a:pt x="2025" y="409"/>
                </a:cubicBezTo>
                <a:cubicBezTo>
                  <a:pt x="2024" y="409"/>
                  <a:pt x="2023" y="409"/>
                  <a:pt x="2022" y="409"/>
                </a:cubicBezTo>
                <a:cubicBezTo>
                  <a:pt x="2021" y="409"/>
                  <a:pt x="2020" y="409"/>
                  <a:pt x="2018" y="409"/>
                </a:cubicBezTo>
                <a:cubicBezTo>
                  <a:pt x="2016" y="409"/>
                  <a:pt x="2015" y="410"/>
                  <a:pt x="2015" y="412"/>
                </a:cubicBezTo>
                <a:cubicBezTo>
                  <a:pt x="2015" y="414"/>
                  <a:pt x="2014" y="415"/>
                  <a:pt x="2012" y="417"/>
                </a:cubicBezTo>
                <a:cubicBezTo>
                  <a:pt x="2012" y="417"/>
                  <a:pt x="2012" y="417"/>
                  <a:pt x="2012" y="417"/>
                </a:cubicBezTo>
                <a:cubicBezTo>
                  <a:pt x="2010" y="414"/>
                  <a:pt x="2009" y="412"/>
                  <a:pt x="2008" y="410"/>
                </a:cubicBezTo>
                <a:cubicBezTo>
                  <a:pt x="2008" y="410"/>
                  <a:pt x="2008" y="409"/>
                  <a:pt x="2008" y="409"/>
                </a:cubicBezTo>
                <a:cubicBezTo>
                  <a:pt x="2007" y="409"/>
                  <a:pt x="2007" y="410"/>
                  <a:pt x="2006" y="410"/>
                </a:cubicBezTo>
                <a:cubicBezTo>
                  <a:pt x="2005" y="411"/>
                  <a:pt x="2005" y="412"/>
                  <a:pt x="2006" y="413"/>
                </a:cubicBezTo>
                <a:cubicBezTo>
                  <a:pt x="2006" y="414"/>
                  <a:pt x="2005" y="415"/>
                  <a:pt x="2005" y="415"/>
                </a:cubicBezTo>
                <a:cubicBezTo>
                  <a:pt x="2005" y="415"/>
                  <a:pt x="2004" y="415"/>
                  <a:pt x="2004" y="414"/>
                </a:cubicBezTo>
                <a:cubicBezTo>
                  <a:pt x="2003" y="412"/>
                  <a:pt x="2002" y="410"/>
                  <a:pt x="2001" y="408"/>
                </a:cubicBezTo>
                <a:cubicBezTo>
                  <a:pt x="2000" y="406"/>
                  <a:pt x="1999" y="405"/>
                  <a:pt x="1997" y="406"/>
                </a:cubicBezTo>
                <a:cubicBezTo>
                  <a:pt x="1996" y="406"/>
                  <a:pt x="1995" y="407"/>
                  <a:pt x="1995" y="407"/>
                </a:cubicBezTo>
                <a:cubicBezTo>
                  <a:pt x="1994" y="407"/>
                  <a:pt x="1993" y="407"/>
                  <a:pt x="1992" y="407"/>
                </a:cubicBezTo>
                <a:cubicBezTo>
                  <a:pt x="1990" y="407"/>
                  <a:pt x="1989" y="405"/>
                  <a:pt x="1990" y="404"/>
                </a:cubicBezTo>
                <a:cubicBezTo>
                  <a:pt x="1990" y="403"/>
                  <a:pt x="1990" y="402"/>
                  <a:pt x="1991" y="401"/>
                </a:cubicBezTo>
                <a:cubicBezTo>
                  <a:pt x="1992" y="399"/>
                  <a:pt x="1993" y="396"/>
                  <a:pt x="1995" y="394"/>
                </a:cubicBezTo>
                <a:cubicBezTo>
                  <a:pt x="1996" y="391"/>
                  <a:pt x="1998" y="388"/>
                  <a:pt x="1998" y="385"/>
                </a:cubicBezTo>
                <a:cubicBezTo>
                  <a:pt x="1999" y="379"/>
                  <a:pt x="2001" y="373"/>
                  <a:pt x="2003" y="368"/>
                </a:cubicBezTo>
                <a:cubicBezTo>
                  <a:pt x="2005" y="364"/>
                  <a:pt x="2007" y="361"/>
                  <a:pt x="2006" y="356"/>
                </a:cubicBezTo>
                <a:cubicBezTo>
                  <a:pt x="2005" y="354"/>
                  <a:pt x="2006" y="353"/>
                  <a:pt x="2007" y="351"/>
                </a:cubicBezTo>
                <a:cubicBezTo>
                  <a:pt x="2008" y="349"/>
                  <a:pt x="2009" y="347"/>
                  <a:pt x="2008" y="344"/>
                </a:cubicBezTo>
                <a:cubicBezTo>
                  <a:pt x="2008" y="343"/>
                  <a:pt x="2008" y="342"/>
                  <a:pt x="2009" y="341"/>
                </a:cubicBezTo>
                <a:cubicBezTo>
                  <a:pt x="2010" y="338"/>
                  <a:pt x="2012" y="337"/>
                  <a:pt x="2015" y="336"/>
                </a:cubicBezTo>
                <a:cubicBezTo>
                  <a:pt x="2018" y="335"/>
                  <a:pt x="2021" y="334"/>
                  <a:pt x="2025" y="333"/>
                </a:cubicBezTo>
                <a:cubicBezTo>
                  <a:pt x="2026" y="332"/>
                  <a:pt x="2027" y="332"/>
                  <a:pt x="2029" y="333"/>
                </a:cubicBezTo>
                <a:cubicBezTo>
                  <a:pt x="2030" y="334"/>
                  <a:pt x="2032" y="334"/>
                  <a:pt x="2032" y="332"/>
                </a:cubicBezTo>
                <a:cubicBezTo>
                  <a:pt x="2034" y="330"/>
                  <a:pt x="2036" y="329"/>
                  <a:pt x="2038" y="329"/>
                </a:cubicBezTo>
                <a:cubicBezTo>
                  <a:pt x="2041" y="330"/>
                  <a:pt x="2044" y="328"/>
                  <a:pt x="2047" y="328"/>
                </a:cubicBezTo>
                <a:cubicBezTo>
                  <a:pt x="2047" y="328"/>
                  <a:pt x="2048" y="327"/>
                  <a:pt x="2048" y="327"/>
                </a:cubicBezTo>
                <a:cubicBezTo>
                  <a:pt x="2049" y="326"/>
                  <a:pt x="2049" y="324"/>
                  <a:pt x="2049" y="323"/>
                </a:cubicBezTo>
                <a:cubicBezTo>
                  <a:pt x="2050" y="321"/>
                  <a:pt x="2051" y="320"/>
                  <a:pt x="2053" y="320"/>
                </a:cubicBezTo>
                <a:cubicBezTo>
                  <a:pt x="2057" y="321"/>
                  <a:pt x="2061" y="321"/>
                  <a:pt x="2065" y="322"/>
                </a:cubicBezTo>
                <a:cubicBezTo>
                  <a:pt x="2065" y="322"/>
                  <a:pt x="2066" y="322"/>
                  <a:pt x="2067" y="323"/>
                </a:cubicBezTo>
                <a:cubicBezTo>
                  <a:pt x="2067" y="323"/>
                  <a:pt x="2067" y="324"/>
                  <a:pt x="2067" y="324"/>
                </a:cubicBezTo>
                <a:cubicBezTo>
                  <a:pt x="2067" y="325"/>
                  <a:pt x="2067" y="325"/>
                  <a:pt x="2066" y="326"/>
                </a:cubicBezTo>
                <a:cubicBezTo>
                  <a:pt x="2066" y="327"/>
                  <a:pt x="2066" y="328"/>
                  <a:pt x="2067" y="329"/>
                </a:cubicBezTo>
                <a:cubicBezTo>
                  <a:pt x="2068" y="330"/>
                  <a:pt x="2069" y="330"/>
                  <a:pt x="2070" y="330"/>
                </a:cubicBezTo>
                <a:cubicBezTo>
                  <a:pt x="2073" y="328"/>
                  <a:pt x="2077" y="327"/>
                  <a:pt x="2079" y="324"/>
                </a:cubicBezTo>
                <a:cubicBezTo>
                  <a:pt x="2079" y="323"/>
                  <a:pt x="2080" y="323"/>
                  <a:pt x="2082" y="323"/>
                </a:cubicBezTo>
                <a:cubicBezTo>
                  <a:pt x="2083" y="323"/>
                  <a:pt x="2084" y="323"/>
                  <a:pt x="2085" y="322"/>
                </a:cubicBezTo>
                <a:cubicBezTo>
                  <a:pt x="2086" y="321"/>
                  <a:pt x="2088" y="320"/>
                  <a:pt x="2088" y="318"/>
                </a:cubicBezTo>
                <a:cubicBezTo>
                  <a:pt x="2087" y="316"/>
                  <a:pt x="2085" y="316"/>
                  <a:pt x="2083" y="316"/>
                </a:cubicBezTo>
                <a:cubicBezTo>
                  <a:pt x="2083" y="316"/>
                  <a:pt x="2083" y="316"/>
                  <a:pt x="2083" y="316"/>
                </a:cubicBezTo>
                <a:cubicBezTo>
                  <a:pt x="2082" y="315"/>
                  <a:pt x="2081" y="315"/>
                  <a:pt x="2081" y="314"/>
                </a:cubicBezTo>
                <a:cubicBezTo>
                  <a:pt x="2079" y="311"/>
                  <a:pt x="2079" y="308"/>
                  <a:pt x="2080" y="305"/>
                </a:cubicBezTo>
                <a:cubicBezTo>
                  <a:pt x="2081" y="304"/>
                  <a:pt x="2081" y="303"/>
                  <a:pt x="2081" y="303"/>
                </a:cubicBezTo>
                <a:cubicBezTo>
                  <a:pt x="2082" y="300"/>
                  <a:pt x="2082" y="298"/>
                  <a:pt x="2082" y="295"/>
                </a:cubicBezTo>
                <a:cubicBezTo>
                  <a:pt x="2082" y="292"/>
                  <a:pt x="2082" y="288"/>
                  <a:pt x="2082" y="285"/>
                </a:cubicBezTo>
                <a:cubicBezTo>
                  <a:pt x="2082" y="282"/>
                  <a:pt x="2083" y="280"/>
                  <a:pt x="2086" y="279"/>
                </a:cubicBezTo>
                <a:cubicBezTo>
                  <a:pt x="2087" y="279"/>
                  <a:pt x="2089" y="278"/>
                  <a:pt x="2091" y="277"/>
                </a:cubicBezTo>
                <a:cubicBezTo>
                  <a:pt x="2093" y="276"/>
                  <a:pt x="2095" y="276"/>
                  <a:pt x="2097" y="276"/>
                </a:cubicBezTo>
                <a:cubicBezTo>
                  <a:pt x="2098" y="277"/>
                  <a:pt x="2099" y="276"/>
                  <a:pt x="2100" y="275"/>
                </a:cubicBezTo>
                <a:cubicBezTo>
                  <a:pt x="2101" y="275"/>
                  <a:pt x="2102" y="275"/>
                  <a:pt x="2102" y="276"/>
                </a:cubicBezTo>
                <a:cubicBezTo>
                  <a:pt x="2102" y="278"/>
                  <a:pt x="2103" y="280"/>
                  <a:pt x="2103" y="282"/>
                </a:cubicBezTo>
                <a:cubicBezTo>
                  <a:pt x="2103" y="284"/>
                  <a:pt x="2104" y="285"/>
                  <a:pt x="2106" y="286"/>
                </a:cubicBezTo>
                <a:cubicBezTo>
                  <a:pt x="2107" y="287"/>
                  <a:pt x="2109" y="288"/>
                  <a:pt x="2111" y="289"/>
                </a:cubicBezTo>
                <a:cubicBezTo>
                  <a:pt x="2111" y="289"/>
                  <a:pt x="2112" y="289"/>
                  <a:pt x="2112" y="289"/>
                </a:cubicBezTo>
                <a:cubicBezTo>
                  <a:pt x="2113" y="288"/>
                  <a:pt x="2113" y="287"/>
                  <a:pt x="2114" y="286"/>
                </a:cubicBezTo>
                <a:cubicBezTo>
                  <a:pt x="2114" y="283"/>
                  <a:pt x="2115" y="280"/>
                  <a:pt x="2115" y="276"/>
                </a:cubicBezTo>
                <a:cubicBezTo>
                  <a:pt x="2116" y="274"/>
                  <a:pt x="2117" y="273"/>
                  <a:pt x="2119" y="272"/>
                </a:cubicBezTo>
                <a:cubicBezTo>
                  <a:pt x="2120" y="271"/>
                  <a:pt x="2120" y="270"/>
                  <a:pt x="2120" y="269"/>
                </a:cubicBezTo>
                <a:cubicBezTo>
                  <a:pt x="2120" y="269"/>
                  <a:pt x="2120" y="269"/>
                  <a:pt x="2120" y="269"/>
                </a:cubicBezTo>
                <a:cubicBezTo>
                  <a:pt x="2116" y="265"/>
                  <a:pt x="2115" y="261"/>
                  <a:pt x="2114" y="256"/>
                </a:cubicBezTo>
                <a:cubicBezTo>
                  <a:pt x="2114" y="256"/>
                  <a:pt x="2114" y="256"/>
                  <a:pt x="2114" y="256"/>
                </a:cubicBezTo>
                <a:cubicBezTo>
                  <a:pt x="2115" y="254"/>
                  <a:pt x="2118" y="253"/>
                  <a:pt x="2120" y="254"/>
                </a:cubicBezTo>
                <a:cubicBezTo>
                  <a:pt x="2121" y="254"/>
                  <a:pt x="2122" y="255"/>
                  <a:pt x="2121" y="256"/>
                </a:cubicBezTo>
                <a:cubicBezTo>
                  <a:pt x="2120" y="259"/>
                  <a:pt x="2120" y="261"/>
                  <a:pt x="2122" y="263"/>
                </a:cubicBezTo>
                <a:cubicBezTo>
                  <a:pt x="2123" y="266"/>
                  <a:pt x="2125" y="269"/>
                  <a:pt x="2125" y="273"/>
                </a:cubicBezTo>
                <a:cubicBezTo>
                  <a:pt x="2125" y="274"/>
                  <a:pt x="2125" y="274"/>
                  <a:pt x="2126" y="275"/>
                </a:cubicBezTo>
                <a:cubicBezTo>
                  <a:pt x="2128" y="277"/>
                  <a:pt x="2127" y="280"/>
                  <a:pt x="2128" y="283"/>
                </a:cubicBezTo>
                <a:cubicBezTo>
                  <a:pt x="2127" y="285"/>
                  <a:pt x="2126" y="286"/>
                  <a:pt x="2124" y="288"/>
                </a:cubicBezTo>
                <a:cubicBezTo>
                  <a:pt x="2124" y="288"/>
                  <a:pt x="2124" y="288"/>
                  <a:pt x="2124" y="289"/>
                </a:cubicBezTo>
                <a:cubicBezTo>
                  <a:pt x="2123" y="290"/>
                  <a:pt x="2122" y="291"/>
                  <a:pt x="2122" y="293"/>
                </a:cubicBezTo>
                <a:cubicBezTo>
                  <a:pt x="2122" y="298"/>
                  <a:pt x="2123" y="303"/>
                  <a:pt x="2121" y="307"/>
                </a:cubicBezTo>
                <a:cubicBezTo>
                  <a:pt x="2120" y="308"/>
                  <a:pt x="2121" y="309"/>
                  <a:pt x="2120" y="311"/>
                </a:cubicBezTo>
                <a:cubicBezTo>
                  <a:pt x="2120" y="315"/>
                  <a:pt x="2120" y="319"/>
                  <a:pt x="2120" y="324"/>
                </a:cubicBezTo>
                <a:cubicBezTo>
                  <a:pt x="2121" y="327"/>
                  <a:pt x="2120" y="331"/>
                  <a:pt x="2118" y="333"/>
                </a:cubicBezTo>
                <a:cubicBezTo>
                  <a:pt x="2117" y="334"/>
                  <a:pt x="2117" y="335"/>
                  <a:pt x="2116" y="336"/>
                </a:cubicBezTo>
                <a:cubicBezTo>
                  <a:pt x="2116" y="336"/>
                  <a:pt x="2115" y="337"/>
                  <a:pt x="2114" y="337"/>
                </a:cubicBezTo>
                <a:cubicBezTo>
                  <a:pt x="2112" y="339"/>
                  <a:pt x="2112" y="339"/>
                  <a:pt x="2113" y="341"/>
                </a:cubicBezTo>
                <a:cubicBezTo>
                  <a:pt x="2115" y="343"/>
                  <a:pt x="2115" y="346"/>
                  <a:pt x="2115" y="349"/>
                </a:cubicBezTo>
                <a:cubicBezTo>
                  <a:pt x="2115" y="350"/>
                  <a:pt x="2114" y="351"/>
                  <a:pt x="2114" y="353"/>
                </a:cubicBezTo>
                <a:cubicBezTo>
                  <a:pt x="2113" y="355"/>
                  <a:pt x="2113" y="357"/>
                  <a:pt x="2113" y="359"/>
                </a:cubicBezTo>
                <a:cubicBezTo>
                  <a:pt x="2113" y="362"/>
                  <a:pt x="2115" y="365"/>
                  <a:pt x="2116" y="369"/>
                </a:cubicBezTo>
                <a:cubicBezTo>
                  <a:pt x="2119" y="380"/>
                  <a:pt x="2126" y="389"/>
                  <a:pt x="2132" y="399"/>
                </a:cubicBezTo>
                <a:cubicBezTo>
                  <a:pt x="2133" y="402"/>
                  <a:pt x="2135" y="404"/>
                  <a:pt x="2137" y="407"/>
                </a:cubicBezTo>
                <a:cubicBezTo>
                  <a:pt x="2138" y="409"/>
                  <a:pt x="2139" y="411"/>
                  <a:pt x="2140" y="412"/>
                </a:cubicBezTo>
                <a:cubicBezTo>
                  <a:pt x="2142" y="414"/>
                  <a:pt x="2144" y="416"/>
                  <a:pt x="2145" y="418"/>
                </a:cubicBezTo>
                <a:cubicBezTo>
                  <a:pt x="2146" y="421"/>
                  <a:pt x="2147" y="423"/>
                  <a:pt x="2148" y="426"/>
                </a:cubicBezTo>
                <a:cubicBezTo>
                  <a:pt x="2149" y="428"/>
                  <a:pt x="2151" y="429"/>
                  <a:pt x="2153" y="431"/>
                </a:cubicBezTo>
                <a:cubicBezTo>
                  <a:pt x="2153" y="431"/>
                  <a:pt x="2154" y="430"/>
                  <a:pt x="2154" y="430"/>
                </a:cubicBezTo>
                <a:cubicBezTo>
                  <a:pt x="2156" y="429"/>
                  <a:pt x="2156" y="427"/>
                  <a:pt x="2157" y="425"/>
                </a:cubicBezTo>
                <a:cubicBezTo>
                  <a:pt x="2159" y="420"/>
                  <a:pt x="2159" y="416"/>
                  <a:pt x="2158" y="411"/>
                </a:cubicBezTo>
                <a:cubicBezTo>
                  <a:pt x="2156" y="405"/>
                  <a:pt x="2155" y="404"/>
                  <a:pt x="2161" y="401"/>
                </a:cubicBezTo>
                <a:cubicBezTo>
                  <a:pt x="2161" y="401"/>
                  <a:pt x="2162" y="401"/>
                  <a:pt x="2162" y="400"/>
                </a:cubicBezTo>
                <a:cubicBezTo>
                  <a:pt x="2163" y="400"/>
                  <a:pt x="2163" y="399"/>
                  <a:pt x="2162" y="398"/>
                </a:cubicBezTo>
                <a:cubicBezTo>
                  <a:pt x="2162" y="397"/>
                  <a:pt x="2161" y="396"/>
                  <a:pt x="2160" y="395"/>
                </a:cubicBezTo>
                <a:cubicBezTo>
                  <a:pt x="2159" y="394"/>
                  <a:pt x="2159" y="392"/>
                  <a:pt x="2159" y="391"/>
                </a:cubicBezTo>
                <a:cubicBezTo>
                  <a:pt x="2159" y="389"/>
                  <a:pt x="2159" y="386"/>
                  <a:pt x="2159" y="383"/>
                </a:cubicBezTo>
                <a:cubicBezTo>
                  <a:pt x="2160" y="382"/>
                  <a:pt x="2161" y="380"/>
                  <a:pt x="2163" y="380"/>
                </a:cubicBezTo>
                <a:cubicBezTo>
                  <a:pt x="2164" y="379"/>
                  <a:pt x="2165" y="378"/>
                  <a:pt x="2166" y="378"/>
                </a:cubicBezTo>
                <a:cubicBezTo>
                  <a:pt x="2168" y="377"/>
                  <a:pt x="2168" y="375"/>
                  <a:pt x="2167" y="374"/>
                </a:cubicBezTo>
                <a:cubicBezTo>
                  <a:pt x="2166" y="372"/>
                  <a:pt x="2165" y="371"/>
                  <a:pt x="2163" y="369"/>
                </a:cubicBezTo>
                <a:cubicBezTo>
                  <a:pt x="2159" y="365"/>
                  <a:pt x="2158" y="361"/>
                  <a:pt x="2159" y="356"/>
                </a:cubicBezTo>
                <a:cubicBezTo>
                  <a:pt x="2159" y="355"/>
                  <a:pt x="2160" y="354"/>
                  <a:pt x="2161" y="354"/>
                </a:cubicBezTo>
                <a:cubicBezTo>
                  <a:pt x="2162" y="354"/>
                  <a:pt x="2162" y="354"/>
                  <a:pt x="2163" y="354"/>
                </a:cubicBezTo>
                <a:cubicBezTo>
                  <a:pt x="2164" y="354"/>
                  <a:pt x="2166" y="352"/>
                  <a:pt x="2165" y="351"/>
                </a:cubicBezTo>
                <a:cubicBezTo>
                  <a:pt x="2164" y="349"/>
                  <a:pt x="2163" y="347"/>
                  <a:pt x="2162" y="345"/>
                </a:cubicBezTo>
                <a:cubicBezTo>
                  <a:pt x="2161" y="343"/>
                  <a:pt x="2160" y="342"/>
                  <a:pt x="2158" y="343"/>
                </a:cubicBezTo>
                <a:cubicBezTo>
                  <a:pt x="2157" y="343"/>
                  <a:pt x="2156" y="342"/>
                  <a:pt x="2156" y="342"/>
                </a:cubicBezTo>
                <a:cubicBezTo>
                  <a:pt x="2155" y="340"/>
                  <a:pt x="2154" y="337"/>
                  <a:pt x="2155" y="334"/>
                </a:cubicBezTo>
                <a:cubicBezTo>
                  <a:pt x="2155" y="334"/>
                  <a:pt x="2155" y="333"/>
                  <a:pt x="2155" y="332"/>
                </a:cubicBezTo>
                <a:cubicBezTo>
                  <a:pt x="2155" y="331"/>
                  <a:pt x="2155" y="330"/>
                  <a:pt x="2154" y="330"/>
                </a:cubicBezTo>
                <a:cubicBezTo>
                  <a:pt x="2153" y="328"/>
                  <a:pt x="2151" y="328"/>
                  <a:pt x="2149" y="327"/>
                </a:cubicBezTo>
                <a:cubicBezTo>
                  <a:pt x="2149" y="327"/>
                  <a:pt x="2148" y="328"/>
                  <a:pt x="2148" y="328"/>
                </a:cubicBezTo>
                <a:cubicBezTo>
                  <a:pt x="2147" y="329"/>
                  <a:pt x="2147" y="329"/>
                  <a:pt x="2147" y="330"/>
                </a:cubicBezTo>
                <a:cubicBezTo>
                  <a:pt x="2147" y="330"/>
                  <a:pt x="2147" y="330"/>
                  <a:pt x="2147" y="330"/>
                </a:cubicBezTo>
                <a:cubicBezTo>
                  <a:pt x="2147" y="330"/>
                  <a:pt x="2147" y="330"/>
                  <a:pt x="2147" y="330"/>
                </a:cubicBezTo>
                <a:cubicBezTo>
                  <a:pt x="2147" y="330"/>
                  <a:pt x="2147" y="330"/>
                  <a:pt x="2147" y="330"/>
                </a:cubicBezTo>
                <a:cubicBezTo>
                  <a:pt x="2147" y="331"/>
                  <a:pt x="2147" y="331"/>
                  <a:pt x="2147" y="330"/>
                </a:cubicBezTo>
                <a:cubicBezTo>
                  <a:pt x="2147" y="330"/>
                  <a:pt x="2147" y="330"/>
                  <a:pt x="2147" y="330"/>
                </a:cubicBezTo>
                <a:cubicBezTo>
                  <a:pt x="2147" y="330"/>
                  <a:pt x="2147" y="330"/>
                  <a:pt x="2147" y="330"/>
                </a:cubicBezTo>
                <a:cubicBezTo>
                  <a:pt x="2145" y="329"/>
                  <a:pt x="2144" y="328"/>
                  <a:pt x="2143" y="326"/>
                </a:cubicBezTo>
                <a:cubicBezTo>
                  <a:pt x="2142" y="323"/>
                  <a:pt x="2142" y="320"/>
                  <a:pt x="2142" y="317"/>
                </a:cubicBezTo>
                <a:cubicBezTo>
                  <a:pt x="2142" y="312"/>
                  <a:pt x="2142" y="307"/>
                  <a:pt x="2139" y="303"/>
                </a:cubicBezTo>
                <a:cubicBezTo>
                  <a:pt x="2139" y="302"/>
                  <a:pt x="2139" y="301"/>
                  <a:pt x="2138" y="301"/>
                </a:cubicBezTo>
                <a:cubicBezTo>
                  <a:pt x="2138" y="298"/>
                  <a:pt x="2139" y="295"/>
                  <a:pt x="2142" y="294"/>
                </a:cubicBezTo>
                <a:cubicBezTo>
                  <a:pt x="2143" y="294"/>
                  <a:pt x="2144" y="295"/>
                  <a:pt x="2144" y="294"/>
                </a:cubicBezTo>
                <a:cubicBezTo>
                  <a:pt x="2146" y="294"/>
                  <a:pt x="2146" y="294"/>
                  <a:pt x="2147" y="293"/>
                </a:cubicBezTo>
                <a:cubicBezTo>
                  <a:pt x="2147" y="291"/>
                  <a:pt x="2147" y="290"/>
                  <a:pt x="2148" y="289"/>
                </a:cubicBezTo>
                <a:cubicBezTo>
                  <a:pt x="2149" y="288"/>
                  <a:pt x="2150" y="288"/>
                  <a:pt x="2150" y="288"/>
                </a:cubicBezTo>
                <a:cubicBezTo>
                  <a:pt x="2151" y="290"/>
                  <a:pt x="2151" y="291"/>
                  <a:pt x="2152" y="292"/>
                </a:cubicBezTo>
                <a:cubicBezTo>
                  <a:pt x="2152" y="293"/>
                  <a:pt x="2153" y="293"/>
                  <a:pt x="2154" y="293"/>
                </a:cubicBezTo>
                <a:cubicBezTo>
                  <a:pt x="2154" y="293"/>
                  <a:pt x="2155" y="292"/>
                  <a:pt x="2155" y="292"/>
                </a:cubicBezTo>
                <a:cubicBezTo>
                  <a:pt x="2155" y="290"/>
                  <a:pt x="2156" y="289"/>
                  <a:pt x="2156" y="287"/>
                </a:cubicBezTo>
                <a:cubicBezTo>
                  <a:pt x="2156" y="285"/>
                  <a:pt x="2157" y="284"/>
                  <a:pt x="2159" y="282"/>
                </a:cubicBezTo>
                <a:cubicBezTo>
                  <a:pt x="2161" y="280"/>
                  <a:pt x="2163" y="279"/>
                  <a:pt x="2166" y="279"/>
                </a:cubicBezTo>
                <a:cubicBezTo>
                  <a:pt x="2168" y="278"/>
                  <a:pt x="2169" y="280"/>
                  <a:pt x="2170" y="281"/>
                </a:cubicBezTo>
                <a:cubicBezTo>
                  <a:pt x="2172" y="281"/>
                  <a:pt x="2173" y="283"/>
                  <a:pt x="2175" y="284"/>
                </a:cubicBezTo>
                <a:cubicBezTo>
                  <a:pt x="2175" y="284"/>
                  <a:pt x="2176" y="284"/>
                  <a:pt x="2176" y="284"/>
                </a:cubicBezTo>
                <a:cubicBezTo>
                  <a:pt x="2177" y="285"/>
                  <a:pt x="2178" y="285"/>
                  <a:pt x="2179" y="285"/>
                </a:cubicBezTo>
                <a:cubicBezTo>
                  <a:pt x="2180" y="285"/>
                  <a:pt x="2180" y="284"/>
                  <a:pt x="2180" y="283"/>
                </a:cubicBezTo>
                <a:cubicBezTo>
                  <a:pt x="2180" y="281"/>
                  <a:pt x="2179" y="279"/>
                  <a:pt x="2179" y="277"/>
                </a:cubicBezTo>
                <a:cubicBezTo>
                  <a:pt x="2180" y="275"/>
                  <a:pt x="2180" y="273"/>
                  <a:pt x="2181" y="271"/>
                </a:cubicBezTo>
                <a:cubicBezTo>
                  <a:pt x="2181" y="269"/>
                  <a:pt x="2182" y="266"/>
                  <a:pt x="2182" y="263"/>
                </a:cubicBezTo>
                <a:cubicBezTo>
                  <a:pt x="2182" y="258"/>
                  <a:pt x="2184" y="254"/>
                  <a:pt x="2186" y="250"/>
                </a:cubicBezTo>
                <a:cubicBezTo>
                  <a:pt x="2187" y="248"/>
                  <a:pt x="2188" y="246"/>
                  <a:pt x="2189" y="243"/>
                </a:cubicBezTo>
                <a:cubicBezTo>
                  <a:pt x="2191" y="240"/>
                  <a:pt x="2193" y="236"/>
                  <a:pt x="2196" y="234"/>
                </a:cubicBezTo>
                <a:cubicBezTo>
                  <a:pt x="2197" y="233"/>
                  <a:pt x="2199" y="232"/>
                  <a:pt x="2200" y="232"/>
                </a:cubicBezTo>
                <a:cubicBezTo>
                  <a:pt x="2202" y="232"/>
                  <a:pt x="2204" y="232"/>
                  <a:pt x="2206" y="232"/>
                </a:cubicBezTo>
                <a:cubicBezTo>
                  <a:pt x="2207" y="232"/>
                  <a:pt x="2208" y="232"/>
                  <a:pt x="2209" y="232"/>
                </a:cubicBezTo>
                <a:cubicBezTo>
                  <a:pt x="2210" y="232"/>
                  <a:pt x="2210" y="231"/>
                  <a:pt x="2210" y="231"/>
                </a:cubicBezTo>
                <a:cubicBezTo>
                  <a:pt x="2210" y="227"/>
                  <a:pt x="2210" y="223"/>
                  <a:pt x="2207" y="220"/>
                </a:cubicBezTo>
                <a:cubicBezTo>
                  <a:pt x="2206" y="220"/>
                  <a:pt x="2206" y="219"/>
                  <a:pt x="2205" y="218"/>
                </a:cubicBezTo>
                <a:cubicBezTo>
                  <a:pt x="2205" y="217"/>
                  <a:pt x="2204" y="216"/>
                  <a:pt x="2203" y="216"/>
                </a:cubicBezTo>
                <a:cubicBezTo>
                  <a:pt x="2200" y="215"/>
                  <a:pt x="2198" y="212"/>
                  <a:pt x="2194" y="211"/>
                </a:cubicBezTo>
                <a:cubicBezTo>
                  <a:pt x="2194" y="211"/>
                  <a:pt x="2194" y="211"/>
                  <a:pt x="2194" y="211"/>
                </a:cubicBezTo>
                <a:cubicBezTo>
                  <a:pt x="2194" y="211"/>
                  <a:pt x="2194" y="211"/>
                  <a:pt x="2194" y="211"/>
                </a:cubicBezTo>
                <a:cubicBezTo>
                  <a:pt x="2194" y="211"/>
                  <a:pt x="2194" y="211"/>
                  <a:pt x="2194" y="211"/>
                </a:cubicBezTo>
                <a:cubicBezTo>
                  <a:pt x="2194" y="211"/>
                  <a:pt x="2194" y="211"/>
                  <a:pt x="2194" y="211"/>
                </a:cubicBezTo>
                <a:cubicBezTo>
                  <a:pt x="2194" y="210"/>
                  <a:pt x="2194" y="209"/>
                  <a:pt x="2193" y="208"/>
                </a:cubicBezTo>
                <a:cubicBezTo>
                  <a:pt x="2193" y="206"/>
                  <a:pt x="2191" y="204"/>
                  <a:pt x="2189" y="204"/>
                </a:cubicBezTo>
                <a:cubicBezTo>
                  <a:pt x="2188" y="204"/>
                  <a:pt x="2188" y="204"/>
                  <a:pt x="2187" y="204"/>
                </a:cubicBezTo>
                <a:cubicBezTo>
                  <a:pt x="2187" y="203"/>
                  <a:pt x="2187" y="203"/>
                  <a:pt x="2187" y="202"/>
                </a:cubicBezTo>
                <a:cubicBezTo>
                  <a:pt x="2186" y="200"/>
                  <a:pt x="2185" y="199"/>
                  <a:pt x="2182" y="199"/>
                </a:cubicBezTo>
                <a:cubicBezTo>
                  <a:pt x="2179" y="200"/>
                  <a:pt x="2178" y="198"/>
                  <a:pt x="2176" y="197"/>
                </a:cubicBezTo>
                <a:cubicBezTo>
                  <a:pt x="2176" y="196"/>
                  <a:pt x="2176" y="195"/>
                  <a:pt x="2177" y="195"/>
                </a:cubicBezTo>
                <a:cubicBezTo>
                  <a:pt x="2178" y="194"/>
                  <a:pt x="2179" y="194"/>
                  <a:pt x="2180" y="194"/>
                </a:cubicBezTo>
                <a:cubicBezTo>
                  <a:pt x="2183" y="193"/>
                  <a:pt x="2185" y="190"/>
                  <a:pt x="2185" y="187"/>
                </a:cubicBezTo>
                <a:cubicBezTo>
                  <a:pt x="2185" y="184"/>
                  <a:pt x="2185" y="180"/>
                  <a:pt x="2185" y="177"/>
                </a:cubicBezTo>
                <a:cubicBezTo>
                  <a:pt x="2185" y="176"/>
                  <a:pt x="2185" y="174"/>
                  <a:pt x="2185" y="173"/>
                </a:cubicBezTo>
                <a:cubicBezTo>
                  <a:pt x="2184" y="172"/>
                  <a:pt x="2183" y="171"/>
                  <a:pt x="2183" y="169"/>
                </a:cubicBezTo>
                <a:cubicBezTo>
                  <a:pt x="2182" y="167"/>
                  <a:pt x="2180" y="166"/>
                  <a:pt x="2178" y="166"/>
                </a:cubicBezTo>
                <a:cubicBezTo>
                  <a:pt x="2176" y="165"/>
                  <a:pt x="2174" y="164"/>
                  <a:pt x="2173" y="162"/>
                </a:cubicBezTo>
                <a:cubicBezTo>
                  <a:pt x="2173" y="162"/>
                  <a:pt x="2172" y="161"/>
                  <a:pt x="2173" y="160"/>
                </a:cubicBezTo>
                <a:cubicBezTo>
                  <a:pt x="2173" y="159"/>
                  <a:pt x="2174" y="158"/>
                  <a:pt x="2174" y="158"/>
                </a:cubicBezTo>
                <a:cubicBezTo>
                  <a:pt x="2175" y="156"/>
                  <a:pt x="2176" y="156"/>
                  <a:pt x="2176" y="157"/>
                </a:cubicBezTo>
                <a:cubicBezTo>
                  <a:pt x="2177" y="159"/>
                  <a:pt x="2179" y="161"/>
                  <a:pt x="2180" y="162"/>
                </a:cubicBezTo>
                <a:cubicBezTo>
                  <a:pt x="2186" y="164"/>
                  <a:pt x="2186" y="164"/>
                  <a:pt x="2189" y="159"/>
                </a:cubicBezTo>
                <a:cubicBezTo>
                  <a:pt x="2189" y="158"/>
                  <a:pt x="2189" y="157"/>
                  <a:pt x="2189" y="157"/>
                </a:cubicBezTo>
                <a:cubicBezTo>
                  <a:pt x="2190" y="155"/>
                  <a:pt x="2192" y="155"/>
                  <a:pt x="2194" y="154"/>
                </a:cubicBezTo>
                <a:cubicBezTo>
                  <a:pt x="2195" y="154"/>
                  <a:pt x="2196" y="155"/>
                  <a:pt x="2197" y="156"/>
                </a:cubicBezTo>
                <a:cubicBezTo>
                  <a:pt x="2198" y="157"/>
                  <a:pt x="2199" y="158"/>
                  <a:pt x="2200" y="159"/>
                </a:cubicBezTo>
                <a:cubicBezTo>
                  <a:pt x="2201" y="161"/>
                  <a:pt x="2203" y="161"/>
                  <a:pt x="2205" y="160"/>
                </a:cubicBezTo>
                <a:cubicBezTo>
                  <a:pt x="2207" y="159"/>
                  <a:pt x="2209" y="158"/>
                  <a:pt x="2211" y="158"/>
                </a:cubicBezTo>
                <a:cubicBezTo>
                  <a:pt x="2212" y="158"/>
                  <a:pt x="2214" y="159"/>
                  <a:pt x="2215" y="159"/>
                </a:cubicBezTo>
                <a:cubicBezTo>
                  <a:pt x="2216" y="159"/>
                  <a:pt x="2218" y="158"/>
                  <a:pt x="2219" y="158"/>
                </a:cubicBezTo>
                <a:cubicBezTo>
                  <a:pt x="2219" y="158"/>
                  <a:pt x="2220" y="157"/>
                  <a:pt x="2220" y="157"/>
                </a:cubicBezTo>
                <a:cubicBezTo>
                  <a:pt x="2221" y="157"/>
                  <a:pt x="2221" y="156"/>
                  <a:pt x="2221" y="156"/>
                </a:cubicBezTo>
                <a:cubicBezTo>
                  <a:pt x="2221" y="153"/>
                  <a:pt x="2221" y="150"/>
                  <a:pt x="2217" y="149"/>
                </a:cubicBezTo>
                <a:cubicBezTo>
                  <a:pt x="2215" y="149"/>
                  <a:pt x="2215" y="148"/>
                  <a:pt x="2215" y="147"/>
                </a:cubicBezTo>
                <a:cubicBezTo>
                  <a:pt x="2214" y="146"/>
                  <a:pt x="2214" y="145"/>
                  <a:pt x="2215" y="145"/>
                </a:cubicBezTo>
                <a:cubicBezTo>
                  <a:pt x="2215" y="142"/>
                  <a:pt x="2214" y="140"/>
                  <a:pt x="2211" y="138"/>
                </a:cubicBezTo>
                <a:cubicBezTo>
                  <a:pt x="2210" y="138"/>
                  <a:pt x="2209" y="136"/>
                  <a:pt x="2208" y="135"/>
                </a:cubicBezTo>
                <a:cubicBezTo>
                  <a:pt x="2207" y="134"/>
                  <a:pt x="2207" y="133"/>
                  <a:pt x="2209" y="132"/>
                </a:cubicBezTo>
                <a:cubicBezTo>
                  <a:pt x="2211" y="130"/>
                  <a:pt x="2212" y="128"/>
                  <a:pt x="2213" y="126"/>
                </a:cubicBezTo>
                <a:cubicBezTo>
                  <a:pt x="2213" y="125"/>
                  <a:pt x="2213" y="124"/>
                  <a:pt x="2212" y="123"/>
                </a:cubicBezTo>
                <a:cubicBezTo>
                  <a:pt x="2210" y="120"/>
                  <a:pt x="2209" y="117"/>
                  <a:pt x="2209" y="113"/>
                </a:cubicBezTo>
                <a:cubicBezTo>
                  <a:pt x="2209" y="112"/>
                  <a:pt x="2208" y="112"/>
                  <a:pt x="2207" y="112"/>
                </a:cubicBezTo>
                <a:cubicBezTo>
                  <a:pt x="2207" y="112"/>
                  <a:pt x="2206" y="112"/>
                  <a:pt x="2205" y="112"/>
                </a:cubicBezTo>
                <a:cubicBezTo>
                  <a:pt x="2202" y="111"/>
                  <a:pt x="2199" y="110"/>
                  <a:pt x="2196" y="110"/>
                </a:cubicBezTo>
                <a:cubicBezTo>
                  <a:pt x="2195" y="110"/>
                  <a:pt x="2194" y="109"/>
                  <a:pt x="2193" y="108"/>
                </a:cubicBezTo>
                <a:cubicBezTo>
                  <a:pt x="2191" y="107"/>
                  <a:pt x="2190" y="108"/>
                  <a:pt x="2188" y="109"/>
                </a:cubicBezTo>
                <a:cubicBezTo>
                  <a:pt x="2186" y="111"/>
                  <a:pt x="2185" y="113"/>
                  <a:pt x="2182" y="114"/>
                </a:cubicBezTo>
                <a:cubicBezTo>
                  <a:pt x="2182" y="114"/>
                  <a:pt x="2181" y="114"/>
                  <a:pt x="2181" y="115"/>
                </a:cubicBezTo>
                <a:cubicBezTo>
                  <a:pt x="2180" y="116"/>
                  <a:pt x="2180" y="117"/>
                  <a:pt x="2181" y="118"/>
                </a:cubicBezTo>
                <a:cubicBezTo>
                  <a:pt x="2182" y="120"/>
                  <a:pt x="2183" y="121"/>
                  <a:pt x="2185" y="123"/>
                </a:cubicBezTo>
                <a:cubicBezTo>
                  <a:pt x="2185" y="124"/>
                  <a:pt x="2185" y="125"/>
                  <a:pt x="2185" y="126"/>
                </a:cubicBezTo>
                <a:cubicBezTo>
                  <a:pt x="2185" y="126"/>
                  <a:pt x="2184" y="127"/>
                  <a:pt x="2184" y="127"/>
                </a:cubicBezTo>
                <a:cubicBezTo>
                  <a:pt x="2183" y="127"/>
                  <a:pt x="2183" y="127"/>
                  <a:pt x="2183" y="127"/>
                </a:cubicBezTo>
                <a:cubicBezTo>
                  <a:pt x="2181" y="123"/>
                  <a:pt x="2176" y="120"/>
                  <a:pt x="2174" y="116"/>
                </a:cubicBezTo>
                <a:cubicBezTo>
                  <a:pt x="2171" y="113"/>
                  <a:pt x="2168" y="111"/>
                  <a:pt x="2163" y="112"/>
                </a:cubicBezTo>
                <a:cubicBezTo>
                  <a:pt x="2162" y="112"/>
                  <a:pt x="2160" y="112"/>
                  <a:pt x="2158" y="112"/>
                </a:cubicBezTo>
                <a:cubicBezTo>
                  <a:pt x="2156" y="111"/>
                  <a:pt x="2153" y="111"/>
                  <a:pt x="2150" y="111"/>
                </a:cubicBezTo>
                <a:cubicBezTo>
                  <a:pt x="2147" y="111"/>
                  <a:pt x="2144" y="110"/>
                  <a:pt x="2141" y="109"/>
                </a:cubicBezTo>
                <a:cubicBezTo>
                  <a:pt x="2138" y="108"/>
                  <a:pt x="2135" y="108"/>
                  <a:pt x="2132" y="109"/>
                </a:cubicBezTo>
                <a:cubicBezTo>
                  <a:pt x="2130" y="110"/>
                  <a:pt x="2129" y="110"/>
                  <a:pt x="2127" y="108"/>
                </a:cubicBezTo>
                <a:cubicBezTo>
                  <a:pt x="2125" y="107"/>
                  <a:pt x="2123" y="106"/>
                  <a:pt x="2121" y="106"/>
                </a:cubicBezTo>
                <a:cubicBezTo>
                  <a:pt x="2115" y="105"/>
                  <a:pt x="2109" y="103"/>
                  <a:pt x="2102" y="104"/>
                </a:cubicBezTo>
                <a:cubicBezTo>
                  <a:pt x="2101" y="104"/>
                  <a:pt x="2100" y="104"/>
                  <a:pt x="2100" y="104"/>
                </a:cubicBezTo>
                <a:cubicBezTo>
                  <a:pt x="2095" y="102"/>
                  <a:pt x="2091" y="104"/>
                  <a:pt x="2088" y="105"/>
                </a:cubicBezTo>
                <a:cubicBezTo>
                  <a:pt x="2085" y="106"/>
                  <a:pt x="2082" y="108"/>
                  <a:pt x="2080" y="108"/>
                </a:cubicBezTo>
                <a:cubicBezTo>
                  <a:pt x="2076" y="108"/>
                  <a:pt x="2073" y="109"/>
                  <a:pt x="2070" y="109"/>
                </a:cubicBezTo>
                <a:cubicBezTo>
                  <a:pt x="2069" y="109"/>
                  <a:pt x="2067" y="110"/>
                  <a:pt x="2066" y="110"/>
                </a:cubicBezTo>
                <a:cubicBezTo>
                  <a:pt x="2065" y="110"/>
                  <a:pt x="2065" y="110"/>
                  <a:pt x="2065" y="111"/>
                </a:cubicBezTo>
                <a:cubicBezTo>
                  <a:pt x="2065" y="114"/>
                  <a:pt x="2068" y="116"/>
                  <a:pt x="2067" y="119"/>
                </a:cubicBezTo>
                <a:cubicBezTo>
                  <a:pt x="2067" y="120"/>
                  <a:pt x="2068" y="121"/>
                  <a:pt x="2069" y="121"/>
                </a:cubicBezTo>
                <a:cubicBezTo>
                  <a:pt x="2071" y="122"/>
                  <a:pt x="2074" y="122"/>
                  <a:pt x="2075" y="124"/>
                </a:cubicBezTo>
                <a:cubicBezTo>
                  <a:pt x="2077" y="126"/>
                  <a:pt x="2079" y="128"/>
                  <a:pt x="2080" y="130"/>
                </a:cubicBezTo>
                <a:cubicBezTo>
                  <a:pt x="2081" y="131"/>
                  <a:pt x="2081" y="133"/>
                  <a:pt x="2080" y="133"/>
                </a:cubicBezTo>
                <a:cubicBezTo>
                  <a:pt x="2079" y="134"/>
                  <a:pt x="2078" y="135"/>
                  <a:pt x="2077" y="136"/>
                </a:cubicBezTo>
                <a:cubicBezTo>
                  <a:pt x="2076" y="137"/>
                  <a:pt x="2074" y="137"/>
                  <a:pt x="2074" y="135"/>
                </a:cubicBezTo>
                <a:cubicBezTo>
                  <a:pt x="2072" y="132"/>
                  <a:pt x="2069" y="131"/>
                  <a:pt x="2065" y="130"/>
                </a:cubicBezTo>
                <a:cubicBezTo>
                  <a:pt x="2065" y="130"/>
                  <a:pt x="2064" y="130"/>
                  <a:pt x="2063" y="130"/>
                </a:cubicBezTo>
                <a:cubicBezTo>
                  <a:pt x="2063" y="130"/>
                  <a:pt x="2062" y="129"/>
                  <a:pt x="2061" y="128"/>
                </a:cubicBezTo>
                <a:cubicBezTo>
                  <a:pt x="2061" y="128"/>
                  <a:pt x="2060" y="126"/>
                  <a:pt x="2060" y="125"/>
                </a:cubicBezTo>
                <a:cubicBezTo>
                  <a:pt x="2059" y="125"/>
                  <a:pt x="2059" y="124"/>
                  <a:pt x="2060" y="124"/>
                </a:cubicBezTo>
                <a:cubicBezTo>
                  <a:pt x="2062" y="122"/>
                  <a:pt x="2061" y="120"/>
                  <a:pt x="2060" y="118"/>
                </a:cubicBezTo>
                <a:cubicBezTo>
                  <a:pt x="2059" y="116"/>
                  <a:pt x="2057" y="116"/>
                  <a:pt x="2055" y="116"/>
                </a:cubicBezTo>
                <a:cubicBezTo>
                  <a:pt x="2054" y="116"/>
                  <a:pt x="2052" y="118"/>
                  <a:pt x="2052" y="119"/>
                </a:cubicBezTo>
                <a:cubicBezTo>
                  <a:pt x="2052" y="122"/>
                  <a:pt x="2052" y="124"/>
                  <a:pt x="2052" y="126"/>
                </a:cubicBezTo>
                <a:cubicBezTo>
                  <a:pt x="2052" y="128"/>
                  <a:pt x="2051" y="129"/>
                  <a:pt x="2049" y="129"/>
                </a:cubicBezTo>
                <a:cubicBezTo>
                  <a:pt x="2046" y="130"/>
                  <a:pt x="2043" y="130"/>
                  <a:pt x="2041" y="131"/>
                </a:cubicBezTo>
                <a:cubicBezTo>
                  <a:pt x="2039" y="131"/>
                  <a:pt x="2037" y="132"/>
                  <a:pt x="2035" y="131"/>
                </a:cubicBezTo>
                <a:cubicBezTo>
                  <a:pt x="2034" y="131"/>
                  <a:pt x="2033" y="131"/>
                  <a:pt x="2033" y="131"/>
                </a:cubicBezTo>
                <a:cubicBezTo>
                  <a:pt x="2030" y="133"/>
                  <a:pt x="2026" y="135"/>
                  <a:pt x="2023" y="137"/>
                </a:cubicBezTo>
                <a:cubicBezTo>
                  <a:pt x="2018" y="140"/>
                  <a:pt x="2013" y="141"/>
                  <a:pt x="2008" y="141"/>
                </a:cubicBezTo>
                <a:cubicBezTo>
                  <a:pt x="2007" y="140"/>
                  <a:pt x="2006" y="140"/>
                  <a:pt x="2005" y="138"/>
                </a:cubicBezTo>
                <a:cubicBezTo>
                  <a:pt x="2005" y="138"/>
                  <a:pt x="2005" y="138"/>
                  <a:pt x="2005" y="138"/>
                </a:cubicBezTo>
                <a:cubicBezTo>
                  <a:pt x="2004" y="132"/>
                  <a:pt x="2001" y="128"/>
                  <a:pt x="1996" y="125"/>
                </a:cubicBezTo>
                <a:cubicBezTo>
                  <a:pt x="1996" y="125"/>
                  <a:pt x="1995" y="125"/>
                  <a:pt x="1995" y="124"/>
                </a:cubicBezTo>
                <a:cubicBezTo>
                  <a:pt x="1990" y="121"/>
                  <a:pt x="1984" y="119"/>
                  <a:pt x="1978" y="122"/>
                </a:cubicBezTo>
                <a:cubicBezTo>
                  <a:pt x="1977" y="123"/>
                  <a:pt x="1976" y="123"/>
                  <a:pt x="1975" y="123"/>
                </a:cubicBezTo>
                <a:cubicBezTo>
                  <a:pt x="1971" y="125"/>
                  <a:pt x="1966" y="127"/>
                  <a:pt x="1962" y="130"/>
                </a:cubicBezTo>
                <a:cubicBezTo>
                  <a:pt x="1960" y="132"/>
                  <a:pt x="1958" y="133"/>
                  <a:pt x="1955" y="135"/>
                </a:cubicBezTo>
                <a:cubicBezTo>
                  <a:pt x="1954" y="136"/>
                  <a:pt x="1952" y="135"/>
                  <a:pt x="1951" y="133"/>
                </a:cubicBezTo>
                <a:cubicBezTo>
                  <a:pt x="1950" y="131"/>
                  <a:pt x="1949" y="130"/>
                  <a:pt x="1947" y="129"/>
                </a:cubicBezTo>
                <a:cubicBezTo>
                  <a:pt x="1946" y="129"/>
                  <a:pt x="1944" y="128"/>
                  <a:pt x="1943" y="127"/>
                </a:cubicBezTo>
                <a:cubicBezTo>
                  <a:pt x="1941" y="127"/>
                  <a:pt x="1940" y="127"/>
                  <a:pt x="1939" y="128"/>
                </a:cubicBezTo>
                <a:cubicBezTo>
                  <a:pt x="1938" y="129"/>
                  <a:pt x="1938" y="129"/>
                  <a:pt x="1936" y="128"/>
                </a:cubicBezTo>
                <a:cubicBezTo>
                  <a:pt x="1935" y="128"/>
                  <a:pt x="1934" y="127"/>
                  <a:pt x="1933" y="127"/>
                </a:cubicBezTo>
                <a:cubicBezTo>
                  <a:pt x="1932" y="128"/>
                  <a:pt x="1931" y="128"/>
                  <a:pt x="1931" y="127"/>
                </a:cubicBezTo>
                <a:cubicBezTo>
                  <a:pt x="1929" y="126"/>
                  <a:pt x="1928" y="125"/>
                  <a:pt x="1926" y="125"/>
                </a:cubicBezTo>
                <a:cubicBezTo>
                  <a:pt x="1925" y="125"/>
                  <a:pt x="1925" y="124"/>
                  <a:pt x="1926" y="123"/>
                </a:cubicBezTo>
                <a:cubicBezTo>
                  <a:pt x="1927" y="121"/>
                  <a:pt x="1927" y="120"/>
                  <a:pt x="1926" y="118"/>
                </a:cubicBezTo>
                <a:cubicBezTo>
                  <a:pt x="1925" y="118"/>
                  <a:pt x="1925" y="118"/>
                  <a:pt x="1925" y="118"/>
                </a:cubicBezTo>
                <a:cubicBezTo>
                  <a:pt x="1922" y="116"/>
                  <a:pt x="1918" y="114"/>
                  <a:pt x="1914" y="115"/>
                </a:cubicBezTo>
                <a:cubicBezTo>
                  <a:pt x="1913" y="115"/>
                  <a:pt x="1911" y="116"/>
                  <a:pt x="1909" y="116"/>
                </a:cubicBezTo>
                <a:cubicBezTo>
                  <a:pt x="1908" y="117"/>
                  <a:pt x="1907" y="117"/>
                  <a:pt x="1906" y="118"/>
                </a:cubicBezTo>
                <a:cubicBezTo>
                  <a:pt x="1904" y="121"/>
                  <a:pt x="1902" y="121"/>
                  <a:pt x="1899" y="120"/>
                </a:cubicBezTo>
                <a:cubicBezTo>
                  <a:pt x="1896" y="119"/>
                  <a:pt x="1893" y="119"/>
                  <a:pt x="1890" y="119"/>
                </a:cubicBezTo>
                <a:cubicBezTo>
                  <a:pt x="1886" y="120"/>
                  <a:pt x="1882" y="120"/>
                  <a:pt x="1879" y="120"/>
                </a:cubicBezTo>
                <a:cubicBezTo>
                  <a:pt x="1875" y="121"/>
                  <a:pt x="1871" y="121"/>
                  <a:pt x="1867" y="120"/>
                </a:cubicBezTo>
                <a:cubicBezTo>
                  <a:pt x="1867" y="120"/>
                  <a:pt x="1866" y="121"/>
                  <a:pt x="1865" y="121"/>
                </a:cubicBezTo>
                <a:cubicBezTo>
                  <a:pt x="1865" y="121"/>
                  <a:pt x="1864" y="122"/>
                  <a:pt x="1864" y="122"/>
                </a:cubicBezTo>
                <a:cubicBezTo>
                  <a:pt x="1864" y="123"/>
                  <a:pt x="1864" y="123"/>
                  <a:pt x="1865" y="123"/>
                </a:cubicBezTo>
                <a:cubicBezTo>
                  <a:pt x="1866" y="124"/>
                  <a:pt x="1867" y="124"/>
                  <a:pt x="1869" y="125"/>
                </a:cubicBezTo>
                <a:cubicBezTo>
                  <a:pt x="1869" y="125"/>
                  <a:pt x="1870" y="125"/>
                  <a:pt x="1870" y="126"/>
                </a:cubicBezTo>
                <a:cubicBezTo>
                  <a:pt x="1870" y="126"/>
                  <a:pt x="1869" y="128"/>
                  <a:pt x="1869" y="128"/>
                </a:cubicBezTo>
                <a:cubicBezTo>
                  <a:pt x="1868" y="128"/>
                  <a:pt x="1867" y="128"/>
                  <a:pt x="1866" y="129"/>
                </a:cubicBezTo>
                <a:cubicBezTo>
                  <a:pt x="1864" y="130"/>
                  <a:pt x="1864" y="131"/>
                  <a:pt x="1864" y="133"/>
                </a:cubicBezTo>
                <a:cubicBezTo>
                  <a:pt x="1864" y="135"/>
                  <a:pt x="1865" y="136"/>
                  <a:pt x="1867" y="136"/>
                </a:cubicBezTo>
                <a:cubicBezTo>
                  <a:pt x="1868" y="136"/>
                  <a:pt x="1869" y="136"/>
                  <a:pt x="1870" y="136"/>
                </a:cubicBezTo>
                <a:cubicBezTo>
                  <a:pt x="1870" y="136"/>
                  <a:pt x="1870" y="136"/>
                  <a:pt x="1870" y="136"/>
                </a:cubicBezTo>
                <a:cubicBezTo>
                  <a:pt x="1870" y="135"/>
                  <a:pt x="1870" y="135"/>
                  <a:pt x="1870" y="135"/>
                </a:cubicBezTo>
                <a:cubicBezTo>
                  <a:pt x="1870" y="136"/>
                  <a:pt x="1870" y="136"/>
                  <a:pt x="1870" y="136"/>
                </a:cubicBezTo>
                <a:cubicBezTo>
                  <a:pt x="1870" y="136"/>
                  <a:pt x="1870" y="136"/>
                  <a:pt x="1870" y="136"/>
                </a:cubicBezTo>
                <a:cubicBezTo>
                  <a:pt x="1870" y="138"/>
                  <a:pt x="1870" y="139"/>
                  <a:pt x="1871" y="140"/>
                </a:cubicBezTo>
                <a:cubicBezTo>
                  <a:pt x="1872" y="142"/>
                  <a:pt x="1873" y="144"/>
                  <a:pt x="1875" y="145"/>
                </a:cubicBezTo>
                <a:cubicBezTo>
                  <a:pt x="1876" y="146"/>
                  <a:pt x="1876" y="147"/>
                  <a:pt x="1876" y="148"/>
                </a:cubicBezTo>
                <a:cubicBezTo>
                  <a:pt x="1875" y="148"/>
                  <a:pt x="1874" y="149"/>
                  <a:pt x="1873" y="148"/>
                </a:cubicBezTo>
                <a:cubicBezTo>
                  <a:pt x="1872" y="147"/>
                  <a:pt x="1870" y="147"/>
                  <a:pt x="1868" y="148"/>
                </a:cubicBezTo>
                <a:cubicBezTo>
                  <a:pt x="1867" y="149"/>
                  <a:pt x="1865" y="149"/>
                  <a:pt x="1864" y="150"/>
                </a:cubicBezTo>
                <a:cubicBezTo>
                  <a:pt x="1863" y="152"/>
                  <a:pt x="1861" y="152"/>
                  <a:pt x="1859" y="152"/>
                </a:cubicBezTo>
                <a:cubicBezTo>
                  <a:pt x="1858" y="151"/>
                  <a:pt x="1856" y="151"/>
                  <a:pt x="1855" y="151"/>
                </a:cubicBezTo>
                <a:cubicBezTo>
                  <a:pt x="1853" y="152"/>
                  <a:pt x="1851" y="153"/>
                  <a:pt x="1850" y="155"/>
                </a:cubicBezTo>
                <a:cubicBezTo>
                  <a:pt x="1850" y="157"/>
                  <a:pt x="1848" y="158"/>
                  <a:pt x="1846" y="158"/>
                </a:cubicBezTo>
                <a:cubicBezTo>
                  <a:pt x="1842" y="159"/>
                  <a:pt x="1838" y="158"/>
                  <a:pt x="1835" y="155"/>
                </a:cubicBezTo>
                <a:cubicBezTo>
                  <a:pt x="1834" y="154"/>
                  <a:pt x="1834" y="154"/>
                  <a:pt x="1834" y="154"/>
                </a:cubicBezTo>
                <a:cubicBezTo>
                  <a:pt x="1834" y="154"/>
                  <a:pt x="1833" y="154"/>
                  <a:pt x="1833" y="154"/>
                </a:cubicBezTo>
                <a:cubicBezTo>
                  <a:pt x="1833" y="155"/>
                  <a:pt x="1833" y="155"/>
                  <a:pt x="1833" y="155"/>
                </a:cubicBezTo>
                <a:cubicBezTo>
                  <a:pt x="1833" y="158"/>
                  <a:pt x="1833" y="160"/>
                  <a:pt x="1835" y="163"/>
                </a:cubicBezTo>
                <a:cubicBezTo>
                  <a:pt x="1836" y="166"/>
                  <a:pt x="1837" y="169"/>
                  <a:pt x="1838" y="173"/>
                </a:cubicBezTo>
                <a:cubicBezTo>
                  <a:pt x="1838" y="174"/>
                  <a:pt x="1837" y="174"/>
                  <a:pt x="1836" y="174"/>
                </a:cubicBezTo>
                <a:cubicBezTo>
                  <a:pt x="1834" y="174"/>
                  <a:pt x="1833" y="174"/>
                  <a:pt x="1831" y="173"/>
                </a:cubicBezTo>
                <a:cubicBezTo>
                  <a:pt x="1826" y="171"/>
                  <a:pt x="1823" y="167"/>
                  <a:pt x="1818" y="164"/>
                </a:cubicBezTo>
                <a:cubicBezTo>
                  <a:pt x="1818" y="164"/>
                  <a:pt x="1818" y="164"/>
                  <a:pt x="1818" y="164"/>
                </a:cubicBezTo>
                <a:cubicBezTo>
                  <a:pt x="1817" y="161"/>
                  <a:pt x="1817" y="161"/>
                  <a:pt x="1816" y="162"/>
                </a:cubicBezTo>
                <a:cubicBezTo>
                  <a:pt x="1814" y="163"/>
                  <a:pt x="1813" y="163"/>
                  <a:pt x="1812" y="162"/>
                </a:cubicBezTo>
                <a:cubicBezTo>
                  <a:pt x="1811" y="162"/>
                  <a:pt x="1811" y="161"/>
                  <a:pt x="1811" y="160"/>
                </a:cubicBezTo>
                <a:cubicBezTo>
                  <a:pt x="1810" y="160"/>
                  <a:pt x="1810" y="160"/>
                  <a:pt x="1810" y="160"/>
                </a:cubicBezTo>
                <a:cubicBezTo>
                  <a:pt x="1810" y="160"/>
                  <a:pt x="1810" y="160"/>
                  <a:pt x="1810" y="160"/>
                </a:cubicBezTo>
                <a:cubicBezTo>
                  <a:pt x="1809" y="160"/>
                  <a:pt x="1809" y="160"/>
                  <a:pt x="1808" y="159"/>
                </a:cubicBezTo>
                <a:cubicBezTo>
                  <a:pt x="1809" y="159"/>
                  <a:pt x="1809" y="159"/>
                  <a:pt x="1809" y="159"/>
                </a:cubicBezTo>
                <a:cubicBezTo>
                  <a:pt x="1809" y="159"/>
                  <a:pt x="1810" y="160"/>
                  <a:pt x="1810" y="160"/>
                </a:cubicBezTo>
                <a:cubicBezTo>
                  <a:pt x="1810" y="160"/>
                  <a:pt x="1810" y="160"/>
                  <a:pt x="1811" y="160"/>
                </a:cubicBezTo>
                <a:cubicBezTo>
                  <a:pt x="1811" y="160"/>
                  <a:pt x="1811" y="160"/>
                  <a:pt x="1811" y="160"/>
                </a:cubicBezTo>
                <a:cubicBezTo>
                  <a:pt x="1811" y="160"/>
                  <a:pt x="1812" y="159"/>
                  <a:pt x="1813" y="159"/>
                </a:cubicBezTo>
                <a:cubicBezTo>
                  <a:pt x="1814" y="158"/>
                  <a:pt x="1814" y="158"/>
                  <a:pt x="1814" y="157"/>
                </a:cubicBezTo>
                <a:cubicBezTo>
                  <a:pt x="1814" y="155"/>
                  <a:pt x="1812" y="153"/>
                  <a:pt x="1811" y="152"/>
                </a:cubicBezTo>
                <a:cubicBezTo>
                  <a:pt x="1810" y="151"/>
                  <a:pt x="1808" y="151"/>
                  <a:pt x="1807" y="151"/>
                </a:cubicBezTo>
                <a:cubicBezTo>
                  <a:pt x="1806" y="150"/>
                  <a:pt x="1805" y="150"/>
                  <a:pt x="1806" y="149"/>
                </a:cubicBezTo>
                <a:cubicBezTo>
                  <a:pt x="1806" y="148"/>
                  <a:pt x="1807" y="147"/>
                  <a:pt x="1806" y="146"/>
                </a:cubicBezTo>
                <a:cubicBezTo>
                  <a:pt x="1803" y="143"/>
                  <a:pt x="1801" y="141"/>
                  <a:pt x="1799" y="139"/>
                </a:cubicBezTo>
                <a:cubicBezTo>
                  <a:pt x="1797" y="137"/>
                  <a:pt x="1789" y="135"/>
                  <a:pt x="1786" y="135"/>
                </a:cubicBezTo>
                <a:cubicBezTo>
                  <a:pt x="1786" y="135"/>
                  <a:pt x="1785" y="135"/>
                  <a:pt x="1785" y="136"/>
                </a:cubicBezTo>
                <a:cubicBezTo>
                  <a:pt x="1784" y="137"/>
                  <a:pt x="1783" y="137"/>
                  <a:pt x="1781" y="136"/>
                </a:cubicBezTo>
                <a:cubicBezTo>
                  <a:pt x="1777" y="135"/>
                  <a:pt x="1773" y="135"/>
                  <a:pt x="1770" y="136"/>
                </a:cubicBezTo>
                <a:cubicBezTo>
                  <a:pt x="1769" y="136"/>
                  <a:pt x="1768" y="137"/>
                  <a:pt x="1767" y="137"/>
                </a:cubicBezTo>
                <a:cubicBezTo>
                  <a:pt x="1765" y="139"/>
                  <a:pt x="1765" y="140"/>
                  <a:pt x="1765" y="142"/>
                </a:cubicBezTo>
                <a:cubicBezTo>
                  <a:pt x="1767" y="144"/>
                  <a:pt x="1768" y="146"/>
                  <a:pt x="1769" y="148"/>
                </a:cubicBezTo>
                <a:cubicBezTo>
                  <a:pt x="1769" y="149"/>
                  <a:pt x="1769" y="150"/>
                  <a:pt x="1769" y="150"/>
                </a:cubicBezTo>
                <a:cubicBezTo>
                  <a:pt x="1765" y="152"/>
                  <a:pt x="1762" y="153"/>
                  <a:pt x="1758" y="154"/>
                </a:cubicBezTo>
                <a:cubicBezTo>
                  <a:pt x="1756" y="155"/>
                  <a:pt x="1754" y="155"/>
                  <a:pt x="1752" y="153"/>
                </a:cubicBezTo>
                <a:cubicBezTo>
                  <a:pt x="1750" y="152"/>
                  <a:pt x="1750" y="152"/>
                  <a:pt x="1749" y="153"/>
                </a:cubicBezTo>
                <a:cubicBezTo>
                  <a:pt x="1745" y="156"/>
                  <a:pt x="1741" y="155"/>
                  <a:pt x="1740" y="150"/>
                </a:cubicBezTo>
                <a:cubicBezTo>
                  <a:pt x="1740" y="150"/>
                  <a:pt x="1740" y="149"/>
                  <a:pt x="1740" y="149"/>
                </a:cubicBezTo>
                <a:cubicBezTo>
                  <a:pt x="1740" y="147"/>
                  <a:pt x="1738" y="146"/>
                  <a:pt x="1737" y="147"/>
                </a:cubicBezTo>
                <a:cubicBezTo>
                  <a:pt x="1732" y="147"/>
                  <a:pt x="1728" y="148"/>
                  <a:pt x="1723" y="149"/>
                </a:cubicBezTo>
                <a:cubicBezTo>
                  <a:pt x="1722" y="150"/>
                  <a:pt x="1720" y="150"/>
                  <a:pt x="1718" y="151"/>
                </a:cubicBezTo>
                <a:cubicBezTo>
                  <a:pt x="1716" y="152"/>
                  <a:pt x="1715" y="153"/>
                  <a:pt x="1713" y="154"/>
                </a:cubicBezTo>
                <a:cubicBezTo>
                  <a:pt x="1711" y="153"/>
                  <a:pt x="1710" y="152"/>
                  <a:pt x="1708" y="152"/>
                </a:cubicBezTo>
                <a:cubicBezTo>
                  <a:pt x="1708" y="151"/>
                  <a:pt x="1707" y="152"/>
                  <a:pt x="1707" y="152"/>
                </a:cubicBezTo>
                <a:cubicBezTo>
                  <a:pt x="1707" y="152"/>
                  <a:pt x="1707" y="153"/>
                  <a:pt x="1707" y="153"/>
                </a:cubicBezTo>
                <a:cubicBezTo>
                  <a:pt x="1705" y="156"/>
                  <a:pt x="1702" y="157"/>
                  <a:pt x="1700" y="155"/>
                </a:cubicBezTo>
                <a:cubicBezTo>
                  <a:pt x="1699" y="154"/>
                  <a:pt x="1698" y="153"/>
                  <a:pt x="1698" y="152"/>
                </a:cubicBezTo>
                <a:cubicBezTo>
                  <a:pt x="1697" y="151"/>
                  <a:pt x="1697" y="151"/>
                  <a:pt x="1696" y="151"/>
                </a:cubicBezTo>
                <a:cubicBezTo>
                  <a:pt x="1695" y="152"/>
                  <a:pt x="1693" y="152"/>
                  <a:pt x="1692" y="152"/>
                </a:cubicBezTo>
                <a:cubicBezTo>
                  <a:pt x="1690" y="152"/>
                  <a:pt x="1689" y="153"/>
                  <a:pt x="1689" y="154"/>
                </a:cubicBezTo>
                <a:cubicBezTo>
                  <a:pt x="1688" y="155"/>
                  <a:pt x="1688" y="156"/>
                  <a:pt x="1688" y="157"/>
                </a:cubicBezTo>
                <a:cubicBezTo>
                  <a:pt x="1688" y="158"/>
                  <a:pt x="1689" y="159"/>
                  <a:pt x="1690" y="160"/>
                </a:cubicBezTo>
                <a:cubicBezTo>
                  <a:pt x="1691" y="160"/>
                  <a:pt x="1692" y="160"/>
                  <a:pt x="1693" y="160"/>
                </a:cubicBezTo>
                <a:cubicBezTo>
                  <a:pt x="1693" y="160"/>
                  <a:pt x="1693" y="160"/>
                  <a:pt x="1693" y="160"/>
                </a:cubicBezTo>
                <a:cubicBezTo>
                  <a:pt x="1693" y="160"/>
                  <a:pt x="1693" y="160"/>
                  <a:pt x="1693" y="160"/>
                </a:cubicBezTo>
                <a:cubicBezTo>
                  <a:pt x="1693" y="160"/>
                  <a:pt x="1693" y="159"/>
                  <a:pt x="1693" y="159"/>
                </a:cubicBezTo>
                <a:cubicBezTo>
                  <a:pt x="1693" y="159"/>
                  <a:pt x="1694" y="158"/>
                  <a:pt x="1694" y="158"/>
                </a:cubicBezTo>
                <a:cubicBezTo>
                  <a:pt x="1694" y="158"/>
                  <a:pt x="1695" y="158"/>
                  <a:pt x="1694" y="159"/>
                </a:cubicBezTo>
                <a:cubicBezTo>
                  <a:pt x="1694" y="159"/>
                  <a:pt x="1694" y="159"/>
                  <a:pt x="1694" y="159"/>
                </a:cubicBezTo>
                <a:cubicBezTo>
                  <a:pt x="1694" y="160"/>
                  <a:pt x="1693" y="160"/>
                  <a:pt x="1693" y="160"/>
                </a:cubicBezTo>
                <a:cubicBezTo>
                  <a:pt x="1693" y="160"/>
                  <a:pt x="1693" y="160"/>
                  <a:pt x="1693" y="160"/>
                </a:cubicBezTo>
                <a:cubicBezTo>
                  <a:pt x="1693" y="160"/>
                  <a:pt x="1693" y="160"/>
                  <a:pt x="1693" y="160"/>
                </a:cubicBezTo>
                <a:cubicBezTo>
                  <a:pt x="1693" y="161"/>
                  <a:pt x="1693" y="162"/>
                  <a:pt x="1692" y="163"/>
                </a:cubicBezTo>
                <a:cubicBezTo>
                  <a:pt x="1690" y="164"/>
                  <a:pt x="1689" y="166"/>
                  <a:pt x="1688" y="167"/>
                </a:cubicBezTo>
                <a:cubicBezTo>
                  <a:pt x="1686" y="171"/>
                  <a:pt x="1683" y="172"/>
                  <a:pt x="1680" y="172"/>
                </a:cubicBezTo>
                <a:cubicBezTo>
                  <a:pt x="1678" y="173"/>
                  <a:pt x="1678" y="172"/>
                  <a:pt x="1678" y="171"/>
                </a:cubicBezTo>
                <a:cubicBezTo>
                  <a:pt x="1679" y="169"/>
                  <a:pt x="1679" y="168"/>
                  <a:pt x="1680" y="166"/>
                </a:cubicBezTo>
                <a:cubicBezTo>
                  <a:pt x="1680" y="164"/>
                  <a:pt x="1682" y="164"/>
                  <a:pt x="1683" y="162"/>
                </a:cubicBezTo>
                <a:cubicBezTo>
                  <a:pt x="1683" y="161"/>
                  <a:pt x="1684" y="160"/>
                  <a:pt x="1684" y="160"/>
                </a:cubicBezTo>
                <a:cubicBezTo>
                  <a:pt x="1683" y="157"/>
                  <a:pt x="1684" y="155"/>
                  <a:pt x="1685" y="152"/>
                </a:cubicBezTo>
                <a:cubicBezTo>
                  <a:pt x="1685" y="151"/>
                  <a:pt x="1686" y="150"/>
                  <a:pt x="1686" y="149"/>
                </a:cubicBezTo>
                <a:cubicBezTo>
                  <a:pt x="1685" y="148"/>
                  <a:pt x="1685" y="147"/>
                  <a:pt x="1686" y="145"/>
                </a:cubicBezTo>
                <a:cubicBezTo>
                  <a:pt x="1687" y="143"/>
                  <a:pt x="1688" y="140"/>
                  <a:pt x="1689" y="137"/>
                </a:cubicBezTo>
                <a:cubicBezTo>
                  <a:pt x="1690" y="135"/>
                  <a:pt x="1690" y="132"/>
                  <a:pt x="1691" y="129"/>
                </a:cubicBezTo>
                <a:cubicBezTo>
                  <a:pt x="1692" y="126"/>
                  <a:pt x="1692" y="124"/>
                  <a:pt x="1691" y="121"/>
                </a:cubicBezTo>
                <a:cubicBezTo>
                  <a:pt x="1690" y="119"/>
                  <a:pt x="1688" y="116"/>
                  <a:pt x="1687" y="113"/>
                </a:cubicBezTo>
                <a:cubicBezTo>
                  <a:pt x="1687" y="113"/>
                  <a:pt x="1687" y="112"/>
                  <a:pt x="1686" y="112"/>
                </a:cubicBezTo>
                <a:cubicBezTo>
                  <a:pt x="1683" y="111"/>
                  <a:pt x="1682" y="108"/>
                  <a:pt x="1679" y="105"/>
                </a:cubicBezTo>
                <a:cubicBezTo>
                  <a:pt x="1679" y="105"/>
                  <a:pt x="1678" y="105"/>
                  <a:pt x="1677" y="105"/>
                </a:cubicBezTo>
                <a:cubicBezTo>
                  <a:pt x="1677" y="106"/>
                  <a:pt x="1677" y="108"/>
                  <a:pt x="1675" y="106"/>
                </a:cubicBezTo>
                <a:cubicBezTo>
                  <a:pt x="1674" y="104"/>
                  <a:pt x="1671" y="103"/>
                  <a:pt x="1669" y="102"/>
                </a:cubicBezTo>
                <a:cubicBezTo>
                  <a:pt x="1667" y="101"/>
                  <a:pt x="1665" y="100"/>
                  <a:pt x="1663" y="99"/>
                </a:cubicBezTo>
                <a:cubicBezTo>
                  <a:pt x="1661" y="97"/>
                  <a:pt x="1659" y="97"/>
                  <a:pt x="1657" y="98"/>
                </a:cubicBezTo>
                <a:cubicBezTo>
                  <a:pt x="1654" y="100"/>
                  <a:pt x="1650" y="102"/>
                  <a:pt x="1646" y="103"/>
                </a:cubicBezTo>
                <a:cubicBezTo>
                  <a:pt x="1645" y="104"/>
                  <a:pt x="1645" y="105"/>
                  <a:pt x="1645" y="105"/>
                </a:cubicBezTo>
                <a:cubicBezTo>
                  <a:pt x="1645" y="106"/>
                  <a:pt x="1646" y="107"/>
                  <a:pt x="1646" y="108"/>
                </a:cubicBezTo>
                <a:cubicBezTo>
                  <a:pt x="1647" y="109"/>
                  <a:pt x="1646" y="110"/>
                  <a:pt x="1645" y="111"/>
                </a:cubicBezTo>
                <a:cubicBezTo>
                  <a:pt x="1643" y="112"/>
                  <a:pt x="1641" y="112"/>
                  <a:pt x="1641" y="110"/>
                </a:cubicBezTo>
                <a:cubicBezTo>
                  <a:pt x="1641" y="108"/>
                  <a:pt x="1641" y="107"/>
                  <a:pt x="1641" y="105"/>
                </a:cubicBezTo>
                <a:cubicBezTo>
                  <a:pt x="1641" y="104"/>
                  <a:pt x="1641" y="102"/>
                  <a:pt x="1640" y="101"/>
                </a:cubicBezTo>
                <a:cubicBezTo>
                  <a:pt x="1640" y="100"/>
                  <a:pt x="1638" y="99"/>
                  <a:pt x="1637" y="99"/>
                </a:cubicBezTo>
                <a:cubicBezTo>
                  <a:pt x="1636" y="99"/>
                  <a:pt x="1635" y="99"/>
                  <a:pt x="1634" y="100"/>
                </a:cubicBezTo>
                <a:cubicBezTo>
                  <a:pt x="1632" y="100"/>
                  <a:pt x="1630" y="100"/>
                  <a:pt x="1628" y="99"/>
                </a:cubicBezTo>
                <a:cubicBezTo>
                  <a:pt x="1627" y="98"/>
                  <a:pt x="1627" y="98"/>
                  <a:pt x="1627" y="96"/>
                </a:cubicBezTo>
                <a:cubicBezTo>
                  <a:pt x="1627" y="93"/>
                  <a:pt x="1626" y="92"/>
                  <a:pt x="1624" y="91"/>
                </a:cubicBezTo>
                <a:cubicBezTo>
                  <a:pt x="1620" y="91"/>
                  <a:pt x="1618" y="89"/>
                  <a:pt x="1614" y="89"/>
                </a:cubicBezTo>
                <a:cubicBezTo>
                  <a:pt x="1614" y="89"/>
                  <a:pt x="1613" y="90"/>
                  <a:pt x="1612" y="90"/>
                </a:cubicBezTo>
                <a:cubicBezTo>
                  <a:pt x="1612" y="90"/>
                  <a:pt x="1611" y="91"/>
                  <a:pt x="1611" y="91"/>
                </a:cubicBezTo>
                <a:cubicBezTo>
                  <a:pt x="1609" y="96"/>
                  <a:pt x="1608" y="101"/>
                  <a:pt x="1608" y="107"/>
                </a:cubicBezTo>
                <a:cubicBezTo>
                  <a:pt x="1608" y="110"/>
                  <a:pt x="1608" y="114"/>
                  <a:pt x="1612" y="116"/>
                </a:cubicBezTo>
                <a:cubicBezTo>
                  <a:pt x="1614" y="117"/>
                  <a:pt x="1613" y="119"/>
                  <a:pt x="1614" y="121"/>
                </a:cubicBezTo>
                <a:cubicBezTo>
                  <a:pt x="1614" y="122"/>
                  <a:pt x="1614" y="123"/>
                  <a:pt x="1613" y="123"/>
                </a:cubicBezTo>
                <a:cubicBezTo>
                  <a:pt x="1611" y="123"/>
                  <a:pt x="1609" y="123"/>
                  <a:pt x="1607" y="124"/>
                </a:cubicBezTo>
                <a:cubicBezTo>
                  <a:pt x="1606" y="125"/>
                  <a:pt x="1606" y="125"/>
                  <a:pt x="1606" y="126"/>
                </a:cubicBezTo>
                <a:cubicBezTo>
                  <a:pt x="1606" y="127"/>
                  <a:pt x="1606" y="128"/>
                  <a:pt x="1606" y="129"/>
                </a:cubicBezTo>
                <a:cubicBezTo>
                  <a:pt x="1605" y="131"/>
                  <a:pt x="1604" y="132"/>
                  <a:pt x="1603" y="134"/>
                </a:cubicBezTo>
                <a:cubicBezTo>
                  <a:pt x="1603" y="134"/>
                  <a:pt x="1602" y="135"/>
                  <a:pt x="1602" y="135"/>
                </a:cubicBezTo>
                <a:cubicBezTo>
                  <a:pt x="1600" y="136"/>
                  <a:pt x="1598" y="136"/>
                  <a:pt x="1596" y="137"/>
                </a:cubicBezTo>
                <a:cubicBezTo>
                  <a:pt x="1596" y="137"/>
                  <a:pt x="1595" y="137"/>
                  <a:pt x="1595" y="136"/>
                </a:cubicBezTo>
                <a:cubicBezTo>
                  <a:pt x="1596" y="135"/>
                  <a:pt x="1596" y="134"/>
                  <a:pt x="1596" y="133"/>
                </a:cubicBezTo>
                <a:cubicBezTo>
                  <a:pt x="1597" y="131"/>
                  <a:pt x="1595" y="130"/>
                  <a:pt x="1594" y="131"/>
                </a:cubicBezTo>
                <a:cubicBezTo>
                  <a:pt x="1592" y="131"/>
                  <a:pt x="1591" y="131"/>
                  <a:pt x="1590" y="133"/>
                </a:cubicBezTo>
                <a:cubicBezTo>
                  <a:pt x="1590" y="134"/>
                  <a:pt x="1589" y="135"/>
                  <a:pt x="1588" y="135"/>
                </a:cubicBezTo>
                <a:cubicBezTo>
                  <a:pt x="1587" y="135"/>
                  <a:pt x="1586" y="136"/>
                  <a:pt x="1585" y="136"/>
                </a:cubicBezTo>
                <a:cubicBezTo>
                  <a:pt x="1583" y="136"/>
                  <a:pt x="1581" y="137"/>
                  <a:pt x="1580" y="139"/>
                </a:cubicBezTo>
                <a:cubicBezTo>
                  <a:pt x="1579" y="140"/>
                  <a:pt x="1579" y="141"/>
                  <a:pt x="1580" y="143"/>
                </a:cubicBezTo>
                <a:cubicBezTo>
                  <a:pt x="1581" y="144"/>
                  <a:pt x="1581" y="145"/>
                  <a:pt x="1580" y="145"/>
                </a:cubicBezTo>
                <a:cubicBezTo>
                  <a:pt x="1578" y="147"/>
                  <a:pt x="1576" y="148"/>
                  <a:pt x="1574" y="149"/>
                </a:cubicBezTo>
                <a:cubicBezTo>
                  <a:pt x="1571" y="150"/>
                  <a:pt x="1569" y="151"/>
                  <a:pt x="1568" y="153"/>
                </a:cubicBezTo>
                <a:cubicBezTo>
                  <a:pt x="1567" y="155"/>
                  <a:pt x="1565" y="156"/>
                  <a:pt x="1564" y="159"/>
                </a:cubicBezTo>
                <a:cubicBezTo>
                  <a:pt x="1563" y="160"/>
                  <a:pt x="1562" y="162"/>
                  <a:pt x="1560" y="162"/>
                </a:cubicBezTo>
                <a:cubicBezTo>
                  <a:pt x="1558" y="163"/>
                  <a:pt x="1559" y="166"/>
                  <a:pt x="1557" y="167"/>
                </a:cubicBezTo>
                <a:cubicBezTo>
                  <a:pt x="1556" y="168"/>
                  <a:pt x="1555" y="169"/>
                  <a:pt x="1555" y="170"/>
                </a:cubicBezTo>
                <a:cubicBezTo>
                  <a:pt x="1554" y="172"/>
                  <a:pt x="1555" y="174"/>
                  <a:pt x="1555" y="176"/>
                </a:cubicBezTo>
                <a:cubicBezTo>
                  <a:pt x="1555" y="177"/>
                  <a:pt x="1556" y="178"/>
                  <a:pt x="1557" y="178"/>
                </a:cubicBezTo>
                <a:cubicBezTo>
                  <a:pt x="1559" y="180"/>
                  <a:pt x="1561" y="181"/>
                  <a:pt x="1563" y="182"/>
                </a:cubicBezTo>
                <a:cubicBezTo>
                  <a:pt x="1566" y="183"/>
                  <a:pt x="1569" y="184"/>
                  <a:pt x="1571" y="187"/>
                </a:cubicBezTo>
                <a:cubicBezTo>
                  <a:pt x="1571" y="187"/>
                  <a:pt x="1571" y="188"/>
                  <a:pt x="1571" y="188"/>
                </a:cubicBezTo>
                <a:cubicBezTo>
                  <a:pt x="1571" y="189"/>
                  <a:pt x="1571" y="189"/>
                  <a:pt x="1570" y="190"/>
                </a:cubicBezTo>
                <a:cubicBezTo>
                  <a:pt x="1569" y="190"/>
                  <a:pt x="1569" y="189"/>
                  <a:pt x="1569" y="189"/>
                </a:cubicBezTo>
                <a:cubicBezTo>
                  <a:pt x="1568" y="188"/>
                  <a:pt x="1568" y="187"/>
                  <a:pt x="1567" y="187"/>
                </a:cubicBezTo>
                <a:cubicBezTo>
                  <a:pt x="1566" y="187"/>
                  <a:pt x="1564" y="187"/>
                  <a:pt x="1563" y="188"/>
                </a:cubicBezTo>
                <a:cubicBezTo>
                  <a:pt x="1561" y="190"/>
                  <a:pt x="1557" y="191"/>
                  <a:pt x="1554" y="193"/>
                </a:cubicBezTo>
                <a:cubicBezTo>
                  <a:pt x="1551" y="194"/>
                  <a:pt x="1548" y="195"/>
                  <a:pt x="1544" y="196"/>
                </a:cubicBezTo>
                <a:cubicBezTo>
                  <a:pt x="1543" y="197"/>
                  <a:pt x="1542" y="197"/>
                  <a:pt x="1541" y="197"/>
                </a:cubicBezTo>
                <a:cubicBezTo>
                  <a:pt x="1538" y="198"/>
                  <a:pt x="1537" y="201"/>
                  <a:pt x="1539" y="204"/>
                </a:cubicBezTo>
                <a:cubicBezTo>
                  <a:pt x="1539" y="205"/>
                  <a:pt x="1540" y="207"/>
                  <a:pt x="1541" y="208"/>
                </a:cubicBezTo>
                <a:cubicBezTo>
                  <a:pt x="1542" y="209"/>
                  <a:pt x="1544" y="211"/>
                  <a:pt x="1544" y="213"/>
                </a:cubicBezTo>
                <a:cubicBezTo>
                  <a:pt x="1544" y="214"/>
                  <a:pt x="1545" y="215"/>
                  <a:pt x="1545" y="216"/>
                </a:cubicBezTo>
                <a:cubicBezTo>
                  <a:pt x="1546" y="217"/>
                  <a:pt x="1547" y="218"/>
                  <a:pt x="1548" y="219"/>
                </a:cubicBezTo>
                <a:cubicBezTo>
                  <a:pt x="1550" y="220"/>
                  <a:pt x="1552" y="219"/>
                  <a:pt x="1555" y="219"/>
                </a:cubicBezTo>
                <a:cubicBezTo>
                  <a:pt x="1557" y="221"/>
                  <a:pt x="1558" y="223"/>
                  <a:pt x="1560" y="225"/>
                </a:cubicBezTo>
                <a:cubicBezTo>
                  <a:pt x="1561" y="225"/>
                  <a:pt x="1561" y="225"/>
                  <a:pt x="1562" y="225"/>
                </a:cubicBezTo>
                <a:cubicBezTo>
                  <a:pt x="1563" y="226"/>
                  <a:pt x="1565" y="226"/>
                  <a:pt x="1566" y="227"/>
                </a:cubicBezTo>
                <a:cubicBezTo>
                  <a:pt x="1567" y="228"/>
                  <a:pt x="1568" y="228"/>
                  <a:pt x="1568" y="230"/>
                </a:cubicBezTo>
                <a:cubicBezTo>
                  <a:pt x="1569" y="233"/>
                  <a:pt x="1570" y="237"/>
                  <a:pt x="1572" y="240"/>
                </a:cubicBezTo>
                <a:cubicBezTo>
                  <a:pt x="1573" y="241"/>
                  <a:pt x="1572" y="242"/>
                  <a:pt x="1571" y="242"/>
                </a:cubicBezTo>
                <a:cubicBezTo>
                  <a:pt x="1570" y="243"/>
                  <a:pt x="1569" y="243"/>
                  <a:pt x="1568" y="244"/>
                </a:cubicBezTo>
                <a:cubicBezTo>
                  <a:pt x="1568" y="244"/>
                  <a:pt x="1568" y="244"/>
                  <a:pt x="1569" y="244"/>
                </a:cubicBezTo>
                <a:cubicBezTo>
                  <a:pt x="1568" y="244"/>
                  <a:pt x="1568" y="245"/>
                  <a:pt x="1568" y="245"/>
                </a:cubicBezTo>
                <a:cubicBezTo>
                  <a:pt x="1568" y="245"/>
                  <a:pt x="1568" y="245"/>
                  <a:pt x="1568" y="245"/>
                </a:cubicBezTo>
                <a:cubicBezTo>
                  <a:pt x="1568" y="245"/>
                  <a:pt x="1568" y="244"/>
                  <a:pt x="1568" y="244"/>
                </a:cubicBezTo>
                <a:cubicBezTo>
                  <a:pt x="1568" y="244"/>
                  <a:pt x="1568" y="244"/>
                  <a:pt x="1568" y="244"/>
                </a:cubicBezTo>
                <a:cubicBezTo>
                  <a:pt x="1568" y="244"/>
                  <a:pt x="1568" y="243"/>
                  <a:pt x="1568" y="243"/>
                </a:cubicBezTo>
                <a:cubicBezTo>
                  <a:pt x="1565" y="240"/>
                  <a:pt x="1564" y="237"/>
                  <a:pt x="1566" y="233"/>
                </a:cubicBezTo>
                <a:cubicBezTo>
                  <a:pt x="1567" y="233"/>
                  <a:pt x="1567" y="232"/>
                  <a:pt x="1567" y="231"/>
                </a:cubicBezTo>
                <a:cubicBezTo>
                  <a:pt x="1567" y="230"/>
                  <a:pt x="1565" y="228"/>
                  <a:pt x="1563" y="228"/>
                </a:cubicBezTo>
                <a:cubicBezTo>
                  <a:pt x="1562" y="228"/>
                  <a:pt x="1561" y="228"/>
                  <a:pt x="1559" y="228"/>
                </a:cubicBezTo>
                <a:cubicBezTo>
                  <a:pt x="1556" y="229"/>
                  <a:pt x="1554" y="229"/>
                  <a:pt x="1552" y="227"/>
                </a:cubicBezTo>
                <a:cubicBezTo>
                  <a:pt x="1551" y="226"/>
                  <a:pt x="1549" y="224"/>
                  <a:pt x="1548" y="224"/>
                </a:cubicBezTo>
                <a:cubicBezTo>
                  <a:pt x="1545" y="222"/>
                  <a:pt x="1542" y="221"/>
                  <a:pt x="1540" y="220"/>
                </a:cubicBezTo>
                <a:cubicBezTo>
                  <a:pt x="1537" y="220"/>
                  <a:pt x="1534" y="219"/>
                  <a:pt x="1531" y="218"/>
                </a:cubicBezTo>
                <a:cubicBezTo>
                  <a:pt x="1531" y="218"/>
                  <a:pt x="1529" y="218"/>
                  <a:pt x="1529" y="219"/>
                </a:cubicBezTo>
                <a:cubicBezTo>
                  <a:pt x="1528" y="220"/>
                  <a:pt x="1527" y="221"/>
                  <a:pt x="1527" y="223"/>
                </a:cubicBezTo>
                <a:cubicBezTo>
                  <a:pt x="1527" y="224"/>
                  <a:pt x="1527" y="224"/>
                  <a:pt x="1528" y="225"/>
                </a:cubicBezTo>
                <a:cubicBezTo>
                  <a:pt x="1528" y="225"/>
                  <a:pt x="1529" y="225"/>
                  <a:pt x="1530" y="225"/>
                </a:cubicBezTo>
                <a:cubicBezTo>
                  <a:pt x="1530" y="225"/>
                  <a:pt x="1530" y="225"/>
                  <a:pt x="1530" y="225"/>
                </a:cubicBezTo>
                <a:cubicBezTo>
                  <a:pt x="1530" y="225"/>
                  <a:pt x="1530" y="225"/>
                  <a:pt x="1530" y="225"/>
                </a:cubicBezTo>
                <a:cubicBezTo>
                  <a:pt x="1530" y="225"/>
                  <a:pt x="1530" y="225"/>
                  <a:pt x="1530" y="225"/>
                </a:cubicBezTo>
                <a:cubicBezTo>
                  <a:pt x="1531" y="226"/>
                  <a:pt x="1531" y="226"/>
                  <a:pt x="1532" y="227"/>
                </a:cubicBezTo>
                <a:cubicBezTo>
                  <a:pt x="1533" y="227"/>
                  <a:pt x="1533" y="227"/>
                  <a:pt x="1534" y="227"/>
                </a:cubicBezTo>
                <a:cubicBezTo>
                  <a:pt x="1535" y="228"/>
                  <a:pt x="1536" y="229"/>
                  <a:pt x="1535" y="230"/>
                </a:cubicBezTo>
                <a:cubicBezTo>
                  <a:pt x="1535" y="231"/>
                  <a:pt x="1534" y="232"/>
                  <a:pt x="1533" y="232"/>
                </a:cubicBezTo>
                <a:cubicBezTo>
                  <a:pt x="1532" y="231"/>
                  <a:pt x="1531" y="231"/>
                  <a:pt x="1530" y="230"/>
                </a:cubicBezTo>
                <a:cubicBezTo>
                  <a:pt x="1529" y="230"/>
                  <a:pt x="1528" y="229"/>
                  <a:pt x="1527" y="229"/>
                </a:cubicBezTo>
                <a:cubicBezTo>
                  <a:pt x="1526" y="229"/>
                  <a:pt x="1525" y="230"/>
                  <a:pt x="1524" y="231"/>
                </a:cubicBezTo>
                <a:cubicBezTo>
                  <a:pt x="1524" y="231"/>
                  <a:pt x="1524" y="232"/>
                  <a:pt x="1524" y="233"/>
                </a:cubicBezTo>
                <a:cubicBezTo>
                  <a:pt x="1525" y="236"/>
                  <a:pt x="1528" y="239"/>
                  <a:pt x="1531" y="240"/>
                </a:cubicBezTo>
                <a:cubicBezTo>
                  <a:pt x="1533" y="240"/>
                  <a:pt x="1535" y="241"/>
                  <a:pt x="1537" y="241"/>
                </a:cubicBezTo>
                <a:cubicBezTo>
                  <a:pt x="1538" y="241"/>
                  <a:pt x="1539" y="242"/>
                  <a:pt x="1540" y="242"/>
                </a:cubicBezTo>
                <a:cubicBezTo>
                  <a:pt x="1540" y="242"/>
                  <a:pt x="1540" y="242"/>
                  <a:pt x="1540" y="242"/>
                </a:cubicBezTo>
                <a:cubicBezTo>
                  <a:pt x="1540" y="243"/>
                  <a:pt x="1540" y="244"/>
                  <a:pt x="1539" y="243"/>
                </a:cubicBezTo>
                <a:cubicBezTo>
                  <a:pt x="1538" y="243"/>
                  <a:pt x="1537" y="242"/>
                  <a:pt x="1535" y="242"/>
                </a:cubicBezTo>
                <a:cubicBezTo>
                  <a:pt x="1533" y="243"/>
                  <a:pt x="1530" y="242"/>
                  <a:pt x="1527" y="242"/>
                </a:cubicBezTo>
                <a:cubicBezTo>
                  <a:pt x="1526" y="242"/>
                  <a:pt x="1525" y="242"/>
                  <a:pt x="1524" y="240"/>
                </a:cubicBezTo>
                <a:cubicBezTo>
                  <a:pt x="1524" y="240"/>
                  <a:pt x="1523" y="239"/>
                  <a:pt x="1523" y="239"/>
                </a:cubicBezTo>
                <a:cubicBezTo>
                  <a:pt x="1521" y="236"/>
                  <a:pt x="1520" y="233"/>
                  <a:pt x="1519" y="229"/>
                </a:cubicBezTo>
                <a:cubicBezTo>
                  <a:pt x="1519" y="226"/>
                  <a:pt x="1518" y="223"/>
                  <a:pt x="1516" y="221"/>
                </a:cubicBezTo>
                <a:cubicBezTo>
                  <a:pt x="1516" y="220"/>
                  <a:pt x="1515" y="220"/>
                  <a:pt x="1514" y="219"/>
                </a:cubicBezTo>
                <a:cubicBezTo>
                  <a:pt x="1514" y="219"/>
                  <a:pt x="1514" y="219"/>
                  <a:pt x="1513" y="219"/>
                </a:cubicBezTo>
                <a:cubicBezTo>
                  <a:pt x="1513" y="219"/>
                  <a:pt x="1513" y="220"/>
                  <a:pt x="1513" y="220"/>
                </a:cubicBezTo>
                <a:cubicBezTo>
                  <a:pt x="1514" y="222"/>
                  <a:pt x="1514" y="224"/>
                  <a:pt x="1515" y="227"/>
                </a:cubicBezTo>
                <a:cubicBezTo>
                  <a:pt x="1515" y="228"/>
                  <a:pt x="1515" y="230"/>
                  <a:pt x="1514" y="232"/>
                </a:cubicBezTo>
                <a:cubicBezTo>
                  <a:pt x="1514" y="232"/>
                  <a:pt x="1514" y="233"/>
                  <a:pt x="1513" y="233"/>
                </a:cubicBezTo>
                <a:cubicBezTo>
                  <a:pt x="1512" y="235"/>
                  <a:pt x="1511" y="236"/>
                  <a:pt x="1512" y="239"/>
                </a:cubicBezTo>
                <a:cubicBezTo>
                  <a:pt x="1512" y="241"/>
                  <a:pt x="1511" y="243"/>
                  <a:pt x="1513" y="245"/>
                </a:cubicBezTo>
                <a:cubicBezTo>
                  <a:pt x="1514" y="246"/>
                  <a:pt x="1515" y="248"/>
                  <a:pt x="1517" y="249"/>
                </a:cubicBezTo>
                <a:cubicBezTo>
                  <a:pt x="1518" y="250"/>
                  <a:pt x="1519" y="251"/>
                  <a:pt x="1520" y="252"/>
                </a:cubicBezTo>
                <a:cubicBezTo>
                  <a:pt x="1522" y="253"/>
                  <a:pt x="1523" y="255"/>
                  <a:pt x="1523" y="257"/>
                </a:cubicBezTo>
                <a:cubicBezTo>
                  <a:pt x="1523" y="259"/>
                  <a:pt x="1523" y="262"/>
                  <a:pt x="1523" y="264"/>
                </a:cubicBezTo>
                <a:cubicBezTo>
                  <a:pt x="1524" y="269"/>
                  <a:pt x="1527" y="272"/>
                  <a:pt x="1528" y="276"/>
                </a:cubicBezTo>
                <a:cubicBezTo>
                  <a:pt x="1529" y="277"/>
                  <a:pt x="1530" y="278"/>
                  <a:pt x="1531" y="277"/>
                </a:cubicBezTo>
                <a:cubicBezTo>
                  <a:pt x="1534" y="277"/>
                  <a:pt x="1536" y="277"/>
                  <a:pt x="1537" y="275"/>
                </a:cubicBezTo>
                <a:cubicBezTo>
                  <a:pt x="1539" y="272"/>
                  <a:pt x="1541" y="273"/>
                  <a:pt x="1544" y="274"/>
                </a:cubicBezTo>
                <a:cubicBezTo>
                  <a:pt x="1544" y="275"/>
                  <a:pt x="1544" y="275"/>
                  <a:pt x="1544" y="275"/>
                </a:cubicBezTo>
                <a:cubicBezTo>
                  <a:pt x="1544" y="275"/>
                  <a:pt x="1544" y="275"/>
                  <a:pt x="1544" y="276"/>
                </a:cubicBezTo>
                <a:cubicBezTo>
                  <a:pt x="1541" y="277"/>
                  <a:pt x="1539" y="279"/>
                  <a:pt x="1537" y="281"/>
                </a:cubicBezTo>
                <a:cubicBezTo>
                  <a:pt x="1535" y="283"/>
                  <a:pt x="1534" y="286"/>
                  <a:pt x="1536" y="288"/>
                </a:cubicBezTo>
                <a:cubicBezTo>
                  <a:pt x="1537" y="289"/>
                  <a:pt x="1538" y="290"/>
                  <a:pt x="1539" y="291"/>
                </a:cubicBezTo>
                <a:cubicBezTo>
                  <a:pt x="1540" y="293"/>
                  <a:pt x="1541" y="295"/>
                  <a:pt x="1540" y="297"/>
                </a:cubicBezTo>
                <a:cubicBezTo>
                  <a:pt x="1539" y="300"/>
                  <a:pt x="1538" y="303"/>
                  <a:pt x="1538" y="306"/>
                </a:cubicBezTo>
                <a:cubicBezTo>
                  <a:pt x="1539" y="307"/>
                  <a:pt x="1538" y="309"/>
                  <a:pt x="1537" y="310"/>
                </a:cubicBezTo>
                <a:cubicBezTo>
                  <a:pt x="1536" y="312"/>
                  <a:pt x="1533" y="315"/>
                  <a:pt x="1533" y="318"/>
                </a:cubicBezTo>
                <a:cubicBezTo>
                  <a:pt x="1533" y="318"/>
                  <a:pt x="1532" y="319"/>
                  <a:pt x="1532" y="319"/>
                </a:cubicBezTo>
                <a:cubicBezTo>
                  <a:pt x="1528" y="319"/>
                  <a:pt x="1525" y="318"/>
                  <a:pt x="1521" y="318"/>
                </a:cubicBezTo>
                <a:cubicBezTo>
                  <a:pt x="1521" y="318"/>
                  <a:pt x="1520" y="317"/>
                  <a:pt x="1520" y="317"/>
                </a:cubicBezTo>
                <a:cubicBezTo>
                  <a:pt x="1519" y="316"/>
                  <a:pt x="1520" y="315"/>
                  <a:pt x="1520" y="315"/>
                </a:cubicBezTo>
                <a:cubicBezTo>
                  <a:pt x="1520" y="315"/>
                  <a:pt x="1520" y="315"/>
                  <a:pt x="1519" y="314"/>
                </a:cubicBezTo>
                <a:cubicBezTo>
                  <a:pt x="1519" y="314"/>
                  <a:pt x="1519" y="314"/>
                  <a:pt x="1519" y="314"/>
                </a:cubicBezTo>
                <a:cubicBezTo>
                  <a:pt x="1519" y="314"/>
                  <a:pt x="1519" y="314"/>
                  <a:pt x="1520" y="314"/>
                </a:cubicBezTo>
                <a:cubicBezTo>
                  <a:pt x="1520" y="314"/>
                  <a:pt x="1520" y="315"/>
                  <a:pt x="1520" y="315"/>
                </a:cubicBezTo>
                <a:cubicBezTo>
                  <a:pt x="1520" y="315"/>
                  <a:pt x="1521" y="315"/>
                  <a:pt x="1522" y="316"/>
                </a:cubicBezTo>
                <a:cubicBezTo>
                  <a:pt x="1525" y="317"/>
                  <a:pt x="1527" y="316"/>
                  <a:pt x="1528" y="313"/>
                </a:cubicBezTo>
                <a:cubicBezTo>
                  <a:pt x="1530" y="308"/>
                  <a:pt x="1531" y="302"/>
                  <a:pt x="1532" y="297"/>
                </a:cubicBezTo>
                <a:cubicBezTo>
                  <a:pt x="1532" y="296"/>
                  <a:pt x="1532" y="295"/>
                  <a:pt x="1532" y="294"/>
                </a:cubicBezTo>
                <a:cubicBezTo>
                  <a:pt x="1531" y="292"/>
                  <a:pt x="1530" y="290"/>
                  <a:pt x="1531" y="288"/>
                </a:cubicBezTo>
                <a:cubicBezTo>
                  <a:pt x="1531" y="286"/>
                  <a:pt x="1530" y="285"/>
                  <a:pt x="1529" y="284"/>
                </a:cubicBezTo>
                <a:cubicBezTo>
                  <a:pt x="1528" y="283"/>
                  <a:pt x="1526" y="282"/>
                  <a:pt x="1525" y="282"/>
                </a:cubicBezTo>
                <a:cubicBezTo>
                  <a:pt x="1523" y="280"/>
                  <a:pt x="1522" y="279"/>
                  <a:pt x="1522" y="277"/>
                </a:cubicBezTo>
                <a:cubicBezTo>
                  <a:pt x="1519" y="270"/>
                  <a:pt x="1517" y="264"/>
                  <a:pt x="1515" y="257"/>
                </a:cubicBezTo>
                <a:cubicBezTo>
                  <a:pt x="1514" y="253"/>
                  <a:pt x="1512" y="249"/>
                  <a:pt x="1508" y="247"/>
                </a:cubicBezTo>
                <a:cubicBezTo>
                  <a:pt x="1506" y="246"/>
                  <a:pt x="1505" y="244"/>
                  <a:pt x="1505" y="242"/>
                </a:cubicBezTo>
                <a:cubicBezTo>
                  <a:pt x="1506" y="236"/>
                  <a:pt x="1505" y="230"/>
                  <a:pt x="1503" y="225"/>
                </a:cubicBezTo>
                <a:cubicBezTo>
                  <a:pt x="1503" y="223"/>
                  <a:pt x="1502" y="222"/>
                  <a:pt x="1501" y="222"/>
                </a:cubicBezTo>
                <a:cubicBezTo>
                  <a:pt x="1496" y="220"/>
                  <a:pt x="1492" y="219"/>
                  <a:pt x="1487" y="221"/>
                </a:cubicBezTo>
                <a:cubicBezTo>
                  <a:pt x="1486" y="221"/>
                  <a:pt x="1485" y="221"/>
                  <a:pt x="1484" y="221"/>
                </a:cubicBezTo>
                <a:cubicBezTo>
                  <a:pt x="1483" y="221"/>
                  <a:pt x="1482" y="222"/>
                  <a:pt x="1482" y="223"/>
                </a:cubicBezTo>
                <a:cubicBezTo>
                  <a:pt x="1482" y="224"/>
                  <a:pt x="1482" y="225"/>
                  <a:pt x="1482" y="227"/>
                </a:cubicBezTo>
                <a:cubicBezTo>
                  <a:pt x="1482" y="232"/>
                  <a:pt x="1482" y="236"/>
                  <a:pt x="1483" y="241"/>
                </a:cubicBezTo>
                <a:cubicBezTo>
                  <a:pt x="1483" y="243"/>
                  <a:pt x="1482" y="246"/>
                  <a:pt x="1481" y="247"/>
                </a:cubicBezTo>
                <a:cubicBezTo>
                  <a:pt x="1479" y="249"/>
                  <a:pt x="1478" y="252"/>
                  <a:pt x="1478" y="255"/>
                </a:cubicBezTo>
                <a:cubicBezTo>
                  <a:pt x="1478" y="257"/>
                  <a:pt x="1479" y="258"/>
                  <a:pt x="1480" y="259"/>
                </a:cubicBezTo>
                <a:cubicBezTo>
                  <a:pt x="1482" y="260"/>
                  <a:pt x="1483" y="262"/>
                  <a:pt x="1484" y="263"/>
                </a:cubicBezTo>
                <a:cubicBezTo>
                  <a:pt x="1484" y="266"/>
                  <a:pt x="1486" y="268"/>
                  <a:pt x="1484" y="271"/>
                </a:cubicBezTo>
                <a:cubicBezTo>
                  <a:pt x="1484" y="271"/>
                  <a:pt x="1484" y="272"/>
                  <a:pt x="1485" y="273"/>
                </a:cubicBezTo>
                <a:cubicBezTo>
                  <a:pt x="1486" y="275"/>
                  <a:pt x="1487" y="277"/>
                  <a:pt x="1488" y="279"/>
                </a:cubicBezTo>
                <a:cubicBezTo>
                  <a:pt x="1489" y="279"/>
                  <a:pt x="1490" y="279"/>
                  <a:pt x="1490" y="279"/>
                </a:cubicBezTo>
                <a:cubicBezTo>
                  <a:pt x="1491" y="278"/>
                  <a:pt x="1493" y="278"/>
                  <a:pt x="1494" y="279"/>
                </a:cubicBezTo>
                <a:cubicBezTo>
                  <a:pt x="1496" y="282"/>
                  <a:pt x="1498" y="285"/>
                  <a:pt x="1502" y="286"/>
                </a:cubicBezTo>
                <a:cubicBezTo>
                  <a:pt x="1502" y="286"/>
                  <a:pt x="1503" y="287"/>
                  <a:pt x="1503" y="287"/>
                </a:cubicBezTo>
                <a:cubicBezTo>
                  <a:pt x="1503" y="289"/>
                  <a:pt x="1503" y="290"/>
                  <a:pt x="1503" y="291"/>
                </a:cubicBezTo>
                <a:cubicBezTo>
                  <a:pt x="1503" y="292"/>
                  <a:pt x="1501" y="293"/>
                  <a:pt x="1501" y="292"/>
                </a:cubicBezTo>
                <a:cubicBezTo>
                  <a:pt x="1499" y="291"/>
                  <a:pt x="1497" y="290"/>
                  <a:pt x="1496" y="289"/>
                </a:cubicBezTo>
                <a:cubicBezTo>
                  <a:pt x="1494" y="288"/>
                  <a:pt x="1493" y="287"/>
                  <a:pt x="1492" y="287"/>
                </a:cubicBezTo>
                <a:cubicBezTo>
                  <a:pt x="1490" y="286"/>
                  <a:pt x="1488" y="285"/>
                  <a:pt x="1485" y="284"/>
                </a:cubicBezTo>
                <a:cubicBezTo>
                  <a:pt x="1483" y="284"/>
                  <a:pt x="1482" y="283"/>
                  <a:pt x="1480" y="282"/>
                </a:cubicBezTo>
                <a:cubicBezTo>
                  <a:pt x="1477" y="282"/>
                  <a:pt x="1476" y="280"/>
                  <a:pt x="1474" y="279"/>
                </a:cubicBezTo>
                <a:cubicBezTo>
                  <a:pt x="1470" y="277"/>
                  <a:pt x="1465" y="276"/>
                  <a:pt x="1461" y="277"/>
                </a:cubicBezTo>
                <a:cubicBezTo>
                  <a:pt x="1460" y="277"/>
                  <a:pt x="1460" y="277"/>
                  <a:pt x="1459" y="277"/>
                </a:cubicBezTo>
                <a:cubicBezTo>
                  <a:pt x="1454" y="277"/>
                  <a:pt x="1449" y="276"/>
                  <a:pt x="1445" y="273"/>
                </a:cubicBezTo>
                <a:cubicBezTo>
                  <a:pt x="1443" y="271"/>
                  <a:pt x="1441" y="270"/>
                  <a:pt x="1439" y="268"/>
                </a:cubicBezTo>
                <a:cubicBezTo>
                  <a:pt x="1438" y="268"/>
                  <a:pt x="1437" y="268"/>
                  <a:pt x="1437" y="269"/>
                </a:cubicBezTo>
                <a:cubicBezTo>
                  <a:pt x="1437" y="269"/>
                  <a:pt x="1436" y="270"/>
                  <a:pt x="1436" y="270"/>
                </a:cubicBezTo>
                <a:cubicBezTo>
                  <a:pt x="1435" y="272"/>
                  <a:pt x="1436" y="274"/>
                  <a:pt x="1438" y="276"/>
                </a:cubicBezTo>
                <a:cubicBezTo>
                  <a:pt x="1440" y="278"/>
                  <a:pt x="1444" y="278"/>
                  <a:pt x="1446" y="281"/>
                </a:cubicBezTo>
                <a:cubicBezTo>
                  <a:pt x="1446" y="281"/>
                  <a:pt x="1447" y="281"/>
                  <a:pt x="1447" y="281"/>
                </a:cubicBezTo>
                <a:cubicBezTo>
                  <a:pt x="1448" y="281"/>
                  <a:pt x="1449" y="282"/>
                  <a:pt x="1450" y="283"/>
                </a:cubicBezTo>
                <a:cubicBezTo>
                  <a:pt x="1452" y="285"/>
                  <a:pt x="1453" y="287"/>
                  <a:pt x="1455" y="289"/>
                </a:cubicBezTo>
                <a:cubicBezTo>
                  <a:pt x="1456" y="290"/>
                  <a:pt x="1456" y="291"/>
                  <a:pt x="1455" y="292"/>
                </a:cubicBezTo>
                <a:cubicBezTo>
                  <a:pt x="1453" y="294"/>
                  <a:pt x="1451" y="295"/>
                  <a:pt x="1450" y="297"/>
                </a:cubicBezTo>
                <a:cubicBezTo>
                  <a:pt x="1450" y="298"/>
                  <a:pt x="1450" y="298"/>
                  <a:pt x="1450" y="298"/>
                </a:cubicBezTo>
                <a:cubicBezTo>
                  <a:pt x="1449" y="297"/>
                  <a:pt x="1449" y="297"/>
                  <a:pt x="1448" y="297"/>
                </a:cubicBezTo>
                <a:cubicBezTo>
                  <a:pt x="1448" y="296"/>
                  <a:pt x="1448" y="294"/>
                  <a:pt x="1447" y="293"/>
                </a:cubicBezTo>
                <a:cubicBezTo>
                  <a:pt x="1447" y="292"/>
                  <a:pt x="1445" y="291"/>
                  <a:pt x="1444" y="292"/>
                </a:cubicBezTo>
                <a:cubicBezTo>
                  <a:pt x="1442" y="293"/>
                  <a:pt x="1440" y="294"/>
                  <a:pt x="1437" y="294"/>
                </a:cubicBezTo>
                <a:cubicBezTo>
                  <a:pt x="1437" y="294"/>
                  <a:pt x="1437" y="294"/>
                  <a:pt x="1437" y="294"/>
                </a:cubicBezTo>
                <a:cubicBezTo>
                  <a:pt x="1436" y="297"/>
                  <a:pt x="1434" y="297"/>
                  <a:pt x="1432" y="297"/>
                </a:cubicBezTo>
                <a:cubicBezTo>
                  <a:pt x="1430" y="297"/>
                  <a:pt x="1428" y="298"/>
                  <a:pt x="1426" y="299"/>
                </a:cubicBezTo>
                <a:cubicBezTo>
                  <a:pt x="1425" y="301"/>
                  <a:pt x="1422" y="301"/>
                  <a:pt x="1421" y="303"/>
                </a:cubicBezTo>
                <a:cubicBezTo>
                  <a:pt x="1420" y="303"/>
                  <a:pt x="1419" y="303"/>
                  <a:pt x="1418" y="303"/>
                </a:cubicBezTo>
                <a:cubicBezTo>
                  <a:pt x="1418" y="302"/>
                  <a:pt x="1418" y="302"/>
                  <a:pt x="1418" y="301"/>
                </a:cubicBezTo>
                <a:cubicBezTo>
                  <a:pt x="1418" y="299"/>
                  <a:pt x="1418" y="297"/>
                  <a:pt x="1416" y="295"/>
                </a:cubicBezTo>
                <a:cubicBezTo>
                  <a:pt x="1414" y="295"/>
                  <a:pt x="1413" y="295"/>
                  <a:pt x="1412" y="298"/>
                </a:cubicBezTo>
                <a:cubicBezTo>
                  <a:pt x="1412" y="298"/>
                  <a:pt x="1411" y="299"/>
                  <a:pt x="1411" y="299"/>
                </a:cubicBezTo>
                <a:cubicBezTo>
                  <a:pt x="1409" y="299"/>
                  <a:pt x="1409" y="300"/>
                  <a:pt x="1407" y="301"/>
                </a:cubicBezTo>
                <a:cubicBezTo>
                  <a:pt x="1406" y="302"/>
                  <a:pt x="1405" y="302"/>
                  <a:pt x="1403" y="302"/>
                </a:cubicBezTo>
                <a:cubicBezTo>
                  <a:pt x="1401" y="303"/>
                  <a:pt x="1400" y="304"/>
                  <a:pt x="1398" y="305"/>
                </a:cubicBezTo>
                <a:cubicBezTo>
                  <a:pt x="1395" y="309"/>
                  <a:pt x="1392" y="313"/>
                  <a:pt x="1388" y="316"/>
                </a:cubicBezTo>
                <a:cubicBezTo>
                  <a:pt x="1387" y="316"/>
                  <a:pt x="1386" y="317"/>
                  <a:pt x="1386" y="318"/>
                </a:cubicBezTo>
                <a:cubicBezTo>
                  <a:pt x="1386" y="320"/>
                  <a:pt x="1385" y="321"/>
                  <a:pt x="1385" y="323"/>
                </a:cubicBezTo>
                <a:cubicBezTo>
                  <a:pt x="1385" y="323"/>
                  <a:pt x="1385" y="324"/>
                  <a:pt x="1384" y="324"/>
                </a:cubicBezTo>
                <a:cubicBezTo>
                  <a:pt x="1382" y="327"/>
                  <a:pt x="1377" y="327"/>
                  <a:pt x="1375" y="325"/>
                </a:cubicBezTo>
                <a:cubicBezTo>
                  <a:pt x="1374" y="324"/>
                  <a:pt x="1373" y="322"/>
                  <a:pt x="1372" y="321"/>
                </a:cubicBezTo>
                <a:cubicBezTo>
                  <a:pt x="1371" y="320"/>
                  <a:pt x="1371" y="318"/>
                  <a:pt x="1372" y="317"/>
                </a:cubicBezTo>
                <a:cubicBezTo>
                  <a:pt x="1373" y="316"/>
                  <a:pt x="1375" y="315"/>
                  <a:pt x="1376" y="314"/>
                </a:cubicBezTo>
                <a:cubicBezTo>
                  <a:pt x="1377" y="314"/>
                  <a:pt x="1377" y="312"/>
                  <a:pt x="1377" y="311"/>
                </a:cubicBezTo>
                <a:cubicBezTo>
                  <a:pt x="1375" y="310"/>
                  <a:pt x="1374" y="309"/>
                  <a:pt x="1373" y="307"/>
                </a:cubicBezTo>
                <a:cubicBezTo>
                  <a:pt x="1371" y="305"/>
                  <a:pt x="1369" y="304"/>
                  <a:pt x="1366" y="304"/>
                </a:cubicBezTo>
                <a:cubicBezTo>
                  <a:pt x="1363" y="305"/>
                  <a:pt x="1361" y="305"/>
                  <a:pt x="1359" y="304"/>
                </a:cubicBezTo>
                <a:cubicBezTo>
                  <a:pt x="1358" y="304"/>
                  <a:pt x="1358" y="304"/>
                  <a:pt x="1358" y="304"/>
                </a:cubicBezTo>
                <a:cubicBezTo>
                  <a:pt x="1358" y="305"/>
                  <a:pt x="1358" y="305"/>
                  <a:pt x="1358" y="306"/>
                </a:cubicBezTo>
                <a:cubicBezTo>
                  <a:pt x="1362" y="309"/>
                  <a:pt x="1363" y="313"/>
                  <a:pt x="1363" y="318"/>
                </a:cubicBezTo>
                <a:cubicBezTo>
                  <a:pt x="1363" y="319"/>
                  <a:pt x="1363" y="321"/>
                  <a:pt x="1363" y="322"/>
                </a:cubicBezTo>
                <a:cubicBezTo>
                  <a:pt x="1363" y="323"/>
                  <a:pt x="1363" y="324"/>
                  <a:pt x="1364" y="325"/>
                </a:cubicBezTo>
                <a:cubicBezTo>
                  <a:pt x="1366" y="326"/>
                  <a:pt x="1367" y="327"/>
                  <a:pt x="1367" y="330"/>
                </a:cubicBezTo>
                <a:cubicBezTo>
                  <a:pt x="1367" y="331"/>
                  <a:pt x="1367" y="332"/>
                  <a:pt x="1367" y="333"/>
                </a:cubicBezTo>
                <a:cubicBezTo>
                  <a:pt x="1367" y="334"/>
                  <a:pt x="1365" y="335"/>
                  <a:pt x="1364" y="335"/>
                </a:cubicBezTo>
                <a:cubicBezTo>
                  <a:pt x="1363" y="335"/>
                  <a:pt x="1361" y="334"/>
                  <a:pt x="1359" y="334"/>
                </a:cubicBezTo>
                <a:cubicBezTo>
                  <a:pt x="1357" y="333"/>
                  <a:pt x="1355" y="334"/>
                  <a:pt x="1353" y="336"/>
                </a:cubicBezTo>
                <a:cubicBezTo>
                  <a:pt x="1352" y="337"/>
                  <a:pt x="1351" y="338"/>
                  <a:pt x="1350" y="339"/>
                </a:cubicBezTo>
                <a:cubicBezTo>
                  <a:pt x="1348" y="340"/>
                  <a:pt x="1347" y="342"/>
                  <a:pt x="1346" y="343"/>
                </a:cubicBezTo>
                <a:cubicBezTo>
                  <a:pt x="1343" y="347"/>
                  <a:pt x="1342" y="348"/>
                  <a:pt x="1346" y="353"/>
                </a:cubicBezTo>
                <a:cubicBezTo>
                  <a:pt x="1347" y="354"/>
                  <a:pt x="1347" y="354"/>
                  <a:pt x="1347" y="355"/>
                </a:cubicBezTo>
                <a:cubicBezTo>
                  <a:pt x="1348" y="356"/>
                  <a:pt x="1347" y="357"/>
                  <a:pt x="1347" y="358"/>
                </a:cubicBezTo>
                <a:cubicBezTo>
                  <a:pt x="1346" y="359"/>
                  <a:pt x="1344" y="360"/>
                  <a:pt x="1344" y="359"/>
                </a:cubicBezTo>
                <a:cubicBezTo>
                  <a:pt x="1339" y="357"/>
                  <a:pt x="1335" y="356"/>
                  <a:pt x="1331" y="353"/>
                </a:cubicBezTo>
                <a:cubicBezTo>
                  <a:pt x="1330" y="353"/>
                  <a:pt x="1329" y="353"/>
                  <a:pt x="1329" y="352"/>
                </a:cubicBezTo>
                <a:cubicBezTo>
                  <a:pt x="1328" y="352"/>
                  <a:pt x="1327" y="353"/>
                  <a:pt x="1326" y="353"/>
                </a:cubicBezTo>
                <a:cubicBezTo>
                  <a:pt x="1326" y="354"/>
                  <a:pt x="1326" y="356"/>
                  <a:pt x="1325" y="357"/>
                </a:cubicBezTo>
                <a:cubicBezTo>
                  <a:pt x="1325" y="358"/>
                  <a:pt x="1325" y="359"/>
                  <a:pt x="1326" y="360"/>
                </a:cubicBezTo>
                <a:cubicBezTo>
                  <a:pt x="1328" y="362"/>
                  <a:pt x="1329" y="364"/>
                  <a:pt x="1332" y="364"/>
                </a:cubicBezTo>
                <a:cubicBezTo>
                  <a:pt x="1333" y="364"/>
                  <a:pt x="1333" y="364"/>
                  <a:pt x="1334" y="364"/>
                </a:cubicBezTo>
                <a:cubicBezTo>
                  <a:pt x="1335" y="365"/>
                  <a:pt x="1335" y="366"/>
                  <a:pt x="1335" y="366"/>
                </a:cubicBezTo>
                <a:cubicBezTo>
                  <a:pt x="1335" y="368"/>
                  <a:pt x="1333" y="369"/>
                  <a:pt x="1332" y="369"/>
                </a:cubicBezTo>
                <a:cubicBezTo>
                  <a:pt x="1329" y="369"/>
                  <a:pt x="1326" y="368"/>
                  <a:pt x="1324" y="366"/>
                </a:cubicBezTo>
                <a:cubicBezTo>
                  <a:pt x="1323" y="364"/>
                  <a:pt x="1321" y="364"/>
                  <a:pt x="1320" y="363"/>
                </a:cubicBezTo>
                <a:cubicBezTo>
                  <a:pt x="1319" y="363"/>
                  <a:pt x="1318" y="362"/>
                  <a:pt x="1317" y="361"/>
                </a:cubicBezTo>
                <a:cubicBezTo>
                  <a:pt x="1317" y="359"/>
                  <a:pt x="1316" y="356"/>
                  <a:pt x="1314" y="354"/>
                </a:cubicBezTo>
                <a:cubicBezTo>
                  <a:pt x="1313" y="352"/>
                  <a:pt x="1314" y="351"/>
                  <a:pt x="1314" y="349"/>
                </a:cubicBezTo>
                <a:cubicBezTo>
                  <a:pt x="1314" y="345"/>
                  <a:pt x="1313" y="342"/>
                  <a:pt x="1309" y="341"/>
                </a:cubicBezTo>
                <a:cubicBezTo>
                  <a:pt x="1307" y="340"/>
                  <a:pt x="1306" y="339"/>
                  <a:pt x="1305" y="338"/>
                </a:cubicBezTo>
                <a:cubicBezTo>
                  <a:pt x="1303" y="337"/>
                  <a:pt x="1301" y="336"/>
                  <a:pt x="1301" y="334"/>
                </a:cubicBezTo>
                <a:cubicBezTo>
                  <a:pt x="1300" y="334"/>
                  <a:pt x="1300" y="334"/>
                  <a:pt x="1300" y="334"/>
                </a:cubicBezTo>
                <a:cubicBezTo>
                  <a:pt x="1300" y="334"/>
                  <a:pt x="1300" y="334"/>
                  <a:pt x="1300" y="333"/>
                </a:cubicBezTo>
                <a:cubicBezTo>
                  <a:pt x="1300" y="333"/>
                  <a:pt x="1299" y="333"/>
                  <a:pt x="1299" y="332"/>
                </a:cubicBezTo>
                <a:cubicBezTo>
                  <a:pt x="1299" y="332"/>
                  <a:pt x="1299" y="332"/>
                  <a:pt x="1298" y="332"/>
                </a:cubicBezTo>
                <a:cubicBezTo>
                  <a:pt x="1298" y="332"/>
                  <a:pt x="1298" y="332"/>
                  <a:pt x="1298" y="332"/>
                </a:cubicBezTo>
                <a:cubicBezTo>
                  <a:pt x="1299" y="332"/>
                  <a:pt x="1299" y="332"/>
                  <a:pt x="1299" y="332"/>
                </a:cubicBezTo>
                <a:cubicBezTo>
                  <a:pt x="1299" y="332"/>
                  <a:pt x="1299" y="332"/>
                  <a:pt x="1299" y="332"/>
                </a:cubicBezTo>
                <a:cubicBezTo>
                  <a:pt x="1300" y="333"/>
                  <a:pt x="1300" y="333"/>
                  <a:pt x="1300" y="333"/>
                </a:cubicBezTo>
                <a:cubicBezTo>
                  <a:pt x="1300" y="334"/>
                  <a:pt x="1300" y="334"/>
                  <a:pt x="1300" y="334"/>
                </a:cubicBezTo>
                <a:cubicBezTo>
                  <a:pt x="1300" y="334"/>
                  <a:pt x="1301" y="334"/>
                  <a:pt x="1301" y="334"/>
                </a:cubicBezTo>
                <a:cubicBezTo>
                  <a:pt x="1303" y="334"/>
                  <a:pt x="1305" y="335"/>
                  <a:pt x="1308" y="336"/>
                </a:cubicBezTo>
                <a:cubicBezTo>
                  <a:pt x="1314" y="338"/>
                  <a:pt x="1320" y="340"/>
                  <a:pt x="1327" y="341"/>
                </a:cubicBezTo>
                <a:cubicBezTo>
                  <a:pt x="1332" y="342"/>
                  <a:pt x="1337" y="341"/>
                  <a:pt x="1342" y="339"/>
                </a:cubicBezTo>
                <a:cubicBezTo>
                  <a:pt x="1342" y="339"/>
                  <a:pt x="1343" y="338"/>
                  <a:pt x="1344" y="338"/>
                </a:cubicBezTo>
                <a:cubicBezTo>
                  <a:pt x="1347" y="335"/>
                  <a:pt x="1349" y="331"/>
                  <a:pt x="1349" y="327"/>
                </a:cubicBezTo>
                <a:cubicBezTo>
                  <a:pt x="1349" y="326"/>
                  <a:pt x="1349" y="324"/>
                  <a:pt x="1349" y="324"/>
                </a:cubicBezTo>
                <a:cubicBezTo>
                  <a:pt x="1347" y="321"/>
                  <a:pt x="1345" y="318"/>
                  <a:pt x="1342" y="317"/>
                </a:cubicBezTo>
                <a:cubicBezTo>
                  <a:pt x="1341" y="316"/>
                  <a:pt x="1340" y="315"/>
                  <a:pt x="1339" y="314"/>
                </a:cubicBezTo>
                <a:cubicBezTo>
                  <a:pt x="1338" y="313"/>
                  <a:pt x="1336" y="312"/>
                  <a:pt x="1334" y="312"/>
                </a:cubicBezTo>
                <a:cubicBezTo>
                  <a:pt x="1332" y="311"/>
                  <a:pt x="1329" y="310"/>
                  <a:pt x="1327" y="308"/>
                </a:cubicBezTo>
                <a:cubicBezTo>
                  <a:pt x="1324" y="306"/>
                  <a:pt x="1322" y="305"/>
                  <a:pt x="1319" y="303"/>
                </a:cubicBezTo>
                <a:cubicBezTo>
                  <a:pt x="1312" y="299"/>
                  <a:pt x="1310" y="298"/>
                  <a:pt x="1302" y="298"/>
                </a:cubicBezTo>
                <a:cubicBezTo>
                  <a:pt x="1301" y="298"/>
                  <a:pt x="1300" y="299"/>
                  <a:pt x="1299" y="299"/>
                </a:cubicBezTo>
                <a:cubicBezTo>
                  <a:pt x="1297" y="299"/>
                  <a:pt x="1296" y="299"/>
                  <a:pt x="1294" y="298"/>
                </a:cubicBezTo>
                <a:cubicBezTo>
                  <a:pt x="1293" y="298"/>
                  <a:pt x="1294" y="297"/>
                  <a:pt x="1294" y="296"/>
                </a:cubicBezTo>
                <a:cubicBezTo>
                  <a:pt x="1294" y="295"/>
                  <a:pt x="1294" y="294"/>
                  <a:pt x="1293" y="294"/>
                </a:cubicBezTo>
                <a:cubicBezTo>
                  <a:pt x="1292" y="293"/>
                  <a:pt x="1291" y="293"/>
                  <a:pt x="1290" y="292"/>
                </a:cubicBezTo>
                <a:cubicBezTo>
                  <a:pt x="1289" y="292"/>
                  <a:pt x="1288" y="292"/>
                  <a:pt x="1287" y="293"/>
                </a:cubicBezTo>
                <a:cubicBezTo>
                  <a:pt x="1286" y="294"/>
                  <a:pt x="1284" y="295"/>
                  <a:pt x="1282" y="294"/>
                </a:cubicBezTo>
                <a:cubicBezTo>
                  <a:pt x="1281" y="293"/>
                  <a:pt x="1279" y="294"/>
                  <a:pt x="1277" y="294"/>
                </a:cubicBezTo>
                <a:cubicBezTo>
                  <a:pt x="1277" y="294"/>
                  <a:pt x="1276" y="294"/>
                  <a:pt x="1275" y="293"/>
                </a:cubicBezTo>
                <a:cubicBezTo>
                  <a:pt x="1275" y="293"/>
                  <a:pt x="1274" y="292"/>
                  <a:pt x="1274" y="292"/>
                </a:cubicBezTo>
                <a:cubicBezTo>
                  <a:pt x="1274" y="291"/>
                  <a:pt x="1275" y="291"/>
                  <a:pt x="1275" y="291"/>
                </a:cubicBezTo>
                <a:cubicBezTo>
                  <a:pt x="1277" y="291"/>
                  <a:pt x="1278" y="290"/>
                  <a:pt x="1279" y="289"/>
                </a:cubicBezTo>
                <a:cubicBezTo>
                  <a:pt x="1280" y="288"/>
                  <a:pt x="1282" y="287"/>
                  <a:pt x="1283" y="286"/>
                </a:cubicBezTo>
                <a:cubicBezTo>
                  <a:pt x="1283" y="286"/>
                  <a:pt x="1283" y="285"/>
                  <a:pt x="1282" y="284"/>
                </a:cubicBezTo>
                <a:cubicBezTo>
                  <a:pt x="1279" y="282"/>
                  <a:pt x="1274" y="281"/>
                  <a:pt x="1270" y="279"/>
                </a:cubicBezTo>
                <a:cubicBezTo>
                  <a:pt x="1270" y="279"/>
                  <a:pt x="1269" y="280"/>
                  <a:pt x="1268" y="280"/>
                </a:cubicBezTo>
                <a:cubicBezTo>
                  <a:pt x="1267" y="281"/>
                  <a:pt x="1267" y="281"/>
                  <a:pt x="1267" y="282"/>
                </a:cubicBezTo>
                <a:cubicBezTo>
                  <a:pt x="1266" y="282"/>
                  <a:pt x="1266" y="283"/>
                  <a:pt x="1266" y="282"/>
                </a:cubicBezTo>
                <a:cubicBezTo>
                  <a:pt x="1266" y="282"/>
                  <a:pt x="1265" y="282"/>
                  <a:pt x="1265" y="282"/>
                </a:cubicBezTo>
                <a:cubicBezTo>
                  <a:pt x="1265" y="281"/>
                  <a:pt x="1266" y="280"/>
                  <a:pt x="1265" y="279"/>
                </a:cubicBezTo>
                <a:cubicBezTo>
                  <a:pt x="1265" y="277"/>
                  <a:pt x="1264" y="276"/>
                  <a:pt x="1263" y="276"/>
                </a:cubicBezTo>
                <a:cubicBezTo>
                  <a:pt x="1262" y="275"/>
                  <a:pt x="1261" y="276"/>
                  <a:pt x="1260" y="277"/>
                </a:cubicBezTo>
                <a:cubicBezTo>
                  <a:pt x="1259" y="277"/>
                  <a:pt x="1258" y="278"/>
                  <a:pt x="1258" y="280"/>
                </a:cubicBezTo>
                <a:cubicBezTo>
                  <a:pt x="1258" y="280"/>
                  <a:pt x="1258" y="281"/>
                  <a:pt x="1257" y="282"/>
                </a:cubicBezTo>
                <a:cubicBezTo>
                  <a:pt x="1257" y="282"/>
                  <a:pt x="1257" y="283"/>
                  <a:pt x="1256" y="283"/>
                </a:cubicBezTo>
                <a:cubicBezTo>
                  <a:pt x="1256" y="283"/>
                  <a:pt x="1256" y="283"/>
                  <a:pt x="1256" y="282"/>
                </a:cubicBezTo>
                <a:cubicBezTo>
                  <a:pt x="1255" y="281"/>
                  <a:pt x="1255" y="280"/>
                  <a:pt x="1253" y="280"/>
                </a:cubicBezTo>
                <a:cubicBezTo>
                  <a:pt x="1252" y="280"/>
                  <a:pt x="1252" y="279"/>
                  <a:pt x="1252" y="278"/>
                </a:cubicBezTo>
                <a:cubicBezTo>
                  <a:pt x="1251" y="276"/>
                  <a:pt x="1249" y="275"/>
                  <a:pt x="1248" y="276"/>
                </a:cubicBezTo>
                <a:cubicBezTo>
                  <a:pt x="1247" y="279"/>
                  <a:pt x="1244" y="279"/>
                  <a:pt x="1242" y="281"/>
                </a:cubicBezTo>
                <a:cubicBezTo>
                  <a:pt x="1240" y="281"/>
                  <a:pt x="1239" y="283"/>
                  <a:pt x="1236" y="284"/>
                </a:cubicBezTo>
                <a:cubicBezTo>
                  <a:pt x="1236" y="284"/>
                  <a:pt x="1236" y="284"/>
                  <a:pt x="1236" y="284"/>
                </a:cubicBezTo>
                <a:cubicBezTo>
                  <a:pt x="1236" y="284"/>
                  <a:pt x="1236" y="284"/>
                  <a:pt x="1236" y="284"/>
                </a:cubicBezTo>
                <a:cubicBezTo>
                  <a:pt x="1235" y="285"/>
                  <a:pt x="1235" y="285"/>
                  <a:pt x="1235" y="285"/>
                </a:cubicBezTo>
                <a:cubicBezTo>
                  <a:pt x="1236" y="284"/>
                  <a:pt x="1236" y="284"/>
                  <a:pt x="1236" y="284"/>
                </a:cubicBezTo>
                <a:cubicBezTo>
                  <a:pt x="1236" y="284"/>
                  <a:pt x="1236" y="284"/>
                  <a:pt x="1236" y="284"/>
                </a:cubicBezTo>
                <a:cubicBezTo>
                  <a:pt x="1236" y="284"/>
                  <a:pt x="1236" y="283"/>
                  <a:pt x="1235" y="283"/>
                </a:cubicBezTo>
                <a:cubicBezTo>
                  <a:pt x="1235" y="283"/>
                  <a:pt x="1235" y="283"/>
                  <a:pt x="1235" y="283"/>
                </a:cubicBezTo>
                <a:cubicBezTo>
                  <a:pt x="1231" y="283"/>
                  <a:pt x="1231" y="283"/>
                  <a:pt x="1232" y="286"/>
                </a:cubicBezTo>
                <a:cubicBezTo>
                  <a:pt x="1232" y="287"/>
                  <a:pt x="1232" y="287"/>
                  <a:pt x="1232" y="288"/>
                </a:cubicBezTo>
                <a:cubicBezTo>
                  <a:pt x="1232" y="288"/>
                  <a:pt x="1232" y="288"/>
                  <a:pt x="1232" y="288"/>
                </a:cubicBezTo>
                <a:cubicBezTo>
                  <a:pt x="1232" y="288"/>
                  <a:pt x="1232" y="288"/>
                  <a:pt x="1232" y="288"/>
                </a:cubicBezTo>
                <a:cubicBezTo>
                  <a:pt x="1232" y="288"/>
                  <a:pt x="1232" y="288"/>
                  <a:pt x="1232" y="288"/>
                </a:cubicBezTo>
                <a:cubicBezTo>
                  <a:pt x="1232" y="288"/>
                  <a:pt x="1232" y="288"/>
                  <a:pt x="1232" y="288"/>
                </a:cubicBezTo>
                <a:cubicBezTo>
                  <a:pt x="1228" y="288"/>
                  <a:pt x="1225" y="290"/>
                  <a:pt x="1222" y="291"/>
                </a:cubicBezTo>
                <a:cubicBezTo>
                  <a:pt x="1222" y="291"/>
                  <a:pt x="1222" y="292"/>
                  <a:pt x="1222" y="293"/>
                </a:cubicBezTo>
                <a:cubicBezTo>
                  <a:pt x="1222" y="293"/>
                  <a:pt x="1223" y="294"/>
                  <a:pt x="1223" y="295"/>
                </a:cubicBezTo>
                <a:cubicBezTo>
                  <a:pt x="1222" y="296"/>
                  <a:pt x="1221" y="295"/>
                  <a:pt x="1220" y="296"/>
                </a:cubicBezTo>
                <a:cubicBezTo>
                  <a:pt x="1219" y="296"/>
                  <a:pt x="1218" y="297"/>
                  <a:pt x="1216" y="297"/>
                </a:cubicBezTo>
                <a:cubicBezTo>
                  <a:pt x="1216" y="297"/>
                  <a:pt x="1216" y="297"/>
                  <a:pt x="1216" y="297"/>
                </a:cubicBezTo>
                <a:cubicBezTo>
                  <a:pt x="1216" y="297"/>
                  <a:pt x="1216" y="297"/>
                  <a:pt x="1216" y="297"/>
                </a:cubicBezTo>
                <a:cubicBezTo>
                  <a:pt x="1216" y="297"/>
                  <a:pt x="1216" y="297"/>
                  <a:pt x="1216" y="297"/>
                </a:cubicBezTo>
                <a:cubicBezTo>
                  <a:pt x="1216" y="297"/>
                  <a:pt x="1216" y="297"/>
                  <a:pt x="1215" y="297"/>
                </a:cubicBezTo>
                <a:cubicBezTo>
                  <a:pt x="1216" y="297"/>
                  <a:pt x="1216" y="297"/>
                  <a:pt x="1216" y="297"/>
                </a:cubicBezTo>
                <a:cubicBezTo>
                  <a:pt x="1216" y="296"/>
                  <a:pt x="1216" y="295"/>
                  <a:pt x="1216" y="294"/>
                </a:cubicBezTo>
                <a:cubicBezTo>
                  <a:pt x="1216" y="293"/>
                  <a:pt x="1215" y="293"/>
                  <a:pt x="1214" y="293"/>
                </a:cubicBezTo>
                <a:cubicBezTo>
                  <a:pt x="1214" y="293"/>
                  <a:pt x="1213" y="294"/>
                  <a:pt x="1213" y="294"/>
                </a:cubicBezTo>
                <a:cubicBezTo>
                  <a:pt x="1214" y="295"/>
                  <a:pt x="1214" y="296"/>
                  <a:pt x="1215" y="297"/>
                </a:cubicBezTo>
                <a:cubicBezTo>
                  <a:pt x="1214" y="297"/>
                  <a:pt x="1214" y="297"/>
                  <a:pt x="1214" y="297"/>
                </a:cubicBezTo>
                <a:cubicBezTo>
                  <a:pt x="1215" y="297"/>
                  <a:pt x="1215" y="297"/>
                  <a:pt x="1215" y="297"/>
                </a:cubicBezTo>
                <a:cubicBezTo>
                  <a:pt x="1212" y="297"/>
                  <a:pt x="1210" y="298"/>
                  <a:pt x="1209" y="300"/>
                </a:cubicBezTo>
                <a:cubicBezTo>
                  <a:pt x="1209" y="300"/>
                  <a:pt x="1209" y="300"/>
                  <a:pt x="1209" y="300"/>
                </a:cubicBezTo>
                <a:cubicBezTo>
                  <a:pt x="1209" y="300"/>
                  <a:pt x="1210" y="301"/>
                  <a:pt x="1209" y="300"/>
                </a:cubicBezTo>
                <a:cubicBezTo>
                  <a:pt x="1209" y="300"/>
                  <a:pt x="1209" y="300"/>
                  <a:pt x="1209" y="300"/>
                </a:cubicBezTo>
                <a:cubicBezTo>
                  <a:pt x="1209" y="300"/>
                  <a:pt x="1208" y="300"/>
                  <a:pt x="1207" y="300"/>
                </a:cubicBezTo>
                <a:cubicBezTo>
                  <a:pt x="1205" y="300"/>
                  <a:pt x="1204" y="301"/>
                  <a:pt x="1204" y="303"/>
                </a:cubicBezTo>
                <a:cubicBezTo>
                  <a:pt x="1203" y="304"/>
                  <a:pt x="1203" y="306"/>
                  <a:pt x="1205" y="307"/>
                </a:cubicBezTo>
                <a:cubicBezTo>
                  <a:pt x="1205" y="308"/>
                  <a:pt x="1206" y="308"/>
                  <a:pt x="1206" y="308"/>
                </a:cubicBezTo>
                <a:cubicBezTo>
                  <a:pt x="1207" y="309"/>
                  <a:pt x="1206" y="310"/>
                  <a:pt x="1205" y="310"/>
                </a:cubicBezTo>
                <a:cubicBezTo>
                  <a:pt x="1205" y="311"/>
                  <a:pt x="1204" y="312"/>
                  <a:pt x="1202" y="311"/>
                </a:cubicBezTo>
                <a:cubicBezTo>
                  <a:pt x="1201" y="311"/>
                  <a:pt x="1200" y="311"/>
                  <a:pt x="1198" y="311"/>
                </a:cubicBezTo>
                <a:cubicBezTo>
                  <a:pt x="1197" y="311"/>
                  <a:pt x="1196" y="310"/>
                  <a:pt x="1197" y="310"/>
                </a:cubicBezTo>
                <a:cubicBezTo>
                  <a:pt x="1197" y="308"/>
                  <a:pt x="1198" y="307"/>
                  <a:pt x="1198" y="305"/>
                </a:cubicBezTo>
                <a:cubicBezTo>
                  <a:pt x="1198" y="305"/>
                  <a:pt x="1198" y="305"/>
                  <a:pt x="1198" y="305"/>
                </a:cubicBezTo>
                <a:cubicBezTo>
                  <a:pt x="1198" y="305"/>
                  <a:pt x="1197" y="305"/>
                  <a:pt x="1197" y="305"/>
                </a:cubicBezTo>
                <a:cubicBezTo>
                  <a:pt x="1195" y="307"/>
                  <a:pt x="1193" y="309"/>
                  <a:pt x="1191" y="311"/>
                </a:cubicBezTo>
                <a:cubicBezTo>
                  <a:pt x="1190" y="312"/>
                  <a:pt x="1191" y="313"/>
                  <a:pt x="1192" y="313"/>
                </a:cubicBezTo>
                <a:cubicBezTo>
                  <a:pt x="1192" y="315"/>
                  <a:pt x="1192" y="316"/>
                  <a:pt x="1191" y="316"/>
                </a:cubicBezTo>
                <a:cubicBezTo>
                  <a:pt x="1191" y="317"/>
                  <a:pt x="1191" y="317"/>
                  <a:pt x="1190" y="318"/>
                </a:cubicBezTo>
                <a:cubicBezTo>
                  <a:pt x="1191" y="318"/>
                  <a:pt x="1192" y="318"/>
                  <a:pt x="1193" y="318"/>
                </a:cubicBezTo>
                <a:cubicBezTo>
                  <a:pt x="1195" y="317"/>
                  <a:pt x="1197" y="317"/>
                  <a:pt x="1199" y="316"/>
                </a:cubicBezTo>
                <a:cubicBezTo>
                  <a:pt x="1200" y="316"/>
                  <a:pt x="1202" y="316"/>
                  <a:pt x="1203" y="317"/>
                </a:cubicBezTo>
                <a:cubicBezTo>
                  <a:pt x="1203" y="317"/>
                  <a:pt x="1203" y="317"/>
                  <a:pt x="1203" y="317"/>
                </a:cubicBezTo>
                <a:cubicBezTo>
                  <a:pt x="1203" y="317"/>
                  <a:pt x="1203" y="317"/>
                  <a:pt x="1203" y="318"/>
                </a:cubicBezTo>
                <a:cubicBezTo>
                  <a:pt x="1202" y="318"/>
                  <a:pt x="1201" y="319"/>
                  <a:pt x="1200" y="319"/>
                </a:cubicBezTo>
                <a:cubicBezTo>
                  <a:pt x="1199" y="319"/>
                  <a:pt x="1199" y="319"/>
                  <a:pt x="1198" y="320"/>
                </a:cubicBezTo>
                <a:cubicBezTo>
                  <a:pt x="1196" y="320"/>
                  <a:pt x="1196" y="321"/>
                  <a:pt x="1197" y="322"/>
                </a:cubicBezTo>
                <a:cubicBezTo>
                  <a:pt x="1196" y="323"/>
                  <a:pt x="1195" y="323"/>
                  <a:pt x="1194" y="324"/>
                </a:cubicBezTo>
                <a:cubicBezTo>
                  <a:pt x="1194" y="325"/>
                  <a:pt x="1194" y="326"/>
                  <a:pt x="1194" y="327"/>
                </a:cubicBezTo>
                <a:cubicBezTo>
                  <a:pt x="1194" y="328"/>
                  <a:pt x="1194" y="328"/>
                  <a:pt x="1193" y="329"/>
                </a:cubicBezTo>
                <a:cubicBezTo>
                  <a:pt x="1193" y="330"/>
                  <a:pt x="1192" y="330"/>
                  <a:pt x="1192" y="331"/>
                </a:cubicBezTo>
                <a:cubicBezTo>
                  <a:pt x="1192" y="333"/>
                  <a:pt x="1191" y="334"/>
                  <a:pt x="1190" y="334"/>
                </a:cubicBezTo>
                <a:cubicBezTo>
                  <a:pt x="1189" y="335"/>
                  <a:pt x="1187" y="336"/>
                  <a:pt x="1187" y="338"/>
                </a:cubicBezTo>
                <a:cubicBezTo>
                  <a:pt x="1187" y="340"/>
                  <a:pt x="1185" y="341"/>
                  <a:pt x="1185" y="343"/>
                </a:cubicBezTo>
                <a:cubicBezTo>
                  <a:pt x="1185" y="345"/>
                  <a:pt x="1185" y="346"/>
                  <a:pt x="1183" y="346"/>
                </a:cubicBezTo>
                <a:cubicBezTo>
                  <a:pt x="1182" y="347"/>
                  <a:pt x="1182" y="348"/>
                  <a:pt x="1182" y="348"/>
                </a:cubicBezTo>
                <a:cubicBezTo>
                  <a:pt x="1183" y="350"/>
                  <a:pt x="1183" y="352"/>
                  <a:pt x="1182" y="354"/>
                </a:cubicBezTo>
                <a:cubicBezTo>
                  <a:pt x="1181" y="355"/>
                  <a:pt x="1181" y="357"/>
                  <a:pt x="1181" y="359"/>
                </a:cubicBezTo>
                <a:cubicBezTo>
                  <a:pt x="1181" y="360"/>
                  <a:pt x="1180" y="361"/>
                  <a:pt x="1179" y="361"/>
                </a:cubicBezTo>
                <a:cubicBezTo>
                  <a:pt x="1178" y="361"/>
                  <a:pt x="1177" y="362"/>
                  <a:pt x="1176" y="362"/>
                </a:cubicBezTo>
                <a:cubicBezTo>
                  <a:pt x="1176" y="362"/>
                  <a:pt x="1175" y="363"/>
                  <a:pt x="1175" y="363"/>
                </a:cubicBezTo>
                <a:cubicBezTo>
                  <a:pt x="1175" y="365"/>
                  <a:pt x="1175" y="366"/>
                  <a:pt x="1174" y="367"/>
                </a:cubicBezTo>
                <a:cubicBezTo>
                  <a:pt x="1171" y="369"/>
                  <a:pt x="1169" y="372"/>
                  <a:pt x="1168" y="375"/>
                </a:cubicBezTo>
                <a:cubicBezTo>
                  <a:pt x="1167" y="376"/>
                  <a:pt x="1167" y="377"/>
                  <a:pt x="1166" y="378"/>
                </a:cubicBezTo>
                <a:cubicBezTo>
                  <a:pt x="1166" y="379"/>
                  <a:pt x="1165" y="379"/>
                  <a:pt x="1164" y="379"/>
                </a:cubicBezTo>
                <a:cubicBezTo>
                  <a:pt x="1162" y="379"/>
                  <a:pt x="1161" y="379"/>
                  <a:pt x="1160" y="379"/>
                </a:cubicBezTo>
                <a:cubicBezTo>
                  <a:pt x="1160" y="379"/>
                  <a:pt x="1160" y="379"/>
                  <a:pt x="1159" y="379"/>
                </a:cubicBezTo>
                <a:cubicBezTo>
                  <a:pt x="1159" y="380"/>
                  <a:pt x="1159" y="380"/>
                  <a:pt x="1159" y="381"/>
                </a:cubicBezTo>
                <a:cubicBezTo>
                  <a:pt x="1160" y="381"/>
                  <a:pt x="1160" y="381"/>
                  <a:pt x="1160" y="381"/>
                </a:cubicBezTo>
                <a:cubicBezTo>
                  <a:pt x="1160" y="382"/>
                  <a:pt x="1160" y="383"/>
                  <a:pt x="1160" y="383"/>
                </a:cubicBezTo>
                <a:cubicBezTo>
                  <a:pt x="1157" y="384"/>
                  <a:pt x="1155" y="387"/>
                  <a:pt x="1153" y="386"/>
                </a:cubicBezTo>
                <a:cubicBezTo>
                  <a:pt x="1151" y="388"/>
                  <a:pt x="1149" y="389"/>
                  <a:pt x="1147" y="390"/>
                </a:cubicBezTo>
                <a:cubicBezTo>
                  <a:pt x="1147" y="391"/>
                  <a:pt x="1147" y="391"/>
                  <a:pt x="1147" y="391"/>
                </a:cubicBezTo>
                <a:cubicBezTo>
                  <a:pt x="1147" y="393"/>
                  <a:pt x="1146" y="394"/>
                  <a:pt x="1145" y="394"/>
                </a:cubicBezTo>
                <a:cubicBezTo>
                  <a:pt x="1144" y="394"/>
                  <a:pt x="1142" y="395"/>
                  <a:pt x="1141" y="395"/>
                </a:cubicBezTo>
                <a:cubicBezTo>
                  <a:pt x="1141" y="395"/>
                  <a:pt x="1140" y="396"/>
                  <a:pt x="1140" y="397"/>
                </a:cubicBezTo>
                <a:cubicBezTo>
                  <a:pt x="1139" y="398"/>
                  <a:pt x="1140" y="399"/>
                  <a:pt x="1139" y="400"/>
                </a:cubicBezTo>
                <a:cubicBezTo>
                  <a:pt x="1139" y="403"/>
                  <a:pt x="1140" y="407"/>
                  <a:pt x="1139" y="410"/>
                </a:cubicBezTo>
                <a:cubicBezTo>
                  <a:pt x="1139" y="410"/>
                  <a:pt x="1139" y="410"/>
                  <a:pt x="1139" y="411"/>
                </a:cubicBezTo>
                <a:cubicBezTo>
                  <a:pt x="1140" y="413"/>
                  <a:pt x="1141" y="414"/>
                  <a:pt x="1142" y="417"/>
                </a:cubicBezTo>
                <a:cubicBezTo>
                  <a:pt x="1143" y="418"/>
                  <a:pt x="1144" y="419"/>
                  <a:pt x="1144" y="421"/>
                </a:cubicBezTo>
                <a:cubicBezTo>
                  <a:pt x="1144" y="421"/>
                  <a:pt x="1144" y="422"/>
                  <a:pt x="1143" y="423"/>
                </a:cubicBezTo>
                <a:cubicBezTo>
                  <a:pt x="1143" y="424"/>
                  <a:pt x="1142" y="425"/>
                  <a:pt x="1141" y="426"/>
                </a:cubicBezTo>
                <a:cubicBezTo>
                  <a:pt x="1141" y="426"/>
                  <a:pt x="1141" y="428"/>
                  <a:pt x="1142" y="428"/>
                </a:cubicBezTo>
                <a:cubicBezTo>
                  <a:pt x="1142" y="428"/>
                  <a:pt x="1143" y="429"/>
                  <a:pt x="1144" y="429"/>
                </a:cubicBezTo>
                <a:cubicBezTo>
                  <a:pt x="1145" y="429"/>
                  <a:pt x="1145" y="430"/>
                  <a:pt x="1145" y="431"/>
                </a:cubicBezTo>
                <a:cubicBezTo>
                  <a:pt x="1144" y="432"/>
                  <a:pt x="1143" y="433"/>
                  <a:pt x="1143" y="434"/>
                </a:cubicBezTo>
                <a:cubicBezTo>
                  <a:pt x="1142" y="434"/>
                  <a:pt x="1142" y="436"/>
                  <a:pt x="1143" y="437"/>
                </a:cubicBezTo>
                <a:cubicBezTo>
                  <a:pt x="1146" y="440"/>
                  <a:pt x="1150" y="442"/>
                  <a:pt x="1153" y="443"/>
                </a:cubicBezTo>
                <a:cubicBezTo>
                  <a:pt x="1154" y="443"/>
                  <a:pt x="1155" y="444"/>
                  <a:pt x="1155" y="443"/>
                </a:cubicBezTo>
                <a:cubicBezTo>
                  <a:pt x="1159" y="442"/>
                  <a:pt x="1162" y="442"/>
                  <a:pt x="1165" y="438"/>
                </a:cubicBezTo>
                <a:cubicBezTo>
                  <a:pt x="1166" y="437"/>
                  <a:pt x="1167" y="435"/>
                  <a:pt x="1168" y="434"/>
                </a:cubicBezTo>
                <a:cubicBezTo>
                  <a:pt x="1170" y="432"/>
                  <a:pt x="1174" y="432"/>
                  <a:pt x="1175" y="429"/>
                </a:cubicBezTo>
                <a:cubicBezTo>
                  <a:pt x="1175" y="429"/>
                  <a:pt x="1175" y="429"/>
                  <a:pt x="1176" y="429"/>
                </a:cubicBezTo>
                <a:cubicBezTo>
                  <a:pt x="1176" y="430"/>
                  <a:pt x="1178" y="430"/>
                  <a:pt x="1178" y="431"/>
                </a:cubicBezTo>
                <a:cubicBezTo>
                  <a:pt x="1179" y="433"/>
                  <a:pt x="1178" y="435"/>
                  <a:pt x="1179" y="436"/>
                </a:cubicBezTo>
                <a:cubicBezTo>
                  <a:pt x="1179" y="438"/>
                  <a:pt x="1181" y="440"/>
                  <a:pt x="1181" y="442"/>
                </a:cubicBezTo>
                <a:cubicBezTo>
                  <a:pt x="1181" y="445"/>
                  <a:pt x="1183" y="448"/>
                  <a:pt x="1184" y="451"/>
                </a:cubicBezTo>
                <a:cubicBezTo>
                  <a:pt x="1186" y="453"/>
                  <a:pt x="1187" y="456"/>
                  <a:pt x="1189" y="458"/>
                </a:cubicBezTo>
                <a:cubicBezTo>
                  <a:pt x="1190" y="459"/>
                  <a:pt x="1189" y="460"/>
                  <a:pt x="1189" y="461"/>
                </a:cubicBezTo>
                <a:cubicBezTo>
                  <a:pt x="1189" y="461"/>
                  <a:pt x="1188" y="462"/>
                  <a:pt x="1188" y="463"/>
                </a:cubicBezTo>
                <a:cubicBezTo>
                  <a:pt x="1188" y="463"/>
                  <a:pt x="1188" y="463"/>
                  <a:pt x="1188" y="463"/>
                </a:cubicBezTo>
                <a:cubicBezTo>
                  <a:pt x="1188" y="463"/>
                  <a:pt x="1188" y="463"/>
                  <a:pt x="1188" y="464"/>
                </a:cubicBezTo>
                <a:cubicBezTo>
                  <a:pt x="1189" y="464"/>
                  <a:pt x="1189" y="465"/>
                  <a:pt x="1190" y="465"/>
                </a:cubicBezTo>
                <a:cubicBezTo>
                  <a:pt x="1192" y="471"/>
                  <a:pt x="1193" y="470"/>
                  <a:pt x="1198" y="469"/>
                </a:cubicBezTo>
                <a:cubicBezTo>
                  <a:pt x="1199" y="469"/>
                  <a:pt x="1200" y="468"/>
                  <a:pt x="1200" y="467"/>
                </a:cubicBezTo>
                <a:cubicBezTo>
                  <a:pt x="1200" y="465"/>
                  <a:pt x="1202" y="464"/>
                  <a:pt x="1203" y="463"/>
                </a:cubicBezTo>
                <a:cubicBezTo>
                  <a:pt x="1204" y="463"/>
                  <a:pt x="1205" y="463"/>
                  <a:pt x="1206" y="463"/>
                </a:cubicBezTo>
                <a:cubicBezTo>
                  <a:pt x="1208" y="463"/>
                  <a:pt x="1211" y="463"/>
                  <a:pt x="1212" y="460"/>
                </a:cubicBezTo>
                <a:cubicBezTo>
                  <a:pt x="1216" y="461"/>
                  <a:pt x="1216" y="458"/>
                  <a:pt x="1216" y="455"/>
                </a:cubicBezTo>
                <a:cubicBezTo>
                  <a:pt x="1216" y="455"/>
                  <a:pt x="1216" y="454"/>
                  <a:pt x="1216" y="454"/>
                </a:cubicBezTo>
                <a:cubicBezTo>
                  <a:pt x="1216" y="453"/>
                  <a:pt x="1216" y="452"/>
                  <a:pt x="1214" y="452"/>
                </a:cubicBezTo>
                <a:cubicBezTo>
                  <a:pt x="1214" y="452"/>
                  <a:pt x="1214" y="452"/>
                  <a:pt x="1214" y="452"/>
                </a:cubicBezTo>
                <a:cubicBezTo>
                  <a:pt x="1213" y="452"/>
                  <a:pt x="1213" y="452"/>
                  <a:pt x="1213" y="452"/>
                </a:cubicBezTo>
                <a:cubicBezTo>
                  <a:pt x="1213" y="449"/>
                  <a:pt x="1213" y="446"/>
                  <a:pt x="1214" y="443"/>
                </a:cubicBezTo>
                <a:cubicBezTo>
                  <a:pt x="1214" y="442"/>
                  <a:pt x="1215" y="440"/>
                  <a:pt x="1215" y="439"/>
                </a:cubicBezTo>
                <a:cubicBezTo>
                  <a:pt x="1215" y="436"/>
                  <a:pt x="1216" y="434"/>
                  <a:pt x="1218" y="433"/>
                </a:cubicBezTo>
                <a:cubicBezTo>
                  <a:pt x="1219" y="432"/>
                  <a:pt x="1221" y="431"/>
                  <a:pt x="1222" y="430"/>
                </a:cubicBezTo>
                <a:cubicBezTo>
                  <a:pt x="1224" y="429"/>
                  <a:pt x="1225" y="427"/>
                  <a:pt x="1225" y="425"/>
                </a:cubicBezTo>
                <a:cubicBezTo>
                  <a:pt x="1225" y="424"/>
                  <a:pt x="1225" y="423"/>
                  <a:pt x="1225" y="421"/>
                </a:cubicBezTo>
                <a:cubicBezTo>
                  <a:pt x="1225" y="421"/>
                  <a:pt x="1225" y="420"/>
                  <a:pt x="1224" y="419"/>
                </a:cubicBezTo>
                <a:cubicBezTo>
                  <a:pt x="1222" y="416"/>
                  <a:pt x="1220" y="413"/>
                  <a:pt x="1217" y="412"/>
                </a:cubicBezTo>
                <a:cubicBezTo>
                  <a:pt x="1215" y="411"/>
                  <a:pt x="1214" y="409"/>
                  <a:pt x="1215" y="408"/>
                </a:cubicBezTo>
                <a:cubicBezTo>
                  <a:pt x="1215" y="403"/>
                  <a:pt x="1215" y="398"/>
                  <a:pt x="1215" y="394"/>
                </a:cubicBezTo>
                <a:cubicBezTo>
                  <a:pt x="1215" y="393"/>
                  <a:pt x="1215" y="392"/>
                  <a:pt x="1216" y="391"/>
                </a:cubicBezTo>
                <a:cubicBezTo>
                  <a:pt x="1218" y="387"/>
                  <a:pt x="1221" y="384"/>
                  <a:pt x="1225" y="381"/>
                </a:cubicBezTo>
                <a:cubicBezTo>
                  <a:pt x="1227" y="380"/>
                  <a:pt x="1228" y="378"/>
                  <a:pt x="1230" y="376"/>
                </a:cubicBezTo>
                <a:cubicBezTo>
                  <a:pt x="1233" y="373"/>
                  <a:pt x="1233" y="373"/>
                  <a:pt x="1235" y="368"/>
                </a:cubicBezTo>
                <a:cubicBezTo>
                  <a:pt x="1236" y="367"/>
                  <a:pt x="1236" y="366"/>
                  <a:pt x="1236" y="364"/>
                </a:cubicBezTo>
                <a:cubicBezTo>
                  <a:pt x="1235" y="361"/>
                  <a:pt x="1236" y="357"/>
                  <a:pt x="1237" y="354"/>
                </a:cubicBezTo>
                <a:cubicBezTo>
                  <a:pt x="1238" y="352"/>
                  <a:pt x="1240" y="349"/>
                  <a:pt x="1244" y="350"/>
                </a:cubicBezTo>
                <a:cubicBezTo>
                  <a:pt x="1248" y="349"/>
                  <a:pt x="1252" y="350"/>
                  <a:pt x="1256" y="352"/>
                </a:cubicBezTo>
                <a:cubicBezTo>
                  <a:pt x="1257" y="353"/>
                  <a:pt x="1257" y="355"/>
                  <a:pt x="1256" y="356"/>
                </a:cubicBezTo>
                <a:cubicBezTo>
                  <a:pt x="1255" y="357"/>
                  <a:pt x="1254" y="357"/>
                  <a:pt x="1254" y="359"/>
                </a:cubicBezTo>
                <a:cubicBezTo>
                  <a:pt x="1254" y="360"/>
                  <a:pt x="1253" y="361"/>
                  <a:pt x="1253" y="362"/>
                </a:cubicBezTo>
                <a:cubicBezTo>
                  <a:pt x="1250" y="366"/>
                  <a:pt x="1248" y="371"/>
                  <a:pt x="1244" y="375"/>
                </a:cubicBezTo>
                <a:cubicBezTo>
                  <a:pt x="1243" y="376"/>
                  <a:pt x="1242" y="377"/>
                  <a:pt x="1242" y="378"/>
                </a:cubicBezTo>
                <a:cubicBezTo>
                  <a:pt x="1241" y="380"/>
                  <a:pt x="1240" y="381"/>
                  <a:pt x="1238" y="380"/>
                </a:cubicBezTo>
                <a:cubicBezTo>
                  <a:pt x="1237" y="380"/>
                  <a:pt x="1236" y="381"/>
                  <a:pt x="1236" y="382"/>
                </a:cubicBezTo>
                <a:cubicBezTo>
                  <a:pt x="1237" y="384"/>
                  <a:pt x="1236" y="385"/>
                  <a:pt x="1236" y="386"/>
                </a:cubicBezTo>
                <a:cubicBezTo>
                  <a:pt x="1236" y="387"/>
                  <a:pt x="1236" y="389"/>
                  <a:pt x="1236" y="390"/>
                </a:cubicBezTo>
                <a:cubicBezTo>
                  <a:pt x="1236" y="391"/>
                  <a:pt x="1237" y="392"/>
                  <a:pt x="1237" y="393"/>
                </a:cubicBezTo>
                <a:cubicBezTo>
                  <a:pt x="1238" y="398"/>
                  <a:pt x="1239" y="402"/>
                  <a:pt x="1239" y="407"/>
                </a:cubicBezTo>
                <a:cubicBezTo>
                  <a:pt x="1239" y="408"/>
                  <a:pt x="1239" y="408"/>
                  <a:pt x="1239" y="409"/>
                </a:cubicBezTo>
                <a:cubicBezTo>
                  <a:pt x="1239" y="411"/>
                  <a:pt x="1240" y="412"/>
                  <a:pt x="1241" y="413"/>
                </a:cubicBezTo>
                <a:cubicBezTo>
                  <a:pt x="1242" y="413"/>
                  <a:pt x="1243" y="414"/>
                  <a:pt x="1244" y="414"/>
                </a:cubicBezTo>
                <a:cubicBezTo>
                  <a:pt x="1244" y="414"/>
                  <a:pt x="1244" y="414"/>
                  <a:pt x="1244" y="414"/>
                </a:cubicBezTo>
                <a:cubicBezTo>
                  <a:pt x="1244" y="414"/>
                  <a:pt x="1244" y="414"/>
                  <a:pt x="1244" y="414"/>
                </a:cubicBezTo>
                <a:cubicBezTo>
                  <a:pt x="1245" y="414"/>
                  <a:pt x="1245" y="414"/>
                  <a:pt x="1245" y="414"/>
                </a:cubicBezTo>
                <a:cubicBezTo>
                  <a:pt x="1244" y="414"/>
                  <a:pt x="1244" y="414"/>
                  <a:pt x="1244" y="414"/>
                </a:cubicBezTo>
                <a:cubicBezTo>
                  <a:pt x="1245" y="415"/>
                  <a:pt x="1246" y="415"/>
                  <a:pt x="1246" y="415"/>
                </a:cubicBezTo>
                <a:cubicBezTo>
                  <a:pt x="1248" y="415"/>
                  <a:pt x="1250" y="416"/>
                  <a:pt x="1251" y="418"/>
                </a:cubicBezTo>
                <a:cubicBezTo>
                  <a:pt x="1252" y="419"/>
                  <a:pt x="1253" y="420"/>
                  <a:pt x="1255" y="419"/>
                </a:cubicBezTo>
                <a:cubicBezTo>
                  <a:pt x="1257" y="419"/>
                  <a:pt x="1258" y="418"/>
                  <a:pt x="1260" y="417"/>
                </a:cubicBezTo>
                <a:cubicBezTo>
                  <a:pt x="1265" y="414"/>
                  <a:pt x="1271" y="413"/>
                  <a:pt x="1277" y="413"/>
                </a:cubicBezTo>
                <a:cubicBezTo>
                  <a:pt x="1279" y="413"/>
                  <a:pt x="1281" y="412"/>
                  <a:pt x="1283" y="412"/>
                </a:cubicBezTo>
                <a:cubicBezTo>
                  <a:pt x="1283" y="412"/>
                  <a:pt x="1284" y="412"/>
                  <a:pt x="1284" y="413"/>
                </a:cubicBezTo>
                <a:cubicBezTo>
                  <a:pt x="1285" y="415"/>
                  <a:pt x="1288" y="415"/>
                  <a:pt x="1290" y="416"/>
                </a:cubicBezTo>
                <a:cubicBezTo>
                  <a:pt x="1290" y="416"/>
                  <a:pt x="1290" y="416"/>
                  <a:pt x="1291" y="416"/>
                </a:cubicBezTo>
                <a:cubicBezTo>
                  <a:pt x="1291" y="417"/>
                  <a:pt x="1291" y="417"/>
                  <a:pt x="1291" y="417"/>
                </a:cubicBezTo>
                <a:cubicBezTo>
                  <a:pt x="1290" y="418"/>
                  <a:pt x="1289" y="418"/>
                  <a:pt x="1288" y="419"/>
                </a:cubicBezTo>
                <a:cubicBezTo>
                  <a:pt x="1286" y="420"/>
                  <a:pt x="1284" y="420"/>
                  <a:pt x="1284" y="422"/>
                </a:cubicBezTo>
                <a:cubicBezTo>
                  <a:pt x="1282" y="425"/>
                  <a:pt x="1279" y="425"/>
                  <a:pt x="1276" y="424"/>
                </a:cubicBezTo>
                <a:cubicBezTo>
                  <a:pt x="1274" y="423"/>
                  <a:pt x="1272" y="423"/>
                  <a:pt x="1270" y="422"/>
                </a:cubicBezTo>
                <a:cubicBezTo>
                  <a:pt x="1269" y="422"/>
                  <a:pt x="1268" y="422"/>
                  <a:pt x="1268" y="422"/>
                </a:cubicBezTo>
                <a:cubicBezTo>
                  <a:pt x="1265" y="423"/>
                  <a:pt x="1262" y="424"/>
                  <a:pt x="1259" y="425"/>
                </a:cubicBezTo>
                <a:cubicBezTo>
                  <a:pt x="1257" y="426"/>
                  <a:pt x="1255" y="428"/>
                  <a:pt x="1254" y="431"/>
                </a:cubicBezTo>
                <a:cubicBezTo>
                  <a:pt x="1254" y="433"/>
                  <a:pt x="1253" y="434"/>
                  <a:pt x="1252" y="434"/>
                </a:cubicBezTo>
                <a:cubicBezTo>
                  <a:pt x="1251" y="435"/>
                  <a:pt x="1249" y="435"/>
                  <a:pt x="1248" y="435"/>
                </a:cubicBezTo>
                <a:cubicBezTo>
                  <a:pt x="1246" y="436"/>
                  <a:pt x="1246" y="437"/>
                  <a:pt x="1247" y="440"/>
                </a:cubicBezTo>
                <a:cubicBezTo>
                  <a:pt x="1247" y="440"/>
                  <a:pt x="1248" y="440"/>
                  <a:pt x="1248" y="440"/>
                </a:cubicBezTo>
                <a:cubicBezTo>
                  <a:pt x="1250" y="440"/>
                  <a:pt x="1252" y="439"/>
                  <a:pt x="1254" y="437"/>
                </a:cubicBezTo>
                <a:cubicBezTo>
                  <a:pt x="1255" y="436"/>
                  <a:pt x="1255" y="436"/>
                  <a:pt x="1257" y="437"/>
                </a:cubicBezTo>
                <a:cubicBezTo>
                  <a:pt x="1258" y="438"/>
                  <a:pt x="1259" y="439"/>
                  <a:pt x="1260" y="439"/>
                </a:cubicBezTo>
                <a:cubicBezTo>
                  <a:pt x="1260" y="440"/>
                  <a:pt x="1261" y="440"/>
                  <a:pt x="1261" y="441"/>
                </a:cubicBezTo>
                <a:cubicBezTo>
                  <a:pt x="1261" y="443"/>
                  <a:pt x="1261" y="446"/>
                  <a:pt x="1261" y="448"/>
                </a:cubicBezTo>
                <a:cubicBezTo>
                  <a:pt x="1261" y="449"/>
                  <a:pt x="1260" y="450"/>
                  <a:pt x="1259" y="451"/>
                </a:cubicBezTo>
                <a:cubicBezTo>
                  <a:pt x="1258" y="451"/>
                  <a:pt x="1257" y="450"/>
                  <a:pt x="1257" y="450"/>
                </a:cubicBezTo>
                <a:cubicBezTo>
                  <a:pt x="1255" y="449"/>
                  <a:pt x="1254" y="447"/>
                  <a:pt x="1253" y="446"/>
                </a:cubicBezTo>
                <a:cubicBezTo>
                  <a:pt x="1252" y="445"/>
                  <a:pt x="1251" y="444"/>
                  <a:pt x="1249" y="445"/>
                </a:cubicBezTo>
                <a:cubicBezTo>
                  <a:pt x="1247" y="446"/>
                  <a:pt x="1245" y="447"/>
                  <a:pt x="1244" y="449"/>
                </a:cubicBezTo>
                <a:cubicBezTo>
                  <a:pt x="1244" y="451"/>
                  <a:pt x="1243" y="453"/>
                  <a:pt x="1243" y="454"/>
                </a:cubicBezTo>
                <a:cubicBezTo>
                  <a:pt x="1242" y="456"/>
                  <a:pt x="1242" y="459"/>
                  <a:pt x="1242" y="461"/>
                </a:cubicBezTo>
                <a:cubicBezTo>
                  <a:pt x="1243" y="464"/>
                  <a:pt x="1243" y="467"/>
                  <a:pt x="1243" y="470"/>
                </a:cubicBezTo>
                <a:cubicBezTo>
                  <a:pt x="1244" y="470"/>
                  <a:pt x="1243" y="471"/>
                  <a:pt x="1243" y="471"/>
                </a:cubicBezTo>
                <a:cubicBezTo>
                  <a:pt x="1241" y="472"/>
                  <a:pt x="1240" y="472"/>
                  <a:pt x="1239" y="473"/>
                </a:cubicBezTo>
                <a:cubicBezTo>
                  <a:pt x="1237" y="473"/>
                  <a:pt x="1236" y="474"/>
                  <a:pt x="1236" y="476"/>
                </a:cubicBezTo>
                <a:cubicBezTo>
                  <a:pt x="1236" y="479"/>
                  <a:pt x="1230" y="479"/>
                  <a:pt x="1229" y="477"/>
                </a:cubicBezTo>
                <a:cubicBezTo>
                  <a:pt x="1229" y="477"/>
                  <a:pt x="1228" y="476"/>
                  <a:pt x="1228" y="476"/>
                </a:cubicBezTo>
                <a:cubicBezTo>
                  <a:pt x="1227" y="474"/>
                  <a:pt x="1226" y="474"/>
                  <a:pt x="1225" y="474"/>
                </a:cubicBezTo>
                <a:cubicBezTo>
                  <a:pt x="1222" y="474"/>
                  <a:pt x="1219" y="475"/>
                  <a:pt x="1216" y="476"/>
                </a:cubicBezTo>
                <a:cubicBezTo>
                  <a:pt x="1213" y="478"/>
                  <a:pt x="1209" y="481"/>
                  <a:pt x="1206" y="482"/>
                </a:cubicBezTo>
                <a:cubicBezTo>
                  <a:pt x="1204" y="483"/>
                  <a:pt x="1204" y="484"/>
                  <a:pt x="1202" y="485"/>
                </a:cubicBezTo>
                <a:cubicBezTo>
                  <a:pt x="1202" y="486"/>
                  <a:pt x="1200" y="486"/>
                  <a:pt x="1200" y="485"/>
                </a:cubicBezTo>
                <a:cubicBezTo>
                  <a:pt x="1199" y="484"/>
                  <a:pt x="1197" y="483"/>
                  <a:pt x="1196" y="481"/>
                </a:cubicBezTo>
                <a:cubicBezTo>
                  <a:pt x="1196" y="480"/>
                  <a:pt x="1196" y="479"/>
                  <a:pt x="1196" y="478"/>
                </a:cubicBezTo>
                <a:cubicBezTo>
                  <a:pt x="1196" y="478"/>
                  <a:pt x="1194" y="477"/>
                  <a:pt x="1194" y="478"/>
                </a:cubicBezTo>
                <a:cubicBezTo>
                  <a:pt x="1192" y="479"/>
                  <a:pt x="1191" y="480"/>
                  <a:pt x="1189" y="480"/>
                </a:cubicBezTo>
                <a:cubicBezTo>
                  <a:pt x="1187" y="480"/>
                  <a:pt x="1184" y="482"/>
                  <a:pt x="1182" y="483"/>
                </a:cubicBezTo>
                <a:cubicBezTo>
                  <a:pt x="1182" y="483"/>
                  <a:pt x="1181" y="483"/>
                  <a:pt x="1181" y="483"/>
                </a:cubicBezTo>
                <a:cubicBezTo>
                  <a:pt x="1180" y="482"/>
                  <a:pt x="1179" y="481"/>
                  <a:pt x="1177" y="480"/>
                </a:cubicBezTo>
                <a:cubicBezTo>
                  <a:pt x="1176" y="480"/>
                  <a:pt x="1174" y="480"/>
                  <a:pt x="1173" y="479"/>
                </a:cubicBezTo>
                <a:cubicBezTo>
                  <a:pt x="1172" y="478"/>
                  <a:pt x="1172" y="476"/>
                  <a:pt x="1171" y="475"/>
                </a:cubicBezTo>
                <a:cubicBezTo>
                  <a:pt x="1171" y="475"/>
                  <a:pt x="1172" y="474"/>
                  <a:pt x="1172" y="474"/>
                </a:cubicBezTo>
                <a:cubicBezTo>
                  <a:pt x="1172" y="473"/>
                  <a:pt x="1172" y="473"/>
                  <a:pt x="1173" y="473"/>
                </a:cubicBezTo>
                <a:cubicBezTo>
                  <a:pt x="1175" y="474"/>
                  <a:pt x="1177" y="475"/>
                  <a:pt x="1180" y="477"/>
                </a:cubicBezTo>
                <a:cubicBezTo>
                  <a:pt x="1182" y="479"/>
                  <a:pt x="1185" y="478"/>
                  <a:pt x="1186" y="475"/>
                </a:cubicBezTo>
                <a:cubicBezTo>
                  <a:pt x="1188" y="471"/>
                  <a:pt x="1189" y="468"/>
                  <a:pt x="1188" y="464"/>
                </a:cubicBezTo>
                <a:cubicBezTo>
                  <a:pt x="1188" y="463"/>
                  <a:pt x="1188" y="463"/>
                  <a:pt x="1188" y="463"/>
                </a:cubicBezTo>
                <a:cubicBezTo>
                  <a:pt x="1188" y="463"/>
                  <a:pt x="1188" y="463"/>
                  <a:pt x="1188" y="463"/>
                </a:cubicBezTo>
                <a:cubicBezTo>
                  <a:pt x="1185" y="463"/>
                  <a:pt x="1183" y="464"/>
                  <a:pt x="1181" y="466"/>
                </a:cubicBezTo>
                <a:cubicBezTo>
                  <a:pt x="1180" y="467"/>
                  <a:pt x="1180" y="469"/>
                  <a:pt x="1180" y="470"/>
                </a:cubicBezTo>
                <a:cubicBezTo>
                  <a:pt x="1181" y="471"/>
                  <a:pt x="1182" y="471"/>
                  <a:pt x="1182" y="473"/>
                </a:cubicBezTo>
                <a:cubicBezTo>
                  <a:pt x="1182" y="473"/>
                  <a:pt x="1182" y="474"/>
                  <a:pt x="1182" y="474"/>
                </a:cubicBezTo>
                <a:cubicBezTo>
                  <a:pt x="1182" y="474"/>
                  <a:pt x="1181" y="474"/>
                  <a:pt x="1180" y="474"/>
                </a:cubicBezTo>
                <a:cubicBezTo>
                  <a:pt x="1180" y="474"/>
                  <a:pt x="1180" y="474"/>
                  <a:pt x="1180" y="473"/>
                </a:cubicBezTo>
                <a:cubicBezTo>
                  <a:pt x="1178" y="472"/>
                  <a:pt x="1177" y="469"/>
                  <a:pt x="1174" y="468"/>
                </a:cubicBezTo>
                <a:cubicBezTo>
                  <a:pt x="1174" y="468"/>
                  <a:pt x="1174" y="467"/>
                  <a:pt x="1174" y="466"/>
                </a:cubicBezTo>
                <a:cubicBezTo>
                  <a:pt x="1175" y="464"/>
                  <a:pt x="1176" y="462"/>
                  <a:pt x="1178" y="462"/>
                </a:cubicBezTo>
                <a:cubicBezTo>
                  <a:pt x="1178" y="461"/>
                  <a:pt x="1178" y="461"/>
                  <a:pt x="1178" y="460"/>
                </a:cubicBezTo>
                <a:cubicBezTo>
                  <a:pt x="1178" y="460"/>
                  <a:pt x="1177" y="460"/>
                  <a:pt x="1177" y="459"/>
                </a:cubicBezTo>
                <a:cubicBezTo>
                  <a:pt x="1174" y="458"/>
                  <a:pt x="1174" y="456"/>
                  <a:pt x="1175" y="453"/>
                </a:cubicBezTo>
                <a:cubicBezTo>
                  <a:pt x="1175" y="451"/>
                  <a:pt x="1176" y="450"/>
                  <a:pt x="1176" y="449"/>
                </a:cubicBezTo>
                <a:cubicBezTo>
                  <a:pt x="1175" y="448"/>
                  <a:pt x="1175" y="447"/>
                  <a:pt x="1174" y="447"/>
                </a:cubicBezTo>
                <a:cubicBezTo>
                  <a:pt x="1173" y="447"/>
                  <a:pt x="1173" y="447"/>
                  <a:pt x="1172" y="447"/>
                </a:cubicBezTo>
                <a:cubicBezTo>
                  <a:pt x="1169" y="449"/>
                  <a:pt x="1167" y="453"/>
                  <a:pt x="1163" y="454"/>
                </a:cubicBezTo>
                <a:cubicBezTo>
                  <a:pt x="1162" y="454"/>
                  <a:pt x="1162" y="455"/>
                  <a:pt x="1162" y="455"/>
                </a:cubicBezTo>
                <a:cubicBezTo>
                  <a:pt x="1162" y="459"/>
                  <a:pt x="1160" y="462"/>
                  <a:pt x="1161" y="465"/>
                </a:cubicBezTo>
                <a:cubicBezTo>
                  <a:pt x="1161" y="466"/>
                  <a:pt x="1161" y="466"/>
                  <a:pt x="1161" y="467"/>
                </a:cubicBezTo>
                <a:cubicBezTo>
                  <a:pt x="1160" y="468"/>
                  <a:pt x="1161" y="469"/>
                  <a:pt x="1161" y="470"/>
                </a:cubicBezTo>
                <a:cubicBezTo>
                  <a:pt x="1162" y="471"/>
                  <a:pt x="1163" y="471"/>
                  <a:pt x="1163" y="472"/>
                </a:cubicBezTo>
                <a:cubicBezTo>
                  <a:pt x="1164" y="476"/>
                  <a:pt x="1165" y="479"/>
                  <a:pt x="1165" y="483"/>
                </a:cubicBezTo>
                <a:cubicBezTo>
                  <a:pt x="1165" y="485"/>
                  <a:pt x="1163" y="488"/>
                  <a:pt x="1161" y="488"/>
                </a:cubicBezTo>
                <a:cubicBezTo>
                  <a:pt x="1158" y="487"/>
                  <a:pt x="1156" y="487"/>
                  <a:pt x="1154" y="488"/>
                </a:cubicBezTo>
                <a:cubicBezTo>
                  <a:pt x="1152" y="489"/>
                  <a:pt x="1150" y="490"/>
                  <a:pt x="1148" y="490"/>
                </a:cubicBezTo>
                <a:cubicBezTo>
                  <a:pt x="1146" y="491"/>
                  <a:pt x="1144" y="492"/>
                  <a:pt x="1141" y="494"/>
                </a:cubicBezTo>
                <a:cubicBezTo>
                  <a:pt x="1139" y="495"/>
                  <a:pt x="1138" y="496"/>
                  <a:pt x="1137" y="499"/>
                </a:cubicBezTo>
                <a:cubicBezTo>
                  <a:pt x="1135" y="507"/>
                  <a:pt x="1135" y="507"/>
                  <a:pt x="1128" y="511"/>
                </a:cubicBezTo>
                <a:cubicBezTo>
                  <a:pt x="1127" y="512"/>
                  <a:pt x="1125" y="513"/>
                  <a:pt x="1124" y="514"/>
                </a:cubicBezTo>
                <a:cubicBezTo>
                  <a:pt x="1123" y="514"/>
                  <a:pt x="1123" y="515"/>
                  <a:pt x="1122" y="516"/>
                </a:cubicBezTo>
                <a:cubicBezTo>
                  <a:pt x="1122" y="517"/>
                  <a:pt x="1122" y="518"/>
                  <a:pt x="1121" y="519"/>
                </a:cubicBezTo>
                <a:cubicBezTo>
                  <a:pt x="1121" y="521"/>
                  <a:pt x="1120" y="522"/>
                  <a:pt x="1118" y="523"/>
                </a:cubicBezTo>
                <a:cubicBezTo>
                  <a:pt x="1117" y="523"/>
                  <a:pt x="1116" y="523"/>
                  <a:pt x="1115" y="524"/>
                </a:cubicBezTo>
                <a:cubicBezTo>
                  <a:pt x="1114" y="524"/>
                  <a:pt x="1113" y="525"/>
                  <a:pt x="1112" y="526"/>
                </a:cubicBezTo>
                <a:cubicBezTo>
                  <a:pt x="1111" y="528"/>
                  <a:pt x="1109" y="528"/>
                  <a:pt x="1108" y="528"/>
                </a:cubicBezTo>
                <a:cubicBezTo>
                  <a:pt x="1106" y="528"/>
                  <a:pt x="1105" y="527"/>
                  <a:pt x="1104" y="526"/>
                </a:cubicBezTo>
                <a:cubicBezTo>
                  <a:pt x="1103" y="526"/>
                  <a:pt x="1102" y="526"/>
                  <a:pt x="1101" y="526"/>
                </a:cubicBezTo>
                <a:cubicBezTo>
                  <a:pt x="1101" y="526"/>
                  <a:pt x="1099" y="527"/>
                  <a:pt x="1100" y="527"/>
                </a:cubicBezTo>
                <a:cubicBezTo>
                  <a:pt x="1100" y="529"/>
                  <a:pt x="1100" y="531"/>
                  <a:pt x="1101" y="532"/>
                </a:cubicBezTo>
                <a:cubicBezTo>
                  <a:pt x="1101" y="534"/>
                  <a:pt x="1100" y="535"/>
                  <a:pt x="1099" y="535"/>
                </a:cubicBezTo>
                <a:cubicBezTo>
                  <a:pt x="1097" y="535"/>
                  <a:pt x="1095" y="535"/>
                  <a:pt x="1093" y="534"/>
                </a:cubicBezTo>
                <a:cubicBezTo>
                  <a:pt x="1092" y="533"/>
                  <a:pt x="1091" y="533"/>
                  <a:pt x="1089" y="533"/>
                </a:cubicBezTo>
                <a:cubicBezTo>
                  <a:pt x="1087" y="534"/>
                  <a:pt x="1085" y="535"/>
                  <a:pt x="1083" y="535"/>
                </a:cubicBezTo>
                <a:cubicBezTo>
                  <a:pt x="1082" y="536"/>
                  <a:pt x="1081" y="537"/>
                  <a:pt x="1082" y="537"/>
                </a:cubicBezTo>
                <a:cubicBezTo>
                  <a:pt x="1082" y="540"/>
                  <a:pt x="1082" y="543"/>
                  <a:pt x="1086" y="543"/>
                </a:cubicBezTo>
                <a:cubicBezTo>
                  <a:pt x="1088" y="544"/>
                  <a:pt x="1090" y="545"/>
                  <a:pt x="1091" y="545"/>
                </a:cubicBezTo>
                <a:cubicBezTo>
                  <a:pt x="1094" y="546"/>
                  <a:pt x="1096" y="548"/>
                  <a:pt x="1097" y="550"/>
                </a:cubicBezTo>
                <a:cubicBezTo>
                  <a:pt x="1098" y="553"/>
                  <a:pt x="1099" y="555"/>
                  <a:pt x="1102" y="556"/>
                </a:cubicBezTo>
                <a:cubicBezTo>
                  <a:pt x="1103" y="557"/>
                  <a:pt x="1104" y="559"/>
                  <a:pt x="1104" y="561"/>
                </a:cubicBezTo>
                <a:cubicBezTo>
                  <a:pt x="1104" y="565"/>
                  <a:pt x="1103" y="570"/>
                  <a:pt x="1103" y="575"/>
                </a:cubicBezTo>
                <a:cubicBezTo>
                  <a:pt x="1103" y="576"/>
                  <a:pt x="1102" y="578"/>
                  <a:pt x="1102" y="580"/>
                </a:cubicBezTo>
                <a:cubicBezTo>
                  <a:pt x="1101" y="581"/>
                  <a:pt x="1099" y="583"/>
                  <a:pt x="1097" y="582"/>
                </a:cubicBezTo>
                <a:cubicBezTo>
                  <a:pt x="1094" y="581"/>
                  <a:pt x="1091" y="582"/>
                  <a:pt x="1088" y="581"/>
                </a:cubicBezTo>
                <a:cubicBezTo>
                  <a:pt x="1087" y="581"/>
                  <a:pt x="1086" y="580"/>
                  <a:pt x="1086" y="581"/>
                </a:cubicBezTo>
                <a:cubicBezTo>
                  <a:pt x="1083" y="582"/>
                  <a:pt x="1080" y="581"/>
                  <a:pt x="1077" y="581"/>
                </a:cubicBezTo>
                <a:cubicBezTo>
                  <a:pt x="1074" y="580"/>
                  <a:pt x="1071" y="579"/>
                  <a:pt x="1068" y="580"/>
                </a:cubicBezTo>
                <a:cubicBezTo>
                  <a:pt x="1067" y="580"/>
                  <a:pt x="1066" y="580"/>
                  <a:pt x="1065" y="580"/>
                </a:cubicBezTo>
                <a:cubicBezTo>
                  <a:pt x="1061" y="578"/>
                  <a:pt x="1058" y="578"/>
                  <a:pt x="1056" y="582"/>
                </a:cubicBezTo>
                <a:cubicBezTo>
                  <a:pt x="1055" y="582"/>
                  <a:pt x="1054" y="582"/>
                  <a:pt x="1053" y="583"/>
                </a:cubicBezTo>
                <a:cubicBezTo>
                  <a:pt x="1053" y="583"/>
                  <a:pt x="1052" y="583"/>
                  <a:pt x="1052" y="583"/>
                </a:cubicBezTo>
                <a:cubicBezTo>
                  <a:pt x="1051" y="584"/>
                  <a:pt x="1050" y="585"/>
                  <a:pt x="1050" y="586"/>
                </a:cubicBezTo>
                <a:cubicBezTo>
                  <a:pt x="1052" y="589"/>
                  <a:pt x="1053" y="592"/>
                  <a:pt x="1052" y="595"/>
                </a:cubicBezTo>
                <a:cubicBezTo>
                  <a:pt x="1052" y="596"/>
                  <a:pt x="1052" y="596"/>
                  <a:pt x="1052" y="596"/>
                </a:cubicBezTo>
                <a:cubicBezTo>
                  <a:pt x="1054" y="603"/>
                  <a:pt x="1052" y="609"/>
                  <a:pt x="1050" y="615"/>
                </a:cubicBezTo>
                <a:cubicBezTo>
                  <a:pt x="1049" y="616"/>
                  <a:pt x="1048" y="618"/>
                  <a:pt x="1048" y="620"/>
                </a:cubicBezTo>
                <a:cubicBezTo>
                  <a:pt x="1047" y="621"/>
                  <a:pt x="1047" y="622"/>
                  <a:pt x="1048" y="623"/>
                </a:cubicBezTo>
                <a:cubicBezTo>
                  <a:pt x="1051" y="626"/>
                  <a:pt x="1052" y="629"/>
                  <a:pt x="1051" y="633"/>
                </a:cubicBezTo>
                <a:cubicBezTo>
                  <a:pt x="1051" y="634"/>
                  <a:pt x="1051" y="635"/>
                  <a:pt x="1052" y="635"/>
                </a:cubicBezTo>
                <a:cubicBezTo>
                  <a:pt x="1052" y="636"/>
                  <a:pt x="1052" y="636"/>
                  <a:pt x="1052" y="637"/>
                </a:cubicBezTo>
                <a:cubicBezTo>
                  <a:pt x="1055" y="637"/>
                  <a:pt x="1057" y="638"/>
                  <a:pt x="1059" y="638"/>
                </a:cubicBezTo>
                <a:cubicBezTo>
                  <a:pt x="1060" y="637"/>
                  <a:pt x="1062" y="637"/>
                  <a:pt x="1063" y="637"/>
                </a:cubicBezTo>
                <a:cubicBezTo>
                  <a:pt x="1064" y="637"/>
                  <a:pt x="1066" y="638"/>
                  <a:pt x="1066" y="639"/>
                </a:cubicBezTo>
                <a:cubicBezTo>
                  <a:pt x="1068" y="641"/>
                  <a:pt x="1069" y="643"/>
                  <a:pt x="1070" y="644"/>
                </a:cubicBezTo>
                <a:cubicBezTo>
                  <a:pt x="1071" y="646"/>
                  <a:pt x="1074" y="646"/>
                  <a:pt x="1075" y="645"/>
                </a:cubicBezTo>
                <a:cubicBezTo>
                  <a:pt x="1077" y="645"/>
                  <a:pt x="1078" y="644"/>
                  <a:pt x="1079" y="643"/>
                </a:cubicBezTo>
                <a:cubicBezTo>
                  <a:pt x="1082" y="641"/>
                  <a:pt x="1085" y="640"/>
                  <a:pt x="1089" y="641"/>
                </a:cubicBezTo>
                <a:cubicBezTo>
                  <a:pt x="1091" y="641"/>
                  <a:pt x="1094" y="640"/>
                  <a:pt x="1097" y="640"/>
                </a:cubicBezTo>
                <a:cubicBezTo>
                  <a:pt x="1098" y="640"/>
                  <a:pt x="1100" y="639"/>
                  <a:pt x="1100" y="638"/>
                </a:cubicBezTo>
                <a:cubicBezTo>
                  <a:pt x="1101" y="637"/>
                  <a:pt x="1103" y="636"/>
                  <a:pt x="1104" y="635"/>
                </a:cubicBezTo>
                <a:cubicBezTo>
                  <a:pt x="1106" y="635"/>
                  <a:pt x="1107" y="633"/>
                  <a:pt x="1108" y="632"/>
                </a:cubicBezTo>
                <a:cubicBezTo>
                  <a:pt x="1109" y="629"/>
                  <a:pt x="1110" y="627"/>
                  <a:pt x="1112" y="625"/>
                </a:cubicBezTo>
                <a:cubicBezTo>
                  <a:pt x="1113" y="624"/>
                  <a:pt x="1113" y="623"/>
                  <a:pt x="1113" y="622"/>
                </a:cubicBezTo>
                <a:cubicBezTo>
                  <a:pt x="1109" y="618"/>
                  <a:pt x="1111" y="614"/>
                  <a:pt x="1114" y="611"/>
                </a:cubicBezTo>
                <a:cubicBezTo>
                  <a:pt x="1115" y="610"/>
                  <a:pt x="1116" y="609"/>
                  <a:pt x="1116" y="608"/>
                </a:cubicBezTo>
                <a:cubicBezTo>
                  <a:pt x="1119" y="606"/>
                  <a:pt x="1121" y="603"/>
                  <a:pt x="1125" y="603"/>
                </a:cubicBezTo>
                <a:cubicBezTo>
                  <a:pt x="1128" y="601"/>
                  <a:pt x="1131" y="598"/>
                  <a:pt x="1132" y="593"/>
                </a:cubicBezTo>
                <a:cubicBezTo>
                  <a:pt x="1132" y="592"/>
                  <a:pt x="1132" y="590"/>
                  <a:pt x="1132" y="588"/>
                </a:cubicBezTo>
                <a:cubicBezTo>
                  <a:pt x="1132" y="587"/>
                  <a:pt x="1132" y="587"/>
                  <a:pt x="1133" y="586"/>
                </a:cubicBezTo>
                <a:cubicBezTo>
                  <a:pt x="1133" y="584"/>
                  <a:pt x="1136" y="582"/>
                  <a:pt x="1138" y="582"/>
                </a:cubicBezTo>
                <a:cubicBezTo>
                  <a:pt x="1142" y="583"/>
                  <a:pt x="1146" y="583"/>
                  <a:pt x="1150" y="585"/>
                </a:cubicBezTo>
                <a:cubicBezTo>
                  <a:pt x="1151" y="586"/>
                  <a:pt x="1153" y="586"/>
                  <a:pt x="1154" y="585"/>
                </a:cubicBezTo>
                <a:cubicBezTo>
                  <a:pt x="1157" y="582"/>
                  <a:pt x="1159" y="580"/>
                  <a:pt x="1163" y="579"/>
                </a:cubicBezTo>
                <a:cubicBezTo>
                  <a:pt x="1164" y="578"/>
                  <a:pt x="1165" y="577"/>
                  <a:pt x="1165" y="576"/>
                </a:cubicBezTo>
                <a:cubicBezTo>
                  <a:pt x="1167" y="574"/>
                  <a:pt x="1170" y="574"/>
                  <a:pt x="1173" y="575"/>
                </a:cubicBezTo>
                <a:cubicBezTo>
                  <a:pt x="1175" y="576"/>
                  <a:pt x="1177" y="577"/>
                  <a:pt x="1178" y="580"/>
                </a:cubicBezTo>
                <a:cubicBezTo>
                  <a:pt x="1179" y="582"/>
                  <a:pt x="1180" y="584"/>
                  <a:pt x="1181" y="586"/>
                </a:cubicBezTo>
                <a:cubicBezTo>
                  <a:pt x="1185" y="589"/>
                  <a:pt x="1189" y="593"/>
                  <a:pt x="1192" y="596"/>
                </a:cubicBezTo>
                <a:cubicBezTo>
                  <a:pt x="1194" y="599"/>
                  <a:pt x="1197" y="601"/>
                  <a:pt x="1201" y="602"/>
                </a:cubicBezTo>
                <a:cubicBezTo>
                  <a:pt x="1205" y="603"/>
                  <a:pt x="1207" y="606"/>
                  <a:pt x="1211" y="608"/>
                </a:cubicBezTo>
                <a:cubicBezTo>
                  <a:pt x="1212" y="610"/>
                  <a:pt x="1214" y="612"/>
                  <a:pt x="1216" y="613"/>
                </a:cubicBezTo>
                <a:cubicBezTo>
                  <a:pt x="1217" y="613"/>
                  <a:pt x="1217" y="614"/>
                  <a:pt x="1218" y="614"/>
                </a:cubicBezTo>
                <a:cubicBezTo>
                  <a:pt x="1219" y="617"/>
                  <a:pt x="1219" y="619"/>
                  <a:pt x="1220" y="621"/>
                </a:cubicBezTo>
                <a:cubicBezTo>
                  <a:pt x="1220" y="621"/>
                  <a:pt x="1220" y="622"/>
                  <a:pt x="1220" y="623"/>
                </a:cubicBezTo>
                <a:cubicBezTo>
                  <a:pt x="1219" y="625"/>
                  <a:pt x="1219" y="627"/>
                  <a:pt x="1215" y="628"/>
                </a:cubicBezTo>
                <a:cubicBezTo>
                  <a:pt x="1210" y="629"/>
                  <a:pt x="1205" y="630"/>
                  <a:pt x="1200" y="629"/>
                </a:cubicBezTo>
                <a:cubicBezTo>
                  <a:pt x="1199" y="629"/>
                  <a:pt x="1198" y="630"/>
                  <a:pt x="1197" y="630"/>
                </a:cubicBezTo>
                <a:cubicBezTo>
                  <a:pt x="1197" y="630"/>
                  <a:pt x="1196" y="631"/>
                  <a:pt x="1196" y="631"/>
                </a:cubicBezTo>
                <a:cubicBezTo>
                  <a:pt x="1196" y="632"/>
                  <a:pt x="1196" y="633"/>
                  <a:pt x="1197" y="633"/>
                </a:cubicBezTo>
                <a:cubicBezTo>
                  <a:pt x="1198" y="634"/>
                  <a:pt x="1200" y="635"/>
                  <a:pt x="1202" y="636"/>
                </a:cubicBezTo>
                <a:cubicBezTo>
                  <a:pt x="1205" y="638"/>
                  <a:pt x="1209" y="640"/>
                  <a:pt x="1213" y="642"/>
                </a:cubicBezTo>
                <a:cubicBezTo>
                  <a:pt x="1213" y="642"/>
                  <a:pt x="1215" y="641"/>
                  <a:pt x="1215" y="641"/>
                </a:cubicBezTo>
                <a:cubicBezTo>
                  <a:pt x="1215" y="640"/>
                  <a:pt x="1216" y="639"/>
                  <a:pt x="1216" y="638"/>
                </a:cubicBezTo>
                <a:cubicBezTo>
                  <a:pt x="1216" y="637"/>
                  <a:pt x="1215" y="636"/>
                  <a:pt x="1215" y="635"/>
                </a:cubicBezTo>
                <a:cubicBezTo>
                  <a:pt x="1215" y="633"/>
                  <a:pt x="1217" y="631"/>
                  <a:pt x="1219" y="632"/>
                </a:cubicBezTo>
                <a:cubicBezTo>
                  <a:pt x="1221" y="632"/>
                  <a:pt x="1222" y="631"/>
                  <a:pt x="1223" y="629"/>
                </a:cubicBezTo>
                <a:cubicBezTo>
                  <a:pt x="1224" y="627"/>
                  <a:pt x="1226" y="624"/>
                  <a:pt x="1227" y="622"/>
                </a:cubicBezTo>
                <a:cubicBezTo>
                  <a:pt x="1228" y="620"/>
                  <a:pt x="1228" y="618"/>
                  <a:pt x="1227" y="617"/>
                </a:cubicBezTo>
                <a:cubicBezTo>
                  <a:pt x="1226" y="616"/>
                  <a:pt x="1226" y="615"/>
                  <a:pt x="1225" y="615"/>
                </a:cubicBezTo>
                <a:cubicBezTo>
                  <a:pt x="1225" y="613"/>
                  <a:pt x="1225" y="612"/>
                  <a:pt x="1226" y="611"/>
                </a:cubicBezTo>
                <a:cubicBezTo>
                  <a:pt x="1226" y="609"/>
                  <a:pt x="1228" y="609"/>
                  <a:pt x="1230" y="610"/>
                </a:cubicBezTo>
                <a:cubicBezTo>
                  <a:pt x="1231" y="610"/>
                  <a:pt x="1233" y="612"/>
                  <a:pt x="1234" y="613"/>
                </a:cubicBezTo>
                <a:cubicBezTo>
                  <a:pt x="1234" y="613"/>
                  <a:pt x="1235" y="613"/>
                  <a:pt x="1235" y="612"/>
                </a:cubicBezTo>
                <a:cubicBezTo>
                  <a:pt x="1237" y="611"/>
                  <a:pt x="1236" y="608"/>
                  <a:pt x="1235" y="608"/>
                </a:cubicBezTo>
                <a:cubicBezTo>
                  <a:pt x="1231" y="605"/>
                  <a:pt x="1227" y="601"/>
                  <a:pt x="1222" y="600"/>
                </a:cubicBezTo>
                <a:cubicBezTo>
                  <a:pt x="1220" y="599"/>
                  <a:pt x="1220" y="598"/>
                  <a:pt x="1219" y="597"/>
                </a:cubicBezTo>
                <a:cubicBezTo>
                  <a:pt x="1219" y="596"/>
                  <a:pt x="1219" y="595"/>
                  <a:pt x="1218" y="595"/>
                </a:cubicBezTo>
                <a:cubicBezTo>
                  <a:pt x="1217" y="595"/>
                  <a:pt x="1216" y="595"/>
                  <a:pt x="1215" y="595"/>
                </a:cubicBezTo>
                <a:cubicBezTo>
                  <a:pt x="1212" y="595"/>
                  <a:pt x="1210" y="593"/>
                  <a:pt x="1208" y="591"/>
                </a:cubicBezTo>
                <a:cubicBezTo>
                  <a:pt x="1207" y="590"/>
                  <a:pt x="1206" y="588"/>
                  <a:pt x="1205" y="586"/>
                </a:cubicBezTo>
                <a:cubicBezTo>
                  <a:pt x="1203" y="583"/>
                  <a:pt x="1201" y="580"/>
                  <a:pt x="1198" y="578"/>
                </a:cubicBezTo>
                <a:cubicBezTo>
                  <a:pt x="1197" y="577"/>
                  <a:pt x="1196" y="576"/>
                  <a:pt x="1195" y="576"/>
                </a:cubicBezTo>
                <a:cubicBezTo>
                  <a:pt x="1193" y="574"/>
                  <a:pt x="1193" y="573"/>
                  <a:pt x="1193" y="571"/>
                </a:cubicBezTo>
                <a:cubicBezTo>
                  <a:pt x="1193" y="569"/>
                  <a:pt x="1193" y="568"/>
                  <a:pt x="1193" y="567"/>
                </a:cubicBezTo>
                <a:cubicBezTo>
                  <a:pt x="1193" y="566"/>
                  <a:pt x="1194" y="565"/>
                  <a:pt x="1194" y="565"/>
                </a:cubicBezTo>
                <a:cubicBezTo>
                  <a:pt x="1196" y="564"/>
                  <a:pt x="1197" y="563"/>
                  <a:pt x="1198" y="563"/>
                </a:cubicBezTo>
                <a:cubicBezTo>
                  <a:pt x="1199" y="563"/>
                  <a:pt x="1200" y="563"/>
                  <a:pt x="1200" y="564"/>
                </a:cubicBezTo>
                <a:cubicBezTo>
                  <a:pt x="1200" y="565"/>
                  <a:pt x="1200" y="566"/>
                  <a:pt x="1201" y="568"/>
                </a:cubicBezTo>
                <a:cubicBezTo>
                  <a:pt x="1201" y="569"/>
                  <a:pt x="1202" y="570"/>
                  <a:pt x="1203" y="570"/>
                </a:cubicBezTo>
                <a:cubicBezTo>
                  <a:pt x="1205" y="569"/>
                  <a:pt x="1206" y="571"/>
                  <a:pt x="1208" y="571"/>
                </a:cubicBezTo>
                <a:cubicBezTo>
                  <a:pt x="1209" y="571"/>
                  <a:pt x="1210" y="572"/>
                  <a:pt x="1211" y="573"/>
                </a:cubicBezTo>
                <a:cubicBezTo>
                  <a:pt x="1212" y="577"/>
                  <a:pt x="1215" y="579"/>
                  <a:pt x="1218" y="581"/>
                </a:cubicBezTo>
                <a:cubicBezTo>
                  <a:pt x="1221" y="583"/>
                  <a:pt x="1223" y="585"/>
                  <a:pt x="1226" y="585"/>
                </a:cubicBezTo>
                <a:cubicBezTo>
                  <a:pt x="1228" y="586"/>
                  <a:pt x="1229" y="588"/>
                  <a:pt x="1231" y="588"/>
                </a:cubicBezTo>
                <a:cubicBezTo>
                  <a:pt x="1233" y="588"/>
                  <a:pt x="1235" y="590"/>
                  <a:pt x="1236" y="591"/>
                </a:cubicBezTo>
                <a:cubicBezTo>
                  <a:pt x="1238" y="593"/>
                  <a:pt x="1239" y="595"/>
                  <a:pt x="1241" y="596"/>
                </a:cubicBezTo>
                <a:cubicBezTo>
                  <a:pt x="1242" y="597"/>
                  <a:pt x="1242" y="598"/>
                  <a:pt x="1242" y="599"/>
                </a:cubicBezTo>
                <a:cubicBezTo>
                  <a:pt x="1242" y="601"/>
                  <a:pt x="1242" y="603"/>
                  <a:pt x="1242" y="605"/>
                </a:cubicBezTo>
                <a:cubicBezTo>
                  <a:pt x="1242" y="608"/>
                  <a:pt x="1242" y="610"/>
                  <a:pt x="1245" y="612"/>
                </a:cubicBezTo>
                <a:cubicBezTo>
                  <a:pt x="1245" y="612"/>
                  <a:pt x="1245" y="613"/>
                  <a:pt x="1245" y="613"/>
                </a:cubicBezTo>
                <a:cubicBezTo>
                  <a:pt x="1244" y="616"/>
                  <a:pt x="1246" y="617"/>
                  <a:pt x="1248" y="618"/>
                </a:cubicBezTo>
                <a:cubicBezTo>
                  <a:pt x="1249" y="619"/>
                  <a:pt x="1250" y="620"/>
                  <a:pt x="1252" y="621"/>
                </a:cubicBezTo>
                <a:cubicBezTo>
                  <a:pt x="1252" y="624"/>
                  <a:pt x="1255" y="625"/>
                  <a:pt x="1255" y="628"/>
                </a:cubicBezTo>
                <a:cubicBezTo>
                  <a:pt x="1256" y="629"/>
                  <a:pt x="1256" y="629"/>
                  <a:pt x="1255" y="630"/>
                </a:cubicBezTo>
                <a:cubicBezTo>
                  <a:pt x="1255" y="630"/>
                  <a:pt x="1255" y="631"/>
                  <a:pt x="1255" y="632"/>
                </a:cubicBezTo>
                <a:cubicBezTo>
                  <a:pt x="1257" y="633"/>
                  <a:pt x="1260" y="635"/>
                  <a:pt x="1260" y="638"/>
                </a:cubicBezTo>
                <a:cubicBezTo>
                  <a:pt x="1260" y="639"/>
                  <a:pt x="1261" y="640"/>
                  <a:pt x="1262" y="640"/>
                </a:cubicBezTo>
                <a:cubicBezTo>
                  <a:pt x="1264" y="641"/>
                  <a:pt x="1266" y="641"/>
                  <a:pt x="1269" y="641"/>
                </a:cubicBezTo>
                <a:cubicBezTo>
                  <a:pt x="1270" y="641"/>
                  <a:pt x="1270" y="641"/>
                  <a:pt x="1270" y="640"/>
                </a:cubicBezTo>
                <a:cubicBezTo>
                  <a:pt x="1269" y="637"/>
                  <a:pt x="1272" y="635"/>
                  <a:pt x="1272" y="632"/>
                </a:cubicBezTo>
                <a:cubicBezTo>
                  <a:pt x="1272" y="632"/>
                  <a:pt x="1272" y="632"/>
                  <a:pt x="1272" y="632"/>
                </a:cubicBezTo>
                <a:cubicBezTo>
                  <a:pt x="1275" y="633"/>
                  <a:pt x="1276" y="631"/>
                  <a:pt x="1278" y="630"/>
                </a:cubicBezTo>
                <a:cubicBezTo>
                  <a:pt x="1279" y="630"/>
                  <a:pt x="1279" y="630"/>
                  <a:pt x="1279" y="629"/>
                </a:cubicBezTo>
                <a:cubicBezTo>
                  <a:pt x="1278" y="627"/>
                  <a:pt x="1277" y="625"/>
                  <a:pt x="1275" y="623"/>
                </a:cubicBezTo>
                <a:cubicBezTo>
                  <a:pt x="1274" y="623"/>
                  <a:pt x="1273" y="622"/>
                  <a:pt x="1272" y="621"/>
                </a:cubicBezTo>
                <a:cubicBezTo>
                  <a:pt x="1270" y="618"/>
                  <a:pt x="1268" y="615"/>
                  <a:pt x="1266" y="612"/>
                </a:cubicBezTo>
                <a:cubicBezTo>
                  <a:pt x="1265" y="612"/>
                  <a:pt x="1265" y="611"/>
                  <a:pt x="1265" y="610"/>
                </a:cubicBezTo>
                <a:cubicBezTo>
                  <a:pt x="1265" y="610"/>
                  <a:pt x="1266" y="610"/>
                  <a:pt x="1266" y="609"/>
                </a:cubicBezTo>
                <a:cubicBezTo>
                  <a:pt x="1266" y="609"/>
                  <a:pt x="1267" y="609"/>
                  <a:pt x="1267" y="609"/>
                </a:cubicBezTo>
                <a:cubicBezTo>
                  <a:pt x="1268" y="610"/>
                  <a:pt x="1268" y="610"/>
                  <a:pt x="1268" y="610"/>
                </a:cubicBezTo>
                <a:cubicBezTo>
                  <a:pt x="1271" y="613"/>
                  <a:pt x="1273" y="612"/>
                  <a:pt x="1274" y="609"/>
                </a:cubicBezTo>
                <a:cubicBezTo>
                  <a:pt x="1275" y="608"/>
                  <a:pt x="1275" y="607"/>
                  <a:pt x="1276" y="606"/>
                </a:cubicBezTo>
                <a:cubicBezTo>
                  <a:pt x="1276" y="605"/>
                  <a:pt x="1277" y="605"/>
                  <a:pt x="1277" y="605"/>
                </a:cubicBezTo>
                <a:cubicBezTo>
                  <a:pt x="1278" y="606"/>
                  <a:pt x="1279" y="606"/>
                  <a:pt x="1280" y="605"/>
                </a:cubicBezTo>
                <a:cubicBezTo>
                  <a:pt x="1282" y="604"/>
                  <a:pt x="1284" y="604"/>
                  <a:pt x="1285" y="604"/>
                </a:cubicBezTo>
                <a:cubicBezTo>
                  <a:pt x="1288" y="604"/>
                  <a:pt x="1290" y="606"/>
                  <a:pt x="1290" y="609"/>
                </a:cubicBezTo>
                <a:cubicBezTo>
                  <a:pt x="1290" y="612"/>
                  <a:pt x="1290" y="616"/>
                  <a:pt x="1289" y="619"/>
                </a:cubicBezTo>
                <a:cubicBezTo>
                  <a:pt x="1288" y="620"/>
                  <a:pt x="1289" y="621"/>
                  <a:pt x="1290" y="621"/>
                </a:cubicBezTo>
                <a:cubicBezTo>
                  <a:pt x="1291" y="621"/>
                  <a:pt x="1292" y="621"/>
                  <a:pt x="1293" y="621"/>
                </a:cubicBezTo>
                <a:cubicBezTo>
                  <a:pt x="1293" y="621"/>
                  <a:pt x="1293" y="621"/>
                  <a:pt x="1294" y="621"/>
                </a:cubicBezTo>
                <a:cubicBezTo>
                  <a:pt x="1294" y="621"/>
                  <a:pt x="1294" y="621"/>
                  <a:pt x="1294" y="621"/>
                </a:cubicBezTo>
                <a:cubicBezTo>
                  <a:pt x="1294" y="622"/>
                  <a:pt x="1294" y="623"/>
                  <a:pt x="1294" y="623"/>
                </a:cubicBezTo>
                <a:cubicBezTo>
                  <a:pt x="1293" y="625"/>
                  <a:pt x="1291" y="624"/>
                  <a:pt x="1290" y="625"/>
                </a:cubicBezTo>
                <a:cubicBezTo>
                  <a:pt x="1289" y="625"/>
                  <a:pt x="1289" y="626"/>
                  <a:pt x="1289" y="626"/>
                </a:cubicBezTo>
                <a:cubicBezTo>
                  <a:pt x="1289" y="626"/>
                  <a:pt x="1289" y="627"/>
                  <a:pt x="1290" y="627"/>
                </a:cubicBezTo>
                <a:cubicBezTo>
                  <a:pt x="1291" y="628"/>
                  <a:pt x="1292" y="628"/>
                  <a:pt x="1293" y="629"/>
                </a:cubicBezTo>
                <a:cubicBezTo>
                  <a:pt x="1293" y="629"/>
                  <a:pt x="1294" y="630"/>
                  <a:pt x="1295" y="630"/>
                </a:cubicBezTo>
                <a:cubicBezTo>
                  <a:pt x="1296" y="631"/>
                  <a:pt x="1294" y="632"/>
                  <a:pt x="1295" y="633"/>
                </a:cubicBezTo>
                <a:cubicBezTo>
                  <a:pt x="1296" y="634"/>
                  <a:pt x="1298" y="635"/>
                  <a:pt x="1299" y="636"/>
                </a:cubicBezTo>
                <a:cubicBezTo>
                  <a:pt x="1299" y="638"/>
                  <a:pt x="1301" y="639"/>
                  <a:pt x="1302" y="640"/>
                </a:cubicBezTo>
                <a:cubicBezTo>
                  <a:pt x="1303" y="641"/>
                  <a:pt x="1304" y="641"/>
                  <a:pt x="1305" y="641"/>
                </a:cubicBezTo>
                <a:cubicBezTo>
                  <a:pt x="1308" y="640"/>
                  <a:pt x="1310" y="641"/>
                  <a:pt x="1311" y="643"/>
                </a:cubicBezTo>
                <a:cubicBezTo>
                  <a:pt x="1312" y="644"/>
                  <a:pt x="1313" y="644"/>
                  <a:pt x="1314" y="645"/>
                </a:cubicBezTo>
                <a:cubicBezTo>
                  <a:pt x="1314" y="645"/>
                  <a:pt x="1315" y="645"/>
                  <a:pt x="1315" y="645"/>
                </a:cubicBezTo>
                <a:cubicBezTo>
                  <a:pt x="1318" y="645"/>
                  <a:pt x="1321" y="645"/>
                  <a:pt x="1323" y="642"/>
                </a:cubicBezTo>
                <a:cubicBezTo>
                  <a:pt x="1325" y="640"/>
                  <a:pt x="1326" y="640"/>
                  <a:pt x="1328" y="641"/>
                </a:cubicBezTo>
                <a:cubicBezTo>
                  <a:pt x="1331" y="641"/>
                  <a:pt x="1332" y="642"/>
                  <a:pt x="1334" y="644"/>
                </a:cubicBezTo>
                <a:cubicBezTo>
                  <a:pt x="1336" y="646"/>
                  <a:pt x="1339" y="646"/>
                  <a:pt x="1342" y="645"/>
                </a:cubicBezTo>
                <a:cubicBezTo>
                  <a:pt x="1345" y="645"/>
                  <a:pt x="1348" y="643"/>
                  <a:pt x="1350" y="641"/>
                </a:cubicBezTo>
                <a:cubicBezTo>
                  <a:pt x="1351" y="640"/>
                  <a:pt x="1352" y="639"/>
                  <a:pt x="1353" y="640"/>
                </a:cubicBezTo>
                <a:cubicBezTo>
                  <a:pt x="1355" y="641"/>
                  <a:pt x="1358" y="640"/>
                  <a:pt x="1360" y="641"/>
                </a:cubicBezTo>
                <a:cubicBezTo>
                  <a:pt x="1360" y="641"/>
                  <a:pt x="1360" y="641"/>
                  <a:pt x="1360" y="640"/>
                </a:cubicBezTo>
                <a:cubicBezTo>
                  <a:pt x="1360" y="640"/>
                  <a:pt x="1360" y="640"/>
                  <a:pt x="1360" y="640"/>
                </a:cubicBezTo>
                <a:cubicBezTo>
                  <a:pt x="1360" y="641"/>
                  <a:pt x="1360" y="641"/>
                  <a:pt x="1360" y="641"/>
                </a:cubicBezTo>
                <a:cubicBezTo>
                  <a:pt x="1360" y="641"/>
                  <a:pt x="1360" y="641"/>
                  <a:pt x="1360" y="641"/>
                </a:cubicBezTo>
                <a:cubicBezTo>
                  <a:pt x="1359" y="644"/>
                  <a:pt x="1359" y="647"/>
                  <a:pt x="1360" y="650"/>
                </a:cubicBezTo>
                <a:cubicBezTo>
                  <a:pt x="1360" y="653"/>
                  <a:pt x="1360" y="656"/>
                  <a:pt x="1359" y="659"/>
                </a:cubicBezTo>
                <a:cubicBezTo>
                  <a:pt x="1359" y="661"/>
                  <a:pt x="1358" y="663"/>
                  <a:pt x="1357" y="665"/>
                </a:cubicBezTo>
                <a:cubicBezTo>
                  <a:pt x="1356" y="668"/>
                  <a:pt x="1355" y="671"/>
                  <a:pt x="1354" y="674"/>
                </a:cubicBezTo>
                <a:cubicBezTo>
                  <a:pt x="1354" y="677"/>
                  <a:pt x="1352" y="680"/>
                  <a:pt x="1350" y="682"/>
                </a:cubicBezTo>
                <a:cubicBezTo>
                  <a:pt x="1349" y="683"/>
                  <a:pt x="1348" y="684"/>
                  <a:pt x="1347" y="684"/>
                </a:cubicBezTo>
                <a:cubicBezTo>
                  <a:pt x="1343" y="684"/>
                  <a:pt x="1338" y="685"/>
                  <a:pt x="1334" y="683"/>
                </a:cubicBezTo>
                <a:cubicBezTo>
                  <a:pt x="1333" y="682"/>
                  <a:pt x="1331" y="682"/>
                  <a:pt x="1329" y="682"/>
                </a:cubicBezTo>
                <a:cubicBezTo>
                  <a:pt x="1325" y="682"/>
                  <a:pt x="1322" y="683"/>
                  <a:pt x="1318" y="685"/>
                </a:cubicBezTo>
                <a:cubicBezTo>
                  <a:pt x="1317" y="686"/>
                  <a:pt x="1315" y="686"/>
                  <a:pt x="1313" y="685"/>
                </a:cubicBezTo>
                <a:cubicBezTo>
                  <a:pt x="1307" y="684"/>
                  <a:pt x="1301" y="682"/>
                  <a:pt x="1294" y="682"/>
                </a:cubicBezTo>
                <a:cubicBezTo>
                  <a:pt x="1292" y="681"/>
                  <a:pt x="1290" y="681"/>
                  <a:pt x="1288" y="680"/>
                </a:cubicBezTo>
                <a:cubicBezTo>
                  <a:pt x="1285" y="678"/>
                  <a:pt x="1282" y="678"/>
                  <a:pt x="1279" y="677"/>
                </a:cubicBezTo>
                <a:cubicBezTo>
                  <a:pt x="1276" y="677"/>
                  <a:pt x="1274" y="676"/>
                  <a:pt x="1272" y="674"/>
                </a:cubicBezTo>
                <a:cubicBezTo>
                  <a:pt x="1271" y="673"/>
                  <a:pt x="1270" y="672"/>
                  <a:pt x="1269" y="672"/>
                </a:cubicBezTo>
                <a:cubicBezTo>
                  <a:pt x="1264" y="671"/>
                  <a:pt x="1259" y="671"/>
                  <a:pt x="1254" y="673"/>
                </a:cubicBezTo>
                <a:cubicBezTo>
                  <a:pt x="1251" y="675"/>
                  <a:pt x="1248" y="679"/>
                  <a:pt x="1250" y="683"/>
                </a:cubicBezTo>
                <a:cubicBezTo>
                  <a:pt x="1250" y="684"/>
                  <a:pt x="1250" y="685"/>
                  <a:pt x="1251" y="686"/>
                </a:cubicBezTo>
                <a:cubicBezTo>
                  <a:pt x="1251" y="687"/>
                  <a:pt x="1250" y="688"/>
                  <a:pt x="1250" y="689"/>
                </a:cubicBezTo>
                <a:cubicBezTo>
                  <a:pt x="1249" y="690"/>
                  <a:pt x="1249" y="691"/>
                  <a:pt x="1248" y="691"/>
                </a:cubicBezTo>
                <a:cubicBezTo>
                  <a:pt x="1246" y="693"/>
                  <a:pt x="1244" y="693"/>
                  <a:pt x="1242" y="692"/>
                </a:cubicBezTo>
                <a:cubicBezTo>
                  <a:pt x="1241" y="692"/>
                  <a:pt x="1240" y="691"/>
                  <a:pt x="1239" y="690"/>
                </a:cubicBezTo>
                <a:cubicBezTo>
                  <a:pt x="1238" y="689"/>
                  <a:pt x="1237" y="688"/>
                  <a:pt x="1235" y="687"/>
                </a:cubicBezTo>
                <a:cubicBezTo>
                  <a:pt x="1231" y="685"/>
                  <a:pt x="1228" y="684"/>
                  <a:pt x="1223" y="684"/>
                </a:cubicBezTo>
                <a:cubicBezTo>
                  <a:pt x="1222" y="684"/>
                  <a:pt x="1220" y="683"/>
                  <a:pt x="1219" y="681"/>
                </a:cubicBezTo>
                <a:cubicBezTo>
                  <a:pt x="1219" y="680"/>
                  <a:pt x="1219" y="679"/>
                  <a:pt x="1218" y="678"/>
                </a:cubicBezTo>
                <a:cubicBezTo>
                  <a:pt x="1218" y="676"/>
                  <a:pt x="1216" y="675"/>
                  <a:pt x="1215" y="674"/>
                </a:cubicBezTo>
                <a:cubicBezTo>
                  <a:pt x="1210" y="673"/>
                  <a:pt x="1205" y="671"/>
                  <a:pt x="1199" y="672"/>
                </a:cubicBezTo>
                <a:cubicBezTo>
                  <a:pt x="1196" y="672"/>
                  <a:pt x="1194" y="671"/>
                  <a:pt x="1191" y="670"/>
                </a:cubicBezTo>
                <a:cubicBezTo>
                  <a:pt x="1191" y="669"/>
                  <a:pt x="1190" y="669"/>
                  <a:pt x="1190" y="669"/>
                </a:cubicBezTo>
                <a:cubicBezTo>
                  <a:pt x="1188" y="667"/>
                  <a:pt x="1186" y="666"/>
                  <a:pt x="1183" y="665"/>
                </a:cubicBezTo>
                <a:cubicBezTo>
                  <a:pt x="1182" y="664"/>
                  <a:pt x="1181" y="662"/>
                  <a:pt x="1182" y="661"/>
                </a:cubicBezTo>
                <a:cubicBezTo>
                  <a:pt x="1183" y="660"/>
                  <a:pt x="1184" y="659"/>
                  <a:pt x="1186" y="657"/>
                </a:cubicBezTo>
                <a:cubicBezTo>
                  <a:pt x="1187" y="655"/>
                  <a:pt x="1187" y="653"/>
                  <a:pt x="1186" y="651"/>
                </a:cubicBezTo>
                <a:cubicBezTo>
                  <a:pt x="1186" y="649"/>
                  <a:pt x="1185" y="648"/>
                  <a:pt x="1184" y="647"/>
                </a:cubicBezTo>
                <a:cubicBezTo>
                  <a:pt x="1184" y="647"/>
                  <a:pt x="1184" y="646"/>
                  <a:pt x="1184" y="646"/>
                </a:cubicBezTo>
                <a:cubicBezTo>
                  <a:pt x="1184" y="644"/>
                  <a:pt x="1185" y="642"/>
                  <a:pt x="1186" y="641"/>
                </a:cubicBezTo>
                <a:cubicBezTo>
                  <a:pt x="1186" y="640"/>
                  <a:pt x="1185" y="639"/>
                  <a:pt x="1184" y="639"/>
                </a:cubicBezTo>
                <a:cubicBezTo>
                  <a:pt x="1183" y="640"/>
                  <a:pt x="1182" y="640"/>
                  <a:pt x="1180" y="638"/>
                </a:cubicBezTo>
                <a:cubicBezTo>
                  <a:pt x="1179" y="636"/>
                  <a:pt x="1176" y="636"/>
                  <a:pt x="1174" y="637"/>
                </a:cubicBezTo>
                <a:cubicBezTo>
                  <a:pt x="1172" y="637"/>
                  <a:pt x="1170" y="638"/>
                  <a:pt x="1167" y="639"/>
                </a:cubicBezTo>
                <a:cubicBezTo>
                  <a:pt x="1166" y="639"/>
                  <a:pt x="1165" y="639"/>
                  <a:pt x="1163" y="639"/>
                </a:cubicBezTo>
                <a:cubicBezTo>
                  <a:pt x="1161" y="638"/>
                  <a:pt x="1159" y="640"/>
                  <a:pt x="1156" y="639"/>
                </a:cubicBezTo>
                <a:cubicBezTo>
                  <a:pt x="1154" y="638"/>
                  <a:pt x="1152" y="640"/>
                  <a:pt x="1150" y="640"/>
                </a:cubicBezTo>
                <a:cubicBezTo>
                  <a:pt x="1148" y="640"/>
                  <a:pt x="1146" y="640"/>
                  <a:pt x="1145" y="640"/>
                </a:cubicBezTo>
                <a:cubicBezTo>
                  <a:pt x="1140" y="639"/>
                  <a:pt x="1136" y="640"/>
                  <a:pt x="1132" y="641"/>
                </a:cubicBezTo>
                <a:cubicBezTo>
                  <a:pt x="1129" y="642"/>
                  <a:pt x="1127" y="642"/>
                  <a:pt x="1125" y="642"/>
                </a:cubicBezTo>
                <a:cubicBezTo>
                  <a:pt x="1123" y="642"/>
                  <a:pt x="1121" y="642"/>
                  <a:pt x="1119" y="643"/>
                </a:cubicBezTo>
                <a:cubicBezTo>
                  <a:pt x="1116" y="645"/>
                  <a:pt x="1113" y="647"/>
                  <a:pt x="1109" y="648"/>
                </a:cubicBezTo>
                <a:cubicBezTo>
                  <a:pt x="1107" y="649"/>
                  <a:pt x="1105" y="650"/>
                  <a:pt x="1103" y="652"/>
                </a:cubicBezTo>
                <a:cubicBezTo>
                  <a:pt x="1100" y="654"/>
                  <a:pt x="1097" y="654"/>
                  <a:pt x="1095" y="653"/>
                </a:cubicBezTo>
                <a:cubicBezTo>
                  <a:pt x="1092" y="652"/>
                  <a:pt x="1090" y="652"/>
                  <a:pt x="1088" y="652"/>
                </a:cubicBezTo>
                <a:cubicBezTo>
                  <a:pt x="1086" y="653"/>
                  <a:pt x="1083" y="653"/>
                  <a:pt x="1081" y="652"/>
                </a:cubicBezTo>
                <a:cubicBezTo>
                  <a:pt x="1080" y="652"/>
                  <a:pt x="1079" y="652"/>
                  <a:pt x="1078" y="651"/>
                </a:cubicBezTo>
                <a:cubicBezTo>
                  <a:pt x="1077" y="651"/>
                  <a:pt x="1077" y="650"/>
                  <a:pt x="1077" y="650"/>
                </a:cubicBezTo>
                <a:cubicBezTo>
                  <a:pt x="1074" y="647"/>
                  <a:pt x="1072" y="648"/>
                  <a:pt x="1071" y="651"/>
                </a:cubicBezTo>
                <a:cubicBezTo>
                  <a:pt x="1070" y="653"/>
                  <a:pt x="1070" y="654"/>
                  <a:pt x="1069" y="656"/>
                </a:cubicBezTo>
                <a:cubicBezTo>
                  <a:pt x="1068" y="660"/>
                  <a:pt x="1066" y="663"/>
                  <a:pt x="1062" y="665"/>
                </a:cubicBezTo>
                <a:cubicBezTo>
                  <a:pt x="1059" y="666"/>
                  <a:pt x="1056" y="668"/>
                  <a:pt x="1053" y="670"/>
                </a:cubicBezTo>
                <a:cubicBezTo>
                  <a:pt x="1051" y="672"/>
                  <a:pt x="1048" y="674"/>
                  <a:pt x="1048" y="677"/>
                </a:cubicBezTo>
                <a:cubicBezTo>
                  <a:pt x="1048" y="679"/>
                  <a:pt x="1047" y="680"/>
                  <a:pt x="1046" y="681"/>
                </a:cubicBezTo>
                <a:cubicBezTo>
                  <a:pt x="1045" y="683"/>
                  <a:pt x="1044" y="685"/>
                  <a:pt x="1044" y="688"/>
                </a:cubicBezTo>
                <a:cubicBezTo>
                  <a:pt x="1044" y="690"/>
                  <a:pt x="1044" y="691"/>
                  <a:pt x="1044" y="693"/>
                </a:cubicBezTo>
                <a:cubicBezTo>
                  <a:pt x="1045" y="695"/>
                  <a:pt x="1044" y="696"/>
                  <a:pt x="1043" y="697"/>
                </a:cubicBezTo>
                <a:cubicBezTo>
                  <a:pt x="1042" y="699"/>
                  <a:pt x="1041" y="701"/>
                  <a:pt x="1040" y="702"/>
                </a:cubicBezTo>
                <a:cubicBezTo>
                  <a:pt x="1039" y="703"/>
                  <a:pt x="1038" y="704"/>
                  <a:pt x="1037" y="705"/>
                </a:cubicBezTo>
                <a:cubicBezTo>
                  <a:pt x="1036" y="706"/>
                  <a:pt x="1034" y="706"/>
                  <a:pt x="1033" y="707"/>
                </a:cubicBezTo>
                <a:cubicBezTo>
                  <a:pt x="1031" y="709"/>
                  <a:pt x="1029" y="710"/>
                  <a:pt x="1027" y="710"/>
                </a:cubicBezTo>
                <a:cubicBezTo>
                  <a:pt x="1024" y="710"/>
                  <a:pt x="1023" y="712"/>
                  <a:pt x="1022" y="714"/>
                </a:cubicBezTo>
                <a:cubicBezTo>
                  <a:pt x="1021" y="714"/>
                  <a:pt x="1020" y="715"/>
                  <a:pt x="1020" y="716"/>
                </a:cubicBezTo>
                <a:cubicBezTo>
                  <a:pt x="1019" y="719"/>
                  <a:pt x="1017" y="720"/>
                  <a:pt x="1015" y="721"/>
                </a:cubicBezTo>
                <a:cubicBezTo>
                  <a:pt x="1013" y="723"/>
                  <a:pt x="1011" y="725"/>
                  <a:pt x="1010" y="727"/>
                </a:cubicBezTo>
                <a:cubicBezTo>
                  <a:pt x="1008" y="731"/>
                  <a:pt x="1006" y="736"/>
                  <a:pt x="1003" y="739"/>
                </a:cubicBezTo>
                <a:cubicBezTo>
                  <a:pt x="1002" y="740"/>
                  <a:pt x="1001" y="741"/>
                  <a:pt x="1001" y="742"/>
                </a:cubicBezTo>
                <a:cubicBezTo>
                  <a:pt x="999" y="746"/>
                  <a:pt x="996" y="751"/>
                  <a:pt x="994" y="755"/>
                </a:cubicBezTo>
                <a:cubicBezTo>
                  <a:pt x="992" y="757"/>
                  <a:pt x="992" y="759"/>
                  <a:pt x="992" y="761"/>
                </a:cubicBezTo>
                <a:cubicBezTo>
                  <a:pt x="991" y="763"/>
                  <a:pt x="992" y="765"/>
                  <a:pt x="994" y="767"/>
                </a:cubicBezTo>
                <a:cubicBezTo>
                  <a:pt x="996" y="768"/>
                  <a:pt x="997" y="770"/>
                  <a:pt x="996" y="772"/>
                </a:cubicBezTo>
                <a:cubicBezTo>
                  <a:pt x="996" y="774"/>
                  <a:pt x="996" y="776"/>
                  <a:pt x="996" y="778"/>
                </a:cubicBezTo>
                <a:cubicBezTo>
                  <a:pt x="998" y="783"/>
                  <a:pt x="998" y="788"/>
                  <a:pt x="996" y="793"/>
                </a:cubicBezTo>
                <a:cubicBezTo>
                  <a:pt x="995" y="794"/>
                  <a:pt x="995" y="794"/>
                  <a:pt x="995" y="795"/>
                </a:cubicBezTo>
                <a:cubicBezTo>
                  <a:pt x="994" y="800"/>
                  <a:pt x="993" y="805"/>
                  <a:pt x="989" y="809"/>
                </a:cubicBezTo>
                <a:cubicBezTo>
                  <a:pt x="989" y="809"/>
                  <a:pt x="989" y="810"/>
                  <a:pt x="989" y="811"/>
                </a:cubicBezTo>
                <a:cubicBezTo>
                  <a:pt x="990" y="812"/>
                  <a:pt x="991" y="814"/>
                  <a:pt x="992" y="815"/>
                </a:cubicBezTo>
                <a:cubicBezTo>
                  <a:pt x="993" y="817"/>
                  <a:pt x="993" y="818"/>
                  <a:pt x="993" y="820"/>
                </a:cubicBezTo>
                <a:cubicBezTo>
                  <a:pt x="991" y="823"/>
                  <a:pt x="992" y="825"/>
                  <a:pt x="993" y="827"/>
                </a:cubicBezTo>
                <a:cubicBezTo>
                  <a:pt x="994" y="829"/>
                  <a:pt x="996" y="831"/>
                  <a:pt x="998" y="832"/>
                </a:cubicBezTo>
                <a:cubicBezTo>
                  <a:pt x="999" y="832"/>
                  <a:pt x="1001" y="833"/>
                  <a:pt x="1003" y="833"/>
                </a:cubicBezTo>
                <a:cubicBezTo>
                  <a:pt x="1003" y="833"/>
                  <a:pt x="1003" y="833"/>
                  <a:pt x="1003" y="833"/>
                </a:cubicBezTo>
                <a:cubicBezTo>
                  <a:pt x="1003" y="833"/>
                  <a:pt x="1003" y="833"/>
                  <a:pt x="1003" y="833"/>
                </a:cubicBezTo>
                <a:cubicBezTo>
                  <a:pt x="1003" y="833"/>
                  <a:pt x="1003" y="833"/>
                  <a:pt x="1003" y="833"/>
                </a:cubicBezTo>
                <a:cubicBezTo>
                  <a:pt x="1003" y="833"/>
                  <a:pt x="1003" y="833"/>
                  <a:pt x="1003" y="833"/>
                </a:cubicBezTo>
                <a:cubicBezTo>
                  <a:pt x="1003" y="835"/>
                  <a:pt x="1003" y="837"/>
                  <a:pt x="1005" y="838"/>
                </a:cubicBezTo>
                <a:cubicBezTo>
                  <a:pt x="1006" y="839"/>
                  <a:pt x="1007" y="840"/>
                  <a:pt x="1008" y="842"/>
                </a:cubicBezTo>
                <a:cubicBezTo>
                  <a:pt x="1008" y="843"/>
                  <a:pt x="1009" y="844"/>
                  <a:pt x="1010" y="844"/>
                </a:cubicBezTo>
                <a:cubicBezTo>
                  <a:pt x="1013" y="845"/>
                  <a:pt x="1015" y="847"/>
                  <a:pt x="1016" y="849"/>
                </a:cubicBezTo>
                <a:cubicBezTo>
                  <a:pt x="1017" y="850"/>
                  <a:pt x="1018" y="851"/>
                  <a:pt x="1018" y="852"/>
                </a:cubicBezTo>
                <a:cubicBezTo>
                  <a:pt x="1018" y="856"/>
                  <a:pt x="1020" y="859"/>
                  <a:pt x="1022" y="862"/>
                </a:cubicBezTo>
                <a:cubicBezTo>
                  <a:pt x="1023" y="865"/>
                  <a:pt x="1026" y="867"/>
                  <a:pt x="1029" y="869"/>
                </a:cubicBezTo>
                <a:cubicBezTo>
                  <a:pt x="1032" y="870"/>
                  <a:pt x="1034" y="871"/>
                  <a:pt x="1036" y="873"/>
                </a:cubicBezTo>
                <a:cubicBezTo>
                  <a:pt x="1041" y="876"/>
                  <a:pt x="1045" y="880"/>
                  <a:pt x="1051" y="884"/>
                </a:cubicBezTo>
                <a:cubicBezTo>
                  <a:pt x="1053" y="885"/>
                  <a:pt x="1056" y="886"/>
                  <a:pt x="1059" y="887"/>
                </a:cubicBezTo>
                <a:cubicBezTo>
                  <a:pt x="1059" y="887"/>
                  <a:pt x="1060" y="887"/>
                  <a:pt x="1061" y="887"/>
                </a:cubicBezTo>
                <a:cubicBezTo>
                  <a:pt x="1063" y="886"/>
                  <a:pt x="1065" y="885"/>
                  <a:pt x="1067" y="884"/>
                </a:cubicBezTo>
                <a:cubicBezTo>
                  <a:pt x="1070" y="883"/>
                  <a:pt x="1073" y="882"/>
                  <a:pt x="1077" y="882"/>
                </a:cubicBezTo>
                <a:cubicBezTo>
                  <a:pt x="1079" y="882"/>
                  <a:pt x="1081" y="882"/>
                  <a:pt x="1084" y="882"/>
                </a:cubicBezTo>
                <a:cubicBezTo>
                  <a:pt x="1087" y="881"/>
                  <a:pt x="1091" y="881"/>
                  <a:pt x="1094" y="883"/>
                </a:cubicBezTo>
                <a:cubicBezTo>
                  <a:pt x="1095" y="883"/>
                  <a:pt x="1096" y="883"/>
                  <a:pt x="1096" y="884"/>
                </a:cubicBezTo>
                <a:cubicBezTo>
                  <a:pt x="1098" y="884"/>
                  <a:pt x="1100" y="884"/>
                  <a:pt x="1102" y="884"/>
                </a:cubicBezTo>
                <a:cubicBezTo>
                  <a:pt x="1103" y="883"/>
                  <a:pt x="1105" y="882"/>
                  <a:pt x="1107" y="882"/>
                </a:cubicBezTo>
                <a:cubicBezTo>
                  <a:pt x="1109" y="881"/>
                  <a:pt x="1111" y="880"/>
                  <a:pt x="1112" y="879"/>
                </a:cubicBezTo>
                <a:cubicBezTo>
                  <a:pt x="1114" y="878"/>
                  <a:pt x="1117" y="877"/>
                  <a:pt x="1119" y="876"/>
                </a:cubicBezTo>
                <a:cubicBezTo>
                  <a:pt x="1122" y="875"/>
                  <a:pt x="1124" y="874"/>
                  <a:pt x="1127" y="874"/>
                </a:cubicBezTo>
                <a:cubicBezTo>
                  <a:pt x="1130" y="874"/>
                  <a:pt x="1134" y="872"/>
                  <a:pt x="1138" y="872"/>
                </a:cubicBezTo>
                <a:cubicBezTo>
                  <a:pt x="1139" y="873"/>
                  <a:pt x="1140" y="873"/>
                  <a:pt x="1140" y="873"/>
                </a:cubicBezTo>
                <a:cubicBezTo>
                  <a:pt x="1144" y="874"/>
                  <a:pt x="1146" y="876"/>
                  <a:pt x="1148" y="880"/>
                </a:cubicBezTo>
                <a:cubicBezTo>
                  <a:pt x="1149" y="881"/>
                  <a:pt x="1149" y="883"/>
                  <a:pt x="1150" y="885"/>
                </a:cubicBezTo>
                <a:cubicBezTo>
                  <a:pt x="1151" y="888"/>
                  <a:pt x="1154" y="889"/>
                  <a:pt x="1157" y="889"/>
                </a:cubicBezTo>
                <a:cubicBezTo>
                  <a:pt x="1158" y="889"/>
                  <a:pt x="1159" y="889"/>
                  <a:pt x="1160" y="889"/>
                </a:cubicBezTo>
                <a:cubicBezTo>
                  <a:pt x="1163" y="888"/>
                  <a:pt x="1167" y="888"/>
                  <a:pt x="1171" y="887"/>
                </a:cubicBezTo>
                <a:cubicBezTo>
                  <a:pt x="1173" y="886"/>
                  <a:pt x="1175" y="886"/>
                  <a:pt x="1176" y="888"/>
                </a:cubicBezTo>
                <a:cubicBezTo>
                  <a:pt x="1177" y="889"/>
                  <a:pt x="1178" y="890"/>
                  <a:pt x="1178" y="891"/>
                </a:cubicBezTo>
                <a:cubicBezTo>
                  <a:pt x="1182" y="893"/>
                  <a:pt x="1182" y="896"/>
                  <a:pt x="1182" y="899"/>
                </a:cubicBezTo>
                <a:cubicBezTo>
                  <a:pt x="1182" y="901"/>
                  <a:pt x="1181" y="903"/>
                  <a:pt x="1181" y="905"/>
                </a:cubicBezTo>
                <a:cubicBezTo>
                  <a:pt x="1180" y="907"/>
                  <a:pt x="1179" y="908"/>
                  <a:pt x="1179" y="910"/>
                </a:cubicBezTo>
                <a:cubicBezTo>
                  <a:pt x="1178" y="912"/>
                  <a:pt x="1179" y="914"/>
                  <a:pt x="1178" y="916"/>
                </a:cubicBezTo>
                <a:cubicBezTo>
                  <a:pt x="1178" y="919"/>
                  <a:pt x="1177" y="922"/>
                  <a:pt x="1175" y="925"/>
                </a:cubicBezTo>
                <a:cubicBezTo>
                  <a:pt x="1175" y="925"/>
                  <a:pt x="1175" y="926"/>
                  <a:pt x="1175" y="926"/>
                </a:cubicBezTo>
                <a:cubicBezTo>
                  <a:pt x="1175" y="926"/>
                  <a:pt x="1175" y="927"/>
                  <a:pt x="1175" y="927"/>
                </a:cubicBezTo>
                <a:cubicBezTo>
                  <a:pt x="1179" y="936"/>
                  <a:pt x="1180" y="938"/>
                  <a:pt x="1188" y="945"/>
                </a:cubicBezTo>
                <a:cubicBezTo>
                  <a:pt x="1189" y="947"/>
                  <a:pt x="1190" y="948"/>
                  <a:pt x="1191" y="949"/>
                </a:cubicBezTo>
                <a:cubicBezTo>
                  <a:pt x="1194" y="951"/>
                  <a:pt x="1195" y="953"/>
                  <a:pt x="1196" y="956"/>
                </a:cubicBezTo>
                <a:cubicBezTo>
                  <a:pt x="1197" y="957"/>
                  <a:pt x="1198" y="959"/>
                  <a:pt x="1198" y="960"/>
                </a:cubicBezTo>
                <a:cubicBezTo>
                  <a:pt x="1199" y="963"/>
                  <a:pt x="1200" y="967"/>
                  <a:pt x="1202" y="970"/>
                </a:cubicBezTo>
                <a:cubicBezTo>
                  <a:pt x="1204" y="973"/>
                  <a:pt x="1204" y="977"/>
                  <a:pt x="1205" y="981"/>
                </a:cubicBezTo>
                <a:cubicBezTo>
                  <a:pt x="1206" y="982"/>
                  <a:pt x="1205" y="983"/>
                  <a:pt x="1205" y="984"/>
                </a:cubicBezTo>
                <a:cubicBezTo>
                  <a:pt x="1205" y="985"/>
                  <a:pt x="1204" y="986"/>
                  <a:pt x="1205" y="987"/>
                </a:cubicBezTo>
                <a:cubicBezTo>
                  <a:pt x="1205" y="990"/>
                  <a:pt x="1206" y="992"/>
                  <a:pt x="1207" y="995"/>
                </a:cubicBezTo>
                <a:cubicBezTo>
                  <a:pt x="1208" y="996"/>
                  <a:pt x="1208" y="997"/>
                  <a:pt x="1209" y="998"/>
                </a:cubicBezTo>
                <a:cubicBezTo>
                  <a:pt x="1210" y="1002"/>
                  <a:pt x="1210" y="1007"/>
                  <a:pt x="1205" y="1011"/>
                </a:cubicBezTo>
                <a:cubicBezTo>
                  <a:pt x="1204" y="1012"/>
                  <a:pt x="1202" y="1014"/>
                  <a:pt x="1201" y="1016"/>
                </a:cubicBezTo>
                <a:cubicBezTo>
                  <a:pt x="1199" y="1018"/>
                  <a:pt x="1198" y="1020"/>
                  <a:pt x="1198" y="1022"/>
                </a:cubicBezTo>
                <a:cubicBezTo>
                  <a:pt x="1197" y="1026"/>
                  <a:pt x="1196" y="1029"/>
                  <a:pt x="1195" y="1033"/>
                </a:cubicBezTo>
                <a:cubicBezTo>
                  <a:pt x="1194" y="1035"/>
                  <a:pt x="1193" y="1037"/>
                  <a:pt x="1193" y="1039"/>
                </a:cubicBezTo>
                <a:cubicBezTo>
                  <a:pt x="1193" y="1042"/>
                  <a:pt x="1193" y="1046"/>
                  <a:pt x="1193" y="1049"/>
                </a:cubicBezTo>
                <a:cubicBezTo>
                  <a:pt x="1193" y="1051"/>
                  <a:pt x="1194" y="1053"/>
                  <a:pt x="1195" y="1054"/>
                </a:cubicBezTo>
                <a:cubicBezTo>
                  <a:pt x="1198" y="1057"/>
                  <a:pt x="1201" y="1061"/>
                  <a:pt x="1202" y="1066"/>
                </a:cubicBezTo>
                <a:cubicBezTo>
                  <a:pt x="1204" y="1071"/>
                  <a:pt x="1206" y="1075"/>
                  <a:pt x="1208" y="1079"/>
                </a:cubicBezTo>
                <a:cubicBezTo>
                  <a:pt x="1210" y="1083"/>
                  <a:pt x="1211" y="1086"/>
                  <a:pt x="1211" y="1089"/>
                </a:cubicBezTo>
                <a:cubicBezTo>
                  <a:pt x="1211" y="1093"/>
                  <a:pt x="1212" y="1097"/>
                  <a:pt x="1213" y="1100"/>
                </a:cubicBezTo>
                <a:cubicBezTo>
                  <a:pt x="1213" y="1102"/>
                  <a:pt x="1214" y="1103"/>
                  <a:pt x="1214" y="1105"/>
                </a:cubicBezTo>
                <a:cubicBezTo>
                  <a:pt x="1214" y="1109"/>
                  <a:pt x="1215" y="1113"/>
                  <a:pt x="1216" y="1117"/>
                </a:cubicBezTo>
                <a:cubicBezTo>
                  <a:pt x="1217" y="1121"/>
                  <a:pt x="1219" y="1125"/>
                  <a:pt x="1221" y="1128"/>
                </a:cubicBezTo>
                <a:cubicBezTo>
                  <a:pt x="1223" y="1130"/>
                  <a:pt x="1224" y="1132"/>
                  <a:pt x="1226" y="1134"/>
                </a:cubicBezTo>
                <a:cubicBezTo>
                  <a:pt x="1227" y="1136"/>
                  <a:pt x="1228" y="1138"/>
                  <a:pt x="1229" y="1140"/>
                </a:cubicBezTo>
                <a:cubicBezTo>
                  <a:pt x="1230" y="1145"/>
                  <a:pt x="1231" y="1149"/>
                  <a:pt x="1233" y="1153"/>
                </a:cubicBezTo>
                <a:cubicBezTo>
                  <a:pt x="1234" y="1154"/>
                  <a:pt x="1234" y="1156"/>
                  <a:pt x="1235" y="1157"/>
                </a:cubicBezTo>
                <a:cubicBezTo>
                  <a:pt x="1236" y="1159"/>
                  <a:pt x="1236" y="1162"/>
                  <a:pt x="1234" y="1164"/>
                </a:cubicBezTo>
                <a:cubicBezTo>
                  <a:pt x="1233" y="1165"/>
                  <a:pt x="1233" y="1166"/>
                  <a:pt x="1234" y="1167"/>
                </a:cubicBezTo>
                <a:cubicBezTo>
                  <a:pt x="1235" y="1169"/>
                  <a:pt x="1235" y="1172"/>
                  <a:pt x="1236" y="1175"/>
                </a:cubicBezTo>
                <a:cubicBezTo>
                  <a:pt x="1236" y="1175"/>
                  <a:pt x="1236" y="1176"/>
                  <a:pt x="1236" y="1176"/>
                </a:cubicBezTo>
                <a:cubicBezTo>
                  <a:pt x="1239" y="1178"/>
                  <a:pt x="1243" y="1180"/>
                  <a:pt x="1246" y="1181"/>
                </a:cubicBezTo>
                <a:cubicBezTo>
                  <a:pt x="1246" y="1182"/>
                  <a:pt x="1247" y="1181"/>
                  <a:pt x="1248" y="1181"/>
                </a:cubicBezTo>
                <a:cubicBezTo>
                  <a:pt x="1251" y="1180"/>
                  <a:pt x="1254" y="1178"/>
                  <a:pt x="1257" y="1179"/>
                </a:cubicBezTo>
                <a:cubicBezTo>
                  <a:pt x="1259" y="1179"/>
                  <a:pt x="1260" y="1178"/>
                  <a:pt x="1262" y="1178"/>
                </a:cubicBezTo>
                <a:cubicBezTo>
                  <a:pt x="1264" y="1177"/>
                  <a:pt x="1266" y="1176"/>
                  <a:pt x="1269" y="1176"/>
                </a:cubicBezTo>
                <a:cubicBezTo>
                  <a:pt x="1272" y="1176"/>
                  <a:pt x="1275" y="1175"/>
                  <a:pt x="1278" y="1177"/>
                </a:cubicBezTo>
                <a:cubicBezTo>
                  <a:pt x="1278" y="1177"/>
                  <a:pt x="1280" y="1177"/>
                  <a:pt x="1280" y="1177"/>
                </a:cubicBezTo>
                <a:cubicBezTo>
                  <a:pt x="1283" y="1175"/>
                  <a:pt x="1286" y="1177"/>
                  <a:pt x="1288" y="1174"/>
                </a:cubicBezTo>
                <a:cubicBezTo>
                  <a:pt x="1289" y="1174"/>
                  <a:pt x="1290" y="1173"/>
                  <a:pt x="1291" y="1173"/>
                </a:cubicBezTo>
                <a:cubicBezTo>
                  <a:pt x="1295" y="1173"/>
                  <a:pt x="1299" y="1171"/>
                  <a:pt x="1302" y="1169"/>
                </a:cubicBezTo>
                <a:cubicBezTo>
                  <a:pt x="1307" y="1166"/>
                  <a:pt x="1311" y="1162"/>
                  <a:pt x="1315" y="1158"/>
                </a:cubicBezTo>
                <a:cubicBezTo>
                  <a:pt x="1318" y="1155"/>
                  <a:pt x="1321" y="1152"/>
                  <a:pt x="1323" y="1149"/>
                </a:cubicBezTo>
                <a:cubicBezTo>
                  <a:pt x="1325" y="1146"/>
                  <a:pt x="1327" y="1143"/>
                  <a:pt x="1329" y="1140"/>
                </a:cubicBezTo>
                <a:cubicBezTo>
                  <a:pt x="1330" y="1138"/>
                  <a:pt x="1332" y="1136"/>
                  <a:pt x="1333" y="1135"/>
                </a:cubicBezTo>
                <a:cubicBezTo>
                  <a:pt x="1337" y="1133"/>
                  <a:pt x="1339" y="1130"/>
                  <a:pt x="1340" y="1126"/>
                </a:cubicBezTo>
                <a:cubicBezTo>
                  <a:pt x="1341" y="1123"/>
                  <a:pt x="1342" y="1120"/>
                  <a:pt x="1343" y="1117"/>
                </a:cubicBezTo>
                <a:cubicBezTo>
                  <a:pt x="1343" y="1116"/>
                  <a:pt x="1343" y="1114"/>
                  <a:pt x="1342" y="1113"/>
                </a:cubicBezTo>
                <a:cubicBezTo>
                  <a:pt x="1341" y="1111"/>
                  <a:pt x="1342" y="1110"/>
                  <a:pt x="1343" y="1108"/>
                </a:cubicBezTo>
                <a:cubicBezTo>
                  <a:pt x="1345" y="1107"/>
                  <a:pt x="1347" y="1105"/>
                  <a:pt x="1350" y="1105"/>
                </a:cubicBezTo>
                <a:cubicBezTo>
                  <a:pt x="1353" y="1104"/>
                  <a:pt x="1356" y="1103"/>
                  <a:pt x="1358" y="1101"/>
                </a:cubicBezTo>
                <a:cubicBezTo>
                  <a:pt x="1360" y="1100"/>
                  <a:pt x="1362" y="1098"/>
                  <a:pt x="1362" y="1096"/>
                </a:cubicBezTo>
                <a:cubicBezTo>
                  <a:pt x="1362" y="1093"/>
                  <a:pt x="1363" y="1090"/>
                  <a:pt x="1363" y="1087"/>
                </a:cubicBezTo>
                <a:cubicBezTo>
                  <a:pt x="1363" y="1086"/>
                  <a:pt x="1363" y="1084"/>
                  <a:pt x="1363" y="1083"/>
                </a:cubicBezTo>
                <a:cubicBezTo>
                  <a:pt x="1362" y="1078"/>
                  <a:pt x="1360" y="1074"/>
                  <a:pt x="1359" y="1069"/>
                </a:cubicBezTo>
                <a:cubicBezTo>
                  <a:pt x="1359" y="1068"/>
                  <a:pt x="1359" y="1066"/>
                  <a:pt x="1360" y="1065"/>
                </a:cubicBezTo>
                <a:cubicBezTo>
                  <a:pt x="1366" y="1060"/>
                  <a:pt x="1373" y="1055"/>
                  <a:pt x="1379" y="1050"/>
                </a:cubicBezTo>
                <a:cubicBezTo>
                  <a:pt x="1381" y="1048"/>
                  <a:pt x="1383" y="1047"/>
                  <a:pt x="1385" y="1046"/>
                </a:cubicBezTo>
                <a:cubicBezTo>
                  <a:pt x="1387" y="1045"/>
                  <a:pt x="1390" y="1044"/>
                  <a:pt x="1392" y="1043"/>
                </a:cubicBezTo>
                <a:cubicBezTo>
                  <a:pt x="1397" y="1040"/>
                  <a:pt x="1400" y="1036"/>
                  <a:pt x="1402" y="1030"/>
                </a:cubicBezTo>
                <a:cubicBezTo>
                  <a:pt x="1403" y="1028"/>
                  <a:pt x="1404" y="1026"/>
                  <a:pt x="1404" y="1023"/>
                </a:cubicBezTo>
                <a:cubicBezTo>
                  <a:pt x="1403" y="1020"/>
                  <a:pt x="1404" y="1018"/>
                  <a:pt x="1404" y="1015"/>
                </a:cubicBezTo>
                <a:cubicBezTo>
                  <a:pt x="1404" y="1013"/>
                  <a:pt x="1404" y="1011"/>
                  <a:pt x="1404" y="1009"/>
                </a:cubicBezTo>
                <a:cubicBezTo>
                  <a:pt x="1403" y="1005"/>
                  <a:pt x="1403" y="1002"/>
                  <a:pt x="1404" y="998"/>
                </a:cubicBezTo>
                <a:cubicBezTo>
                  <a:pt x="1405" y="997"/>
                  <a:pt x="1404" y="995"/>
                  <a:pt x="1402" y="994"/>
                </a:cubicBezTo>
                <a:cubicBezTo>
                  <a:pt x="1399" y="992"/>
                  <a:pt x="1398" y="989"/>
                  <a:pt x="1397" y="986"/>
                </a:cubicBezTo>
                <a:cubicBezTo>
                  <a:pt x="1396" y="982"/>
                  <a:pt x="1396" y="978"/>
                  <a:pt x="1396" y="974"/>
                </a:cubicBezTo>
                <a:cubicBezTo>
                  <a:pt x="1396" y="973"/>
                  <a:pt x="1396" y="972"/>
                  <a:pt x="1396" y="972"/>
                </a:cubicBezTo>
                <a:cubicBezTo>
                  <a:pt x="1397" y="970"/>
                  <a:pt x="1397" y="968"/>
                  <a:pt x="1396" y="967"/>
                </a:cubicBezTo>
                <a:cubicBezTo>
                  <a:pt x="1392" y="965"/>
                  <a:pt x="1392" y="962"/>
                  <a:pt x="1394" y="958"/>
                </a:cubicBezTo>
                <a:cubicBezTo>
                  <a:pt x="1395" y="956"/>
                  <a:pt x="1396" y="953"/>
                  <a:pt x="1398" y="951"/>
                </a:cubicBezTo>
                <a:cubicBezTo>
                  <a:pt x="1400" y="948"/>
                  <a:pt x="1401" y="945"/>
                  <a:pt x="1403" y="942"/>
                </a:cubicBezTo>
                <a:cubicBezTo>
                  <a:pt x="1404" y="940"/>
                  <a:pt x="1404" y="939"/>
                  <a:pt x="1406" y="938"/>
                </a:cubicBezTo>
                <a:cubicBezTo>
                  <a:pt x="1409" y="936"/>
                  <a:pt x="1411" y="934"/>
                  <a:pt x="1413" y="931"/>
                </a:cubicBezTo>
                <a:cubicBezTo>
                  <a:pt x="1418" y="925"/>
                  <a:pt x="1424" y="919"/>
                  <a:pt x="1431" y="913"/>
                </a:cubicBezTo>
                <a:cubicBezTo>
                  <a:pt x="1434" y="910"/>
                  <a:pt x="1437" y="906"/>
                  <a:pt x="1442" y="904"/>
                </a:cubicBezTo>
                <a:cubicBezTo>
                  <a:pt x="1443" y="904"/>
                  <a:pt x="1443" y="903"/>
                  <a:pt x="1444" y="903"/>
                </a:cubicBezTo>
                <a:cubicBezTo>
                  <a:pt x="1455" y="894"/>
                  <a:pt x="1463" y="884"/>
                  <a:pt x="1469" y="871"/>
                </a:cubicBezTo>
                <a:cubicBezTo>
                  <a:pt x="1471" y="866"/>
                  <a:pt x="1473" y="862"/>
                  <a:pt x="1476" y="857"/>
                </a:cubicBezTo>
                <a:cubicBezTo>
                  <a:pt x="1478" y="855"/>
                  <a:pt x="1480" y="851"/>
                  <a:pt x="1481" y="848"/>
                </a:cubicBezTo>
                <a:cubicBezTo>
                  <a:pt x="1482" y="843"/>
                  <a:pt x="1482" y="839"/>
                  <a:pt x="1482" y="834"/>
                </a:cubicBezTo>
                <a:cubicBezTo>
                  <a:pt x="1482" y="833"/>
                  <a:pt x="1480" y="831"/>
                  <a:pt x="1479" y="832"/>
                </a:cubicBezTo>
                <a:cubicBezTo>
                  <a:pt x="1478" y="832"/>
                  <a:pt x="1478" y="832"/>
                  <a:pt x="1478" y="832"/>
                </a:cubicBezTo>
                <a:cubicBezTo>
                  <a:pt x="1474" y="835"/>
                  <a:pt x="1470" y="836"/>
                  <a:pt x="1466" y="836"/>
                </a:cubicBezTo>
                <a:cubicBezTo>
                  <a:pt x="1461" y="837"/>
                  <a:pt x="1455" y="837"/>
                  <a:pt x="1449" y="840"/>
                </a:cubicBezTo>
                <a:cubicBezTo>
                  <a:pt x="1449" y="840"/>
                  <a:pt x="1448" y="840"/>
                  <a:pt x="1447" y="840"/>
                </a:cubicBezTo>
                <a:cubicBezTo>
                  <a:pt x="1443" y="840"/>
                  <a:pt x="1440" y="841"/>
                  <a:pt x="1438" y="842"/>
                </a:cubicBezTo>
                <a:cubicBezTo>
                  <a:pt x="1437" y="843"/>
                  <a:pt x="1436" y="843"/>
                  <a:pt x="1435" y="843"/>
                </a:cubicBezTo>
                <a:cubicBezTo>
                  <a:pt x="1434" y="843"/>
                  <a:pt x="1433" y="843"/>
                  <a:pt x="1432" y="843"/>
                </a:cubicBezTo>
                <a:cubicBezTo>
                  <a:pt x="1431" y="842"/>
                  <a:pt x="1430" y="842"/>
                  <a:pt x="1430" y="841"/>
                </a:cubicBezTo>
                <a:cubicBezTo>
                  <a:pt x="1428" y="839"/>
                  <a:pt x="1426" y="837"/>
                  <a:pt x="1424" y="835"/>
                </a:cubicBezTo>
                <a:cubicBezTo>
                  <a:pt x="1423" y="834"/>
                  <a:pt x="1423" y="833"/>
                  <a:pt x="1423" y="833"/>
                </a:cubicBezTo>
                <a:cubicBezTo>
                  <a:pt x="1425" y="829"/>
                  <a:pt x="1425" y="828"/>
                  <a:pt x="1423" y="827"/>
                </a:cubicBezTo>
                <a:cubicBezTo>
                  <a:pt x="1421" y="825"/>
                  <a:pt x="1420" y="824"/>
                  <a:pt x="1418" y="822"/>
                </a:cubicBezTo>
                <a:cubicBezTo>
                  <a:pt x="1416" y="819"/>
                  <a:pt x="1412" y="816"/>
                  <a:pt x="1409" y="813"/>
                </a:cubicBezTo>
                <a:cubicBezTo>
                  <a:pt x="1408" y="811"/>
                  <a:pt x="1405" y="810"/>
                  <a:pt x="1403" y="808"/>
                </a:cubicBezTo>
                <a:cubicBezTo>
                  <a:pt x="1399" y="806"/>
                  <a:pt x="1395" y="803"/>
                  <a:pt x="1394" y="798"/>
                </a:cubicBezTo>
                <a:cubicBezTo>
                  <a:pt x="1393" y="796"/>
                  <a:pt x="1393" y="793"/>
                  <a:pt x="1392" y="791"/>
                </a:cubicBezTo>
                <a:cubicBezTo>
                  <a:pt x="1391" y="788"/>
                  <a:pt x="1389" y="786"/>
                  <a:pt x="1387" y="785"/>
                </a:cubicBezTo>
                <a:cubicBezTo>
                  <a:pt x="1385" y="783"/>
                  <a:pt x="1384" y="782"/>
                  <a:pt x="1382" y="780"/>
                </a:cubicBezTo>
                <a:cubicBezTo>
                  <a:pt x="1380" y="779"/>
                  <a:pt x="1379" y="777"/>
                  <a:pt x="1379" y="776"/>
                </a:cubicBezTo>
                <a:cubicBezTo>
                  <a:pt x="1379" y="771"/>
                  <a:pt x="1378" y="766"/>
                  <a:pt x="1377" y="761"/>
                </a:cubicBezTo>
                <a:cubicBezTo>
                  <a:pt x="1376" y="756"/>
                  <a:pt x="1373" y="753"/>
                  <a:pt x="1369" y="751"/>
                </a:cubicBezTo>
                <a:cubicBezTo>
                  <a:pt x="1368" y="750"/>
                  <a:pt x="1368" y="750"/>
                  <a:pt x="1367" y="750"/>
                </a:cubicBezTo>
                <a:cubicBezTo>
                  <a:pt x="1366" y="749"/>
                  <a:pt x="1366" y="748"/>
                  <a:pt x="1365" y="748"/>
                </a:cubicBezTo>
                <a:cubicBezTo>
                  <a:pt x="1365" y="747"/>
                  <a:pt x="1365" y="746"/>
                  <a:pt x="1365" y="745"/>
                </a:cubicBezTo>
                <a:cubicBezTo>
                  <a:pt x="1365" y="742"/>
                  <a:pt x="1364" y="739"/>
                  <a:pt x="1362" y="737"/>
                </a:cubicBezTo>
                <a:cubicBezTo>
                  <a:pt x="1362" y="736"/>
                  <a:pt x="1361" y="735"/>
                  <a:pt x="1360" y="733"/>
                </a:cubicBezTo>
                <a:cubicBezTo>
                  <a:pt x="1357" y="728"/>
                  <a:pt x="1353" y="723"/>
                  <a:pt x="1352" y="716"/>
                </a:cubicBezTo>
                <a:cubicBezTo>
                  <a:pt x="1351" y="715"/>
                  <a:pt x="1351" y="714"/>
                  <a:pt x="1350" y="713"/>
                </a:cubicBezTo>
                <a:cubicBezTo>
                  <a:pt x="1350" y="712"/>
                  <a:pt x="1350" y="711"/>
                  <a:pt x="1351" y="711"/>
                </a:cubicBezTo>
                <a:cubicBezTo>
                  <a:pt x="1352" y="711"/>
                  <a:pt x="1354" y="712"/>
                  <a:pt x="1355" y="711"/>
                </a:cubicBezTo>
                <a:cubicBezTo>
                  <a:pt x="1355" y="710"/>
                  <a:pt x="1356" y="709"/>
                  <a:pt x="1358" y="709"/>
                </a:cubicBezTo>
                <a:cubicBezTo>
                  <a:pt x="1359" y="709"/>
                  <a:pt x="1360" y="710"/>
                  <a:pt x="1361" y="711"/>
                </a:cubicBezTo>
                <a:cubicBezTo>
                  <a:pt x="1362" y="712"/>
                  <a:pt x="1362" y="713"/>
                  <a:pt x="1363" y="714"/>
                </a:cubicBezTo>
                <a:cubicBezTo>
                  <a:pt x="1367" y="718"/>
                  <a:pt x="1369" y="723"/>
                  <a:pt x="1372" y="727"/>
                </a:cubicBezTo>
                <a:cubicBezTo>
                  <a:pt x="1374" y="730"/>
                  <a:pt x="1375" y="732"/>
                  <a:pt x="1376" y="735"/>
                </a:cubicBezTo>
                <a:cubicBezTo>
                  <a:pt x="1376" y="737"/>
                  <a:pt x="1377" y="738"/>
                  <a:pt x="1379" y="739"/>
                </a:cubicBezTo>
                <a:cubicBezTo>
                  <a:pt x="1383" y="740"/>
                  <a:pt x="1385" y="742"/>
                  <a:pt x="1386" y="746"/>
                </a:cubicBezTo>
                <a:cubicBezTo>
                  <a:pt x="1387" y="747"/>
                  <a:pt x="1387" y="748"/>
                  <a:pt x="1388" y="749"/>
                </a:cubicBezTo>
                <a:cubicBezTo>
                  <a:pt x="1389" y="751"/>
                  <a:pt x="1389" y="753"/>
                  <a:pt x="1389" y="755"/>
                </a:cubicBezTo>
                <a:cubicBezTo>
                  <a:pt x="1389" y="756"/>
                  <a:pt x="1389" y="757"/>
                  <a:pt x="1389" y="758"/>
                </a:cubicBezTo>
                <a:cubicBezTo>
                  <a:pt x="1390" y="762"/>
                  <a:pt x="1392" y="766"/>
                  <a:pt x="1396" y="769"/>
                </a:cubicBezTo>
                <a:cubicBezTo>
                  <a:pt x="1397" y="770"/>
                  <a:pt x="1399" y="770"/>
                  <a:pt x="1400" y="771"/>
                </a:cubicBezTo>
                <a:cubicBezTo>
                  <a:pt x="1402" y="773"/>
                  <a:pt x="1404" y="775"/>
                  <a:pt x="1405" y="778"/>
                </a:cubicBezTo>
                <a:cubicBezTo>
                  <a:pt x="1406" y="782"/>
                  <a:pt x="1408" y="785"/>
                  <a:pt x="1410" y="787"/>
                </a:cubicBezTo>
                <a:cubicBezTo>
                  <a:pt x="1412" y="789"/>
                  <a:pt x="1414" y="792"/>
                  <a:pt x="1416" y="794"/>
                </a:cubicBezTo>
                <a:cubicBezTo>
                  <a:pt x="1418" y="797"/>
                  <a:pt x="1419" y="800"/>
                  <a:pt x="1419" y="804"/>
                </a:cubicBezTo>
                <a:cubicBezTo>
                  <a:pt x="1418" y="805"/>
                  <a:pt x="1418" y="806"/>
                  <a:pt x="1419" y="807"/>
                </a:cubicBezTo>
                <a:cubicBezTo>
                  <a:pt x="1421" y="811"/>
                  <a:pt x="1421" y="816"/>
                  <a:pt x="1423" y="820"/>
                </a:cubicBezTo>
                <a:cubicBezTo>
                  <a:pt x="1423" y="821"/>
                  <a:pt x="1424" y="823"/>
                  <a:pt x="1425" y="824"/>
                </a:cubicBezTo>
                <a:cubicBezTo>
                  <a:pt x="1425" y="826"/>
                  <a:pt x="1427" y="826"/>
                  <a:pt x="1428" y="826"/>
                </a:cubicBezTo>
                <a:cubicBezTo>
                  <a:pt x="1430" y="826"/>
                  <a:pt x="1431" y="826"/>
                  <a:pt x="1433" y="826"/>
                </a:cubicBezTo>
                <a:cubicBezTo>
                  <a:pt x="1435" y="826"/>
                  <a:pt x="1437" y="825"/>
                  <a:pt x="1438" y="824"/>
                </a:cubicBezTo>
                <a:cubicBezTo>
                  <a:pt x="1440" y="821"/>
                  <a:pt x="1442" y="821"/>
                  <a:pt x="1445" y="821"/>
                </a:cubicBezTo>
                <a:cubicBezTo>
                  <a:pt x="1448" y="821"/>
                  <a:pt x="1451" y="821"/>
                  <a:pt x="1454" y="819"/>
                </a:cubicBezTo>
                <a:cubicBezTo>
                  <a:pt x="1456" y="818"/>
                  <a:pt x="1458" y="817"/>
                  <a:pt x="1460" y="817"/>
                </a:cubicBezTo>
                <a:cubicBezTo>
                  <a:pt x="1462" y="817"/>
                  <a:pt x="1463" y="816"/>
                  <a:pt x="1464" y="815"/>
                </a:cubicBezTo>
                <a:cubicBezTo>
                  <a:pt x="1466" y="813"/>
                  <a:pt x="1468" y="812"/>
                  <a:pt x="1470" y="811"/>
                </a:cubicBezTo>
                <a:cubicBezTo>
                  <a:pt x="1473" y="810"/>
                  <a:pt x="1476" y="810"/>
                  <a:pt x="1479" y="808"/>
                </a:cubicBezTo>
                <a:cubicBezTo>
                  <a:pt x="1481" y="808"/>
                  <a:pt x="1483" y="806"/>
                  <a:pt x="1486" y="805"/>
                </a:cubicBezTo>
                <a:cubicBezTo>
                  <a:pt x="1487" y="805"/>
                  <a:pt x="1488" y="804"/>
                  <a:pt x="1488" y="803"/>
                </a:cubicBezTo>
                <a:cubicBezTo>
                  <a:pt x="1489" y="800"/>
                  <a:pt x="1491" y="798"/>
                  <a:pt x="1493" y="797"/>
                </a:cubicBezTo>
                <a:cubicBezTo>
                  <a:pt x="1497" y="796"/>
                  <a:pt x="1500" y="795"/>
                  <a:pt x="1504" y="795"/>
                </a:cubicBezTo>
                <a:cubicBezTo>
                  <a:pt x="1507" y="794"/>
                  <a:pt x="1509" y="793"/>
                  <a:pt x="1509" y="790"/>
                </a:cubicBezTo>
                <a:cubicBezTo>
                  <a:pt x="1510" y="789"/>
                  <a:pt x="1510" y="788"/>
                  <a:pt x="1512" y="788"/>
                </a:cubicBezTo>
                <a:cubicBezTo>
                  <a:pt x="1515" y="787"/>
                  <a:pt x="1517" y="786"/>
                  <a:pt x="1518" y="782"/>
                </a:cubicBezTo>
                <a:cubicBezTo>
                  <a:pt x="1519" y="781"/>
                  <a:pt x="1520" y="780"/>
                  <a:pt x="1522" y="780"/>
                </a:cubicBezTo>
                <a:cubicBezTo>
                  <a:pt x="1523" y="779"/>
                  <a:pt x="1524" y="779"/>
                  <a:pt x="1525" y="779"/>
                </a:cubicBezTo>
                <a:cubicBezTo>
                  <a:pt x="1526" y="778"/>
                  <a:pt x="1526" y="777"/>
                  <a:pt x="1526" y="777"/>
                </a:cubicBezTo>
                <a:cubicBezTo>
                  <a:pt x="1527" y="775"/>
                  <a:pt x="1526" y="773"/>
                  <a:pt x="1527" y="771"/>
                </a:cubicBezTo>
                <a:cubicBezTo>
                  <a:pt x="1527" y="770"/>
                  <a:pt x="1527" y="769"/>
                  <a:pt x="1529" y="768"/>
                </a:cubicBezTo>
                <a:cubicBezTo>
                  <a:pt x="1533" y="765"/>
                  <a:pt x="1536" y="761"/>
                  <a:pt x="1538" y="756"/>
                </a:cubicBezTo>
                <a:cubicBezTo>
                  <a:pt x="1539" y="754"/>
                  <a:pt x="1539" y="752"/>
                  <a:pt x="1536" y="750"/>
                </a:cubicBezTo>
                <a:cubicBezTo>
                  <a:pt x="1535" y="748"/>
                  <a:pt x="1533" y="746"/>
                  <a:pt x="1532" y="744"/>
                </a:cubicBezTo>
                <a:cubicBezTo>
                  <a:pt x="1531" y="743"/>
                  <a:pt x="1530" y="742"/>
                  <a:pt x="1528" y="741"/>
                </a:cubicBezTo>
                <a:cubicBezTo>
                  <a:pt x="1525" y="741"/>
                  <a:pt x="1523" y="741"/>
                  <a:pt x="1521" y="740"/>
                </a:cubicBezTo>
                <a:cubicBezTo>
                  <a:pt x="1520" y="740"/>
                  <a:pt x="1518" y="739"/>
                  <a:pt x="1517" y="738"/>
                </a:cubicBezTo>
                <a:cubicBezTo>
                  <a:pt x="1515" y="736"/>
                  <a:pt x="1513" y="734"/>
                  <a:pt x="1513" y="731"/>
                </a:cubicBezTo>
                <a:cubicBezTo>
                  <a:pt x="1513" y="728"/>
                  <a:pt x="1512" y="725"/>
                  <a:pt x="1512" y="723"/>
                </a:cubicBezTo>
                <a:cubicBezTo>
                  <a:pt x="1512" y="723"/>
                  <a:pt x="1512" y="722"/>
                  <a:pt x="1512" y="722"/>
                </a:cubicBezTo>
                <a:cubicBezTo>
                  <a:pt x="1511" y="722"/>
                  <a:pt x="1510" y="722"/>
                  <a:pt x="1510" y="723"/>
                </a:cubicBezTo>
                <a:cubicBezTo>
                  <a:pt x="1507" y="726"/>
                  <a:pt x="1503" y="730"/>
                  <a:pt x="1500" y="734"/>
                </a:cubicBezTo>
                <a:cubicBezTo>
                  <a:pt x="1498" y="737"/>
                  <a:pt x="1495" y="739"/>
                  <a:pt x="1492" y="738"/>
                </a:cubicBezTo>
                <a:cubicBezTo>
                  <a:pt x="1489" y="738"/>
                  <a:pt x="1486" y="738"/>
                  <a:pt x="1483" y="739"/>
                </a:cubicBezTo>
                <a:cubicBezTo>
                  <a:pt x="1482" y="740"/>
                  <a:pt x="1481" y="739"/>
                  <a:pt x="1480" y="738"/>
                </a:cubicBezTo>
                <a:cubicBezTo>
                  <a:pt x="1479" y="737"/>
                  <a:pt x="1478" y="736"/>
                  <a:pt x="1478" y="735"/>
                </a:cubicBezTo>
                <a:cubicBezTo>
                  <a:pt x="1478" y="732"/>
                  <a:pt x="1477" y="729"/>
                  <a:pt x="1477" y="726"/>
                </a:cubicBezTo>
                <a:cubicBezTo>
                  <a:pt x="1477" y="725"/>
                  <a:pt x="1477" y="725"/>
                  <a:pt x="1476" y="724"/>
                </a:cubicBezTo>
                <a:cubicBezTo>
                  <a:pt x="1476" y="724"/>
                  <a:pt x="1476" y="723"/>
                  <a:pt x="1475" y="723"/>
                </a:cubicBezTo>
                <a:cubicBezTo>
                  <a:pt x="1475" y="723"/>
                  <a:pt x="1474" y="724"/>
                  <a:pt x="1474" y="724"/>
                </a:cubicBezTo>
                <a:cubicBezTo>
                  <a:pt x="1473" y="725"/>
                  <a:pt x="1473" y="726"/>
                  <a:pt x="1472" y="727"/>
                </a:cubicBezTo>
                <a:cubicBezTo>
                  <a:pt x="1471" y="728"/>
                  <a:pt x="1470" y="728"/>
                  <a:pt x="1469" y="727"/>
                </a:cubicBezTo>
                <a:cubicBezTo>
                  <a:pt x="1468" y="726"/>
                  <a:pt x="1467" y="724"/>
                  <a:pt x="1467" y="722"/>
                </a:cubicBezTo>
                <a:cubicBezTo>
                  <a:pt x="1467" y="719"/>
                  <a:pt x="1465" y="717"/>
                  <a:pt x="1463" y="715"/>
                </a:cubicBezTo>
                <a:cubicBezTo>
                  <a:pt x="1462" y="713"/>
                  <a:pt x="1460" y="712"/>
                  <a:pt x="1459" y="710"/>
                </a:cubicBezTo>
                <a:cubicBezTo>
                  <a:pt x="1458" y="710"/>
                  <a:pt x="1457" y="709"/>
                  <a:pt x="1457" y="709"/>
                </a:cubicBezTo>
                <a:cubicBezTo>
                  <a:pt x="1455" y="706"/>
                  <a:pt x="1453" y="703"/>
                  <a:pt x="1452" y="700"/>
                </a:cubicBezTo>
                <a:cubicBezTo>
                  <a:pt x="1451" y="699"/>
                  <a:pt x="1452" y="698"/>
                  <a:pt x="1452" y="697"/>
                </a:cubicBezTo>
                <a:cubicBezTo>
                  <a:pt x="1452" y="696"/>
                  <a:pt x="1452" y="695"/>
                  <a:pt x="1452" y="694"/>
                </a:cubicBezTo>
                <a:cubicBezTo>
                  <a:pt x="1453" y="693"/>
                  <a:pt x="1453" y="693"/>
                  <a:pt x="1454" y="693"/>
                </a:cubicBezTo>
                <a:cubicBezTo>
                  <a:pt x="1455" y="692"/>
                  <a:pt x="1457" y="692"/>
                  <a:pt x="1459" y="692"/>
                </a:cubicBezTo>
                <a:cubicBezTo>
                  <a:pt x="1460" y="692"/>
                  <a:pt x="1462" y="692"/>
                  <a:pt x="1464" y="693"/>
                </a:cubicBezTo>
                <a:cubicBezTo>
                  <a:pt x="1465" y="694"/>
                  <a:pt x="1465" y="695"/>
                  <a:pt x="1466" y="696"/>
                </a:cubicBezTo>
                <a:cubicBezTo>
                  <a:pt x="1468" y="700"/>
                  <a:pt x="1471" y="703"/>
                  <a:pt x="1473" y="707"/>
                </a:cubicBezTo>
                <a:cubicBezTo>
                  <a:pt x="1474" y="708"/>
                  <a:pt x="1475" y="709"/>
                  <a:pt x="1477" y="710"/>
                </a:cubicBezTo>
                <a:cubicBezTo>
                  <a:pt x="1478" y="710"/>
                  <a:pt x="1478" y="710"/>
                  <a:pt x="1479" y="710"/>
                </a:cubicBezTo>
                <a:cubicBezTo>
                  <a:pt x="1481" y="711"/>
                  <a:pt x="1483" y="712"/>
                  <a:pt x="1484" y="713"/>
                </a:cubicBezTo>
                <a:cubicBezTo>
                  <a:pt x="1485" y="715"/>
                  <a:pt x="1487" y="715"/>
                  <a:pt x="1488" y="716"/>
                </a:cubicBezTo>
                <a:cubicBezTo>
                  <a:pt x="1491" y="718"/>
                  <a:pt x="1495" y="719"/>
                  <a:pt x="1499" y="720"/>
                </a:cubicBezTo>
                <a:cubicBezTo>
                  <a:pt x="1500" y="720"/>
                  <a:pt x="1501" y="720"/>
                  <a:pt x="1503" y="719"/>
                </a:cubicBezTo>
                <a:cubicBezTo>
                  <a:pt x="1505" y="718"/>
                  <a:pt x="1507" y="717"/>
                  <a:pt x="1509" y="716"/>
                </a:cubicBezTo>
                <a:cubicBezTo>
                  <a:pt x="1512" y="715"/>
                  <a:pt x="1514" y="716"/>
                  <a:pt x="1515" y="718"/>
                </a:cubicBezTo>
                <a:cubicBezTo>
                  <a:pt x="1516" y="720"/>
                  <a:pt x="1517" y="722"/>
                  <a:pt x="1517" y="724"/>
                </a:cubicBezTo>
                <a:cubicBezTo>
                  <a:pt x="1518" y="726"/>
                  <a:pt x="1520" y="726"/>
                  <a:pt x="1521" y="727"/>
                </a:cubicBezTo>
                <a:cubicBezTo>
                  <a:pt x="1530" y="727"/>
                  <a:pt x="1538" y="729"/>
                  <a:pt x="1546" y="730"/>
                </a:cubicBezTo>
                <a:cubicBezTo>
                  <a:pt x="1549" y="731"/>
                  <a:pt x="1551" y="731"/>
                  <a:pt x="1554" y="731"/>
                </a:cubicBezTo>
                <a:cubicBezTo>
                  <a:pt x="1559" y="730"/>
                  <a:pt x="1564" y="729"/>
                  <a:pt x="1569" y="730"/>
                </a:cubicBezTo>
                <a:cubicBezTo>
                  <a:pt x="1570" y="730"/>
                  <a:pt x="1571" y="730"/>
                  <a:pt x="1572" y="729"/>
                </a:cubicBezTo>
                <a:cubicBezTo>
                  <a:pt x="1576" y="728"/>
                  <a:pt x="1579" y="728"/>
                  <a:pt x="1583" y="728"/>
                </a:cubicBezTo>
                <a:cubicBezTo>
                  <a:pt x="1584" y="728"/>
                  <a:pt x="1585" y="729"/>
                  <a:pt x="1586" y="730"/>
                </a:cubicBezTo>
                <a:cubicBezTo>
                  <a:pt x="1586" y="731"/>
                  <a:pt x="1587" y="732"/>
                  <a:pt x="1588" y="733"/>
                </a:cubicBezTo>
                <a:cubicBezTo>
                  <a:pt x="1589" y="733"/>
                  <a:pt x="1590" y="735"/>
                  <a:pt x="1590" y="736"/>
                </a:cubicBezTo>
                <a:cubicBezTo>
                  <a:pt x="1591" y="739"/>
                  <a:pt x="1593" y="741"/>
                  <a:pt x="1596" y="741"/>
                </a:cubicBezTo>
                <a:cubicBezTo>
                  <a:pt x="1598" y="741"/>
                  <a:pt x="1599" y="743"/>
                  <a:pt x="1601" y="745"/>
                </a:cubicBezTo>
                <a:cubicBezTo>
                  <a:pt x="1603" y="748"/>
                  <a:pt x="1606" y="749"/>
                  <a:pt x="1610" y="749"/>
                </a:cubicBezTo>
                <a:cubicBezTo>
                  <a:pt x="1610" y="749"/>
                  <a:pt x="1611" y="749"/>
                  <a:pt x="1612" y="749"/>
                </a:cubicBezTo>
                <a:cubicBezTo>
                  <a:pt x="1612" y="749"/>
                  <a:pt x="1612" y="749"/>
                  <a:pt x="1612" y="749"/>
                </a:cubicBezTo>
                <a:cubicBezTo>
                  <a:pt x="1612" y="749"/>
                  <a:pt x="1612" y="749"/>
                  <a:pt x="1612" y="749"/>
                </a:cubicBezTo>
                <a:cubicBezTo>
                  <a:pt x="1612" y="749"/>
                  <a:pt x="1612" y="749"/>
                  <a:pt x="1612" y="749"/>
                </a:cubicBezTo>
                <a:cubicBezTo>
                  <a:pt x="1612" y="749"/>
                  <a:pt x="1612" y="749"/>
                  <a:pt x="1612" y="749"/>
                </a:cubicBezTo>
                <a:cubicBezTo>
                  <a:pt x="1611" y="751"/>
                  <a:pt x="1609" y="752"/>
                  <a:pt x="1606" y="751"/>
                </a:cubicBezTo>
                <a:cubicBezTo>
                  <a:pt x="1606" y="751"/>
                  <a:pt x="1605" y="752"/>
                  <a:pt x="1605" y="752"/>
                </a:cubicBezTo>
                <a:cubicBezTo>
                  <a:pt x="1605" y="752"/>
                  <a:pt x="1605" y="753"/>
                  <a:pt x="1605" y="753"/>
                </a:cubicBezTo>
                <a:cubicBezTo>
                  <a:pt x="1608" y="756"/>
                  <a:pt x="1610" y="759"/>
                  <a:pt x="1613" y="761"/>
                </a:cubicBezTo>
                <a:cubicBezTo>
                  <a:pt x="1618" y="766"/>
                  <a:pt x="1620" y="766"/>
                  <a:pt x="1626" y="762"/>
                </a:cubicBezTo>
                <a:cubicBezTo>
                  <a:pt x="1628" y="761"/>
                  <a:pt x="1630" y="759"/>
                  <a:pt x="1630" y="756"/>
                </a:cubicBezTo>
                <a:cubicBezTo>
                  <a:pt x="1630" y="756"/>
                  <a:pt x="1630" y="756"/>
                  <a:pt x="1630" y="756"/>
                </a:cubicBezTo>
                <a:cubicBezTo>
                  <a:pt x="1630" y="756"/>
                  <a:pt x="1630" y="756"/>
                  <a:pt x="1630" y="756"/>
                </a:cubicBezTo>
                <a:cubicBezTo>
                  <a:pt x="1630" y="756"/>
                  <a:pt x="1630" y="756"/>
                  <a:pt x="1630" y="756"/>
                </a:cubicBezTo>
                <a:cubicBezTo>
                  <a:pt x="1630" y="756"/>
                  <a:pt x="1630" y="756"/>
                  <a:pt x="1630" y="756"/>
                </a:cubicBezTo>
                <a:cubicBezTo>
                  <a:pt x="1630" y="756"/>
                  <a:pt x="1630" y="757"/>
                  <a:pt x="1630" y="757"/>
                </a:cubicBezTo>
                <a:cubicBezTo>
                  <a:pt x="1632" y="761"/>
                  <a:pt x="1633" y="764"/>
                  <a:pt x="1633" y="768"/>
                </a:cubicBezTo>
                <a:cubicBezTo>
                  <a:pt x="1633" y="770"/>
                  <a:pt x="1633" y="772"/>
                  <a:pt x="1633" y="774"/>
                </a:cubicBezTo>
                <a:cubicBezTo>
                  <a:pt x="1635" y="778"/>
                  <a:pt x="1636" y="782"/>
                  <a:pt x="1637" y="786"/>
                </a:cubicBezTo>
                <a:cubicBezTo>
                  <a:pt x="1638" y="791"/>
                  <a:pt x="1640" y="794"/>
                  <a:pt x="1640" y="799"/>
                </a:cubicBezTo>
                <a:cubicBezTo>
                  <a:pt x="1640" y="800"/>
                  <a:pt x="1641" y="800"/>
                  <a:pt x="1641" y="801"/>
                </a:cubicBezTo>
                <a:cubicBezTo>
                  <a:pt x="1643" y="804"/>
                  <a:pt x="1644" y="806"/>
                  <a:pt x="1646" y="809"/>
                </a:cubicBezTo>
                <a:cubicBezTo>
                  <a:pt x="1648" y="812"/>
                  <a:pt x="1649" y="815"/>
                  <a:pt x="1650" y="818"/>
                </a:cubicBezTo>
                <a:cubicBezTo>
                  <a:pt x="1651" y="820"/>
                  <a:pt x="1651" y="822"/>
                  <a:pt x="1652" y="823"/>
                </a:cubicBezTo>
                <a:cubicBezTo>
                  <a:pt x="1653" y="827"/>
                  <a:pt x="1654" y="830"/>
                  <a:pt x="1657" y="832"/>
                </a:cubicBezTo>
                <a:cubicBezTo>
                  <a:pt x="1658" y="834"/>
                  <a:pt x="1659" y="836"/>
                  <a:pt x="1660" y="837"/>
                </a:cubicBezTo>
                <a:cubicBezTo>
                  <a:pt x="1662" y="841"/>
                  <a:pt x="1664" y="845"/>
                  <a:pt x="1665" y="850"/>
                </a:cubicBezTo>
                <a:cubicBezTo>
                  <a:pt x="1665" y="852"/>
                  <a:pt x="1666" y="855"/>
                  <a:pt x="1668" y="857"/>
                </a:cubicBezTo>
                <a:cubicBezTo>
                  <a:pt x="1669" y="858"/>
                  <a:pt x="1669" y="858"/>
                  <a:pt x="1670" y="859"/>
                </a:cubicBezTo>
                <a:cubicBezTo>
                  <a:pt x="1672" y="861"/>
                  <a:pt x="1676" y="861"/>
                  <a:pt x="1677" y="858"/>
                </a:cubicBezTo>
                <a:cubicBezTo>
                  <a:pt x="1678" y="858"/>
                  <a:pt x="1678" y="857"/>
                  <a:pt x="1679" y="856"/>
                </a:cubicBezTo>
                <a:cubicBezTo>
                  <a:pt x="1679" y="855"/>
                  <a:pt x="1680" y="854"/>
                  <a:pt x="1682" y="853"/>
                </a:cubicBezTo>
                <a:cubicBezTo>
                  <a:pt x="1683" y="852"/>
                  <a:pt x="1684" y="851"/>
                  <a:pt x="1685" y="849"/>
                </a:cubicBezTo>
                <a:cubicBezTo>
                  <a:pt x="1686" y="847"/>
                  <a:pt x="1687" y="845"/>
                  <a:pt x="1689" y="844"/>
                </a:cubicBezTo>
                <a:cubicBezTo>
                  <a:pt x="1691" y="843"/>
                  <a:pt x="1691" y="842"/>
                  <a:pt x="1691" y="840"/>
                </a:cubicBezTo>
                <a:cubicBezTo>
                  <a:pt x="1691" y="839"/>
                  <a:pt x="1690" y="837"/>
                  <a:pt x="1690" y="836"/>
                </a:cubicBezTo>
                <a:cubicBezTo>
                  <a:pt x="1690" y="834"/>
                  <a:pt x="1690" y="832"/>
                  <a:pt x="1691" y="831"/>
                </a:cubicBezTo>
                <a:cubicBezTo>
                  <a:pt x="1691" y="830"/>
                  <a:pt x="1691" y="829"/>
                  <a:pt x="1692" y="828"/>
                </a:cubicBezTo>
                <a:cubicBezTo>
                  <a:pt x="1693" y="825"/>
                  <a:pt x="1693" y="823"/>
                  <a:pt x="1692" y="820"/>
                </a:cubicBezTo>
                <a:cubicBezTo>
                  <a:pt x="1691" y="819"/>
                  <a:pt x="1691" y="817"/>
                  <a:pt x="1691" y="816"/>
                </a:cubicBezTo>
                <a:cubicBezTo>
                  <a:pt x="1691" y="813"/>
                  <a:pt x="1691" y="809"/>
                  <a:pt x="1691" y="806"/>
                </a:cubicBezTo>
                <a:cubicBezTo>
                  <a:pt x="1691" y="804"/>
                  <a:pt x="1692" y="803"/>
                  <a:pt x="1694" y="802"/>
                </a:cubicBezTo>
                <a:cubicBezTo>
                  <a:pt x="1695" y="802"/>
                  <a:pt x="1696" y="802"/>
                  <a:pt x="1697" y="802"/>
                </a:cubicBezTo>
                <a:cubicBezTo>
                  <a:pt x="1698" y="799"/>
                  <a:pt x="1701" y="798"/>
                  <a:pt x="1703" y="797"/>
                </a:cubicBezTo>
                <a:cubicBezTo>
                  <a:pt x="1704" y="797"/>
                  <a:pt x="1705" y="796"/>
                  <a:pt x="1705" y="795"/>
                </a:cubicBezTo>
                <a:cubicBezTo>
                  <a:pt x="1706" y="793"/>
                  <a:pt x="1706" y="792"/>
                  <a:pt x="1707" y="791"/>
                </a:cubicBezTo>
                <a:cubicBezTo>
                  <a:pt x="1711" y="789"/>
                  <a:pt x="1713" y="785"/>
                  <a:pt x="1716" y="783"/>
                </a:cubicBezTo>
                <a:cubicBezTo>
                  <a:pt x="1718" y="782"/>
                  <a:pt x="1719" y="781"/>
                  <a:pt x="1720" y="779"/>
                </a:cubicBezTo>
                <a:cubicBezTo>
                  <a:pt x="1721" y="777"/>
                  <a:pt x="1722" y="776"/>
                  <a:pt x="1724" y="774"/>
                </a:cubicBezTo>
                <a:cubicBezTo>
                  <a:pt x="1725" y="773"/>
                  <a:pt x="1726" y="773"/>
                  <a:pt x="1727" y="772"/>
                </a:cubicBezTo>
                <a:cubicBezTo>
                  <a:pt x="1732" y="770"/>
                  <a:pt x="1735" y="766"/>
                  <a:pt x="1735" y="761"/>
                </a:cubicBezTo>
                <a:cubicBezTo>
                  <a:pt x="1735" y="759"/>
                  <a:pt x="1737" y="758"/>
                  <a:pt x="1738" y="757"/>
                </a:cubicBezTo>
                <a:cubicBezTo>
                  <a:pt x="1740" y="756"/>
                  <a:pt x="1742" y="756"/>
                  <a:pt x="1745" y="756"/>
                </a:cubicBezTo>
                <a:cubicBezTo>
                  <a:pt x="1750" y="756"/>
                  <a:pt x="1755" y="755"/>
                  <a:pt x="1760" y="752"/>
                </a:cubicBezTo>
                <a:cubicBezTo>
                  <a:pt x="1761" y="751"/>
                  <a:pt x="1764" y="751"/>
                  <a:pt x="1766" y="749"/>
                </a:cubicBezTo>
                <a:cubicBezTo>
                  <a:pt x="1766" y="749"/>
                  <a:pt x="1767" y="749"/>
                  <a:pt x="1767" y="750"/>
                </a:cubicBezTo>
                <a:cubicBezTo>
                  <a:pt x="1768" y="751"/>
                  <a:pt x="1768" y="753"/>
                  <a:pt x="1769" y="755"/>
                </a:cubicBezTo>
                <a:cubicBezTo>
                  <a:pt x="1771" y="761"/>
                  <a:pt x="1774" y="765"/>
                  <a:pt x="1779" y="768"/>
                </a:cubicBezTo>
                <a:cubicBezTo>
                  <a:pt x="1780" y="768"/>
                  <a:pt x="1781" y="769"/>
                  <a:pt x="1782" y="769"/>
                </a:cubicBezTo>
                <a:cubicBezTo>
                  <a:pt x="1783" y="770"/>
                  <a:pt x="1783" y="771"/>
                  <a:pt x="1783" y="773"/>
                </a:cubicBezTo>
                <a:cubicBezTo>
                  <a:pt x="1782" y="776"/>
                  <a:pt x="1783" y="776"/>
                  <a:pt x="1785" y="778"/>
                </a:cubicBezTo>
                <a:cubicBezTo>
                  <a:pt x="1787" y="778"/>
                  <a:pt x="1788" y="779"/>
                  <a:pt x="1789" y="781"/>
                </a:cubicBezTo>
                <a:cubicBezTo>
                  <a:pt x="1789" y="781"/>
                  <a:pt x="1789" y="781"/>
                  <a:pt x="1789" y="782"/>
                </a:cubicBezTo>
                <a:cubicBezTo>
                  <a:pt x="1791" y="785"/>
                  <a:pt x="1792" y="789"/>
                  <a:pt x="1791" y="793"/>
                </a:cubicBezTo>
                <a:cubicBezTo>
                  <a:pt x="1790" y="795"/>
                  <a:pt x="1791" y="796"/>
                  <a:pt x="1791" y="798"/>
                </a:cubicBezTo>
                <a:cubicBezTo>
                  <a:pt x="1791" y="799"/>
                  <a:pt x="1793" y="801"/>
                  <a:pt x="1794" y="801"/>
                </a:cubicBezTo>
                <a:cubicBezTo>
                  <a:pt x="1797" y="800"/>
                  <a:pt x="1800" y="800"/>
                  <a:pt x="1803" y="798"/>
                </a:cubicBezTo>
                <a:cubicBezTo>
                  <a:pt x="1805" y="797"/>
                  <a:pt x="1807" y="795"/>
                  <a:pt x="1809" y="794"/>
                </a:cubicBezTo>
                <a:close/>
                <a:moveTo>
                  <a:pt x="1960" y="668"/>
                </a:moveTo>
                <a:cubicBezTo>
                  <a:pt x="1961" y="668"/>
                  <a:pt x="1961" y="668"/>
                  <a:pt x="1961" y="669"/>
                </a:cubicBezTo>
                <a:cubicBezTo>
                  <a:pt x="1961" y="669"/>
                  <a:pt x="1961" y="669"/>
                  <a:pt x="1961" y="670"/>
                </a:cubicBezTo>
                <a:cubicBezTo>
                  <a:pt x="1961" y="670"/>
                  <a:pt x="1961" y="670"/>
                  <a:pt x="1961" y="670"/>
                </a:cubicBezTo>
                <a:cubicBezTo>
                  <a:pt x="1961" y="670"/>
                  <a:pt x="1961" y="670"/>
                  <a:pt x="1961" y="670"/>
                </a:cubicBezTo>
                <a:cubicBezTo>
                  <a:pt x="1961" y="670"/>
                  <a:pt x="1961" y="670"/>
                  <a:pt x="1961" y="670"/>
                </a:cubicBezTo>
                <a:cubicBezTo>
                  <a:pt x="1961" y="670"/>
                  <a:pt x="1961" y="670"/>
                  <a:pt x="1961" y="670"/>
                </a:cubicBezTo>
                <a:cubicBezTo>
                  <a:pt x="1960" y="670"/>
                  <a:pt x="1960" y="669"/>
                  <a:pt x="1960" y="669"/>
                </a:cubicBezTo>
                <a:cubicBezTo>
                  <a:pt x="1959" y="669"/>
                  <a:pt x="1960" y="668"/>
                  <a:pt x="1960" y="668"/>
                </a:cubicBezTo>
                <a:close/>
                <a:moveTo>
                  <a:pt x="1945" y="649"/>
                </a:moveTo>
                <a:cubicBezTo>
                  <a:pt x="1946" y="650"/>
                  <a:pt x="1946" y="650"/>
                  <a:pt x="1946" y="650"/>
                </a:cubicBezTo>
                <a:cubicBezTo>
                  <a:pt x="1946" y="650"/>
                  <a:pt x="1946" y="650"/>
                  <a:pt x="1945" y="650"/>
                </a:cubicBezTo>
                <a:cubicBezTo>
                  <a:pt x="1945" y="650"/>
                  <a:pt x="1945" y="650"/>
                  <a:pt x="1945" y="650"/>
                </a:cubicBezTo>
                <a:cubicBezTo>
                  <a:pt x="1944" y="650"/>
                  <a:pt x="1945" y="649"/>
                  <a:pt x="1945" y="649"/>
                </a:cubicBezTo>
                <a:close/>
                <a:moveTo>
                  <a:pt x="1937" y="689"/>
                </a:moveTo>
                <a:cubicBezTo>
                  <a:pt x="1937" y="689"/>
                  <a:pt x="1937" y="689"/>
                  <a:pt x="1937" y="689"/>
                </a:cubicBezTo>
                <a:cubicBezTo>
                  <a:pt x="1938" y="689"/>
                  <a:pt x="1938" y="690"/>
                  <a:pt x="1938" y="691"/>
                </a:cubicBezTo>
                <a:cubicBezTo>
                  <a:pt x="1938" y="691"/>
                  <a:pt x="1937" y="691"/>
                  <a:pt x="1937" y="691"/>
                </a:cubicBezTo>
                <a:cubicBezTo>
                  <a:pt x="1937" y="690"/>
                  <a:pt x="1937" y="690"/>
                  <a:pt x="1936" y="689"/>
                </a:cubicBezTo>
                <a:cubicBezTo>
                  <a:pt x="1936" y="689"/>
                  <a:pt x="1937" y="689"/>
                  <a:pt x="1937" y="689"/>
                </a:cubicBezTo>
                <a:close/>
                <a:moveTo>
                  <a:pt x="2013" y="521"/>
                </a:moveTo>
                <a:cubicBezTo>
                  <a:pt x="2013" y="521"/>
                  <a:pt x="2015" y="522"/>
                  <a:pt x="2015" y="522"/>
                </a:cubicBezTo>
                <a:cubicBezTo>
                  <a:pt x="2015" y="523"/>
                  <a:pt x="2015" y="524"/>
                  <a:pt x="2015" y="525"/>
                </a:cubicBezTo>
                <a:cubicBezTo>
                  <a:pt x="2015" y="525"/>
                  <a:pt x="2014" y="526"/>
                  <a:pt x="2014" y="527"/>
                </a:cubicBezTo>
                <a:cubicBezTo>
                  <a:pt x="2014" y="527"/>
                  <a:pt x="2013" y="527"/>
                  <a:pt x="2013" y="527"/>
                </a:cubicBezTo>
                <a:cubicBezTo>
                  <a:pt x="2012" y="526"/>
                  <a:pt x="2011" y="525"/>
                  <a:pt x="2011" y="523"/>
                </a:cubicBezTo>
                <a:cubicBezTo>
                  <a:pt x="2011" y="522"/>
                  <a:pt x="2012" y="521"/>
                  <a:pt x="2013" y="521"/>
                </a:cubicBezTo>
                <a:close/>
                <a:moveTo>
                  <a:pt x="2168" y="194"/>
                </a:moveTo>
                <a:cubicBezTo>
                  <a:pt x="2169" y="194"/>
                  <a:pt x="2170" y="193"/>
                  <a:pt x="2171" y="193"/>
                </a:cubicBezTo>
                <a:cubicBezTo>
                  <a:pt x="2171" y="193"/>
                  <a:pt x="2172" y="193"/>
                  <a:pt x="2172" y="193"/>
                </a:cubicBezTo>
                <a:cubicBezTo>
                  <a:pt x="2172" y="194"/>
                  <a:pt x="2172" y="194"/>
                  <a:pt x="2172" y="194"/>
                </a:cubicBezTo>
                <a:cubicBezTo>
                  <a:pt x="2171" y="195"/>
                  <a:pt x="2170" y="196"/>
                  <a:pt x="2169" y="196"/>
                </a:cubicBezTo>
                <a:cubicBezTo>
                  <a:pt x="2169" y="196"/>
                  <a:pt x="2168" y="196"/>
                  <a:pt x="2167" y="195"/>
                </a:cubicBezTo>
                <a:cubicBezTo>
                  <a:pt x="2167" y="194"/>
                  <a:pt x="2167" y="194"/>
                  <a:pt x="2168" y="194"/>
                </a:cubicBezTo>
                <a:close/>
                <a:moveTo>
                  <a:pt x="2021" y="143"/>
                </a:moveTo>
                <a:cubicBezTo>
                  <a:pt x="2021" y="143"/>
                  <a:pt x="2021" y="143"/>
                  <a:pt x="2021" y="143"/>
                </a:cubicBezTo>
                <a:cubicBezTo>
                  <a:pt x="2022" y="143"/>
                  <a:pt x="2022" y="143"/>
                  <a:pt x="2022" y="144"/>
                </a:cubicBezTo>
                <a:cubicBezTo>
                  <a:pt x="2022" y="144"/>
                  <a:pt x="2022" y="144"/>
                  <a:pt x="2022" y="144"/>
                </a:cubicBezTo>
                <a:cubicBezTo>
                  <a:pt x="2021" y="144"/>
                  <a:pt x="2021" y="143"/>
                  <a:pt x="2021" y="143"/>
                </a:cubicBezTo>
                <a:cubicBezTo>
                  <a:pt x="2021" y="143"/>
                  <a:pt x="2021" y="143"/>
                  <a:pt x="2021" y="143"/>
                </a:cubicBezTo>
                <a:cubicBezTo>
                  <a:pt x="2020" y="143"/>
                  <a:pt x="2020" y="143"/>
                  <a:pt x="2020" y="142"/>
                </a:cubicBezTo>
                <a:cubicBezTo>
                  <a:pt x="2020" y="142"/>
                  <a:pt x="2021" y="143"/>
                  <a:pt x="2021" y="143"/>
                </a:cubicBezTo>
                <a:close/>
                <a:moveTo>
                  <a:pt x="1942" y="418"/>
                </a:moveTo>
                <a:cubicBezTo>
                  <a:pt x="1942" y="417"/>
                  <a:pt x="1942" y="417"/>
                  <a:pt x="1942" y="417"/>
                </a:cubicBezTo>
                <a:cubicBezTo>
                  <a:pt x="1943" y="417"/>
                  <a:pt x="1943" y="417"/>
                  <a:pt x="1943" y="417"/>
                </a:cubicBezTo>
                <a:cubicBezTo>
                  <a:pt x="1943" y="417"/>
                  <a:pt x="1943" y="417"/>
                  <a:pt x="1943" y="417"/>
                </a:cubicBezTo>
                <a:cubicBezTo>
                  <a:pt x="1943" y="417"/>
                  <a:pt x="1943" y="417"/>
                  <a:pt x="1942" y="417"/>
                </a:cubicBezTo>
                <a:cubicBezTo>
                  <a:pt x="1942" y="418"/>
                  <a:pt x="1942" y="418"/>
                  <a:pt x="1942" y="418"/>
                </a:cubicBezTo>
                <a:cubicBezTo>
                  <a:pt x="1941" y="418"/>
                  <a:pt x="1941" y="418"/>
                  <a:pt x="1941" y="418"/>
                </a:cubicBezTo>
                <a:lnTo>
                  <a:pt x="1942" y="418"/>
                </a:lnTo>
                <a:close/>
                <a:moveTo>
                  <a:pt x="1907" y="691"/>
                </a:moveTo>
                <a:cubicBezTo>
                  <a:pt x="1907" y="691"/>
                  <a:pt x="1907" y="691"/>
                  <a:pt x="1907" y="691"/>
                </a:cubicBezTo>
                <a:cubicBezTo>
                  <a:pt x="1908" y="691"/>
                  <a:pt x="1909" y="691"/>
                  <a:pt x="1910" y="690"/>
                </a:cubicBezTo>
                <a:cubicBezTo>
                  <a:pt x="1911" y="690"/>
                  <a:pt x="1911" y="690"/>
                  <a:pt x="1911" y="691"/>
                </a:cubicBezTo>
                <a:cubicBezTo>
                  <a:pt x="1911" y="691"/>
                  <a:pt x="1911" y="692"/>
                  <a:pt x="1910" y="692"/>
                </a:cubicBezTo>
                <a:cubicBezTo>
                  <a:pt x="1909" y="693"/>
                  <a:pt x="1908" y="692"/>
                  <a:pt x="1907" y="691"/>
                </a:cubicBezTo>
                <a:cubicBezTo>
                  <a:pt x="1907" y="691"/>
                  <a:pt x="1907" y="691"/>
                  <a:pt x="1906" y="691"/>
                </a:cubicBezTo>
                <a:cubicBezTo>
                  <a:pt x="1906" y="691"/>
                  <a:pt x="1906" y="691"/>
                  <a:pt x="1906" y="691"/>
                </a:cubicBezTo>
                <a:cubicBezTo>
                  <a:pt x="1907" y="691"/>
                  <a:pt x="1907" y="691"/>
                  <a:pt x="1907" y="691"/>
                </a:cubicBezTo>
                <a:close/>
                <a:moveTo>
                  <a:pt x="1903" y="127"/>
                </a:moveTo>
                <a:cubicBezTo>
                  <a:pt x="1903" y="126"/>
                  <a:pt x="1903" y="126"/>
                  <a:pt x="1903" y="126"/>
                </a:cubicBezTo>
                <a:cubicBezTo>
                  <a:pt x="1903" y="127"/>
                  <a:pt x="1903" y="127"/>
                  <a:pt x="1903" y="127"/>
                </a:cubicBezTo>
                <a:cubicBezTo>
                  <a:pt x="1903" y="127"/>
                  <a:pt x="1903" y="127"/>
                  <a:pt x="1903" y="127"/>
                </a:cubicBezTo>
                <a:cubicBezTo>
                  <a:pt x="1905" y="128"/>
                  <a:pt x="1905" y="129"/>
                  <a:pt x="1905" y="130"/>
                </a:cubicBezTo>
                <a:cubicBezTo>
                  <a:pt x="1905" y="131"/>
                  <a:pt x="1904" y="132"/>
                  <a:pt x="1904" y="133"/>
                </a:cubicBezTo>
                <a:cubicBezTo>
                  <a:pt x="1904" y="133"/>
                  <a:pt x="1903" y="133"/>
                  <a:pt x="1903" y="133"/>
                </a:cubicBezTo>
                <a:cubicBezTo>
                  <a:pt x="1903" y="133"/>
                  <a:pt x="1903" y="133"/>
                  <a:pt x="1903" y="133"/>
                </a:cubicBezTo>
                <a:cubicBezTo>
                  <a:pt x="1903" y="131"/>
                  <a:pt x="1903" y="129"/>
                  <a:pt x="1903" y="127"/>
                </a:cubicBezTo>
                <a:cubicBezTo>
                  <a:pt x="1903" y="127"/>
                  <a:pt x="1903" y="127"/>
                  <a:pt x="1903" y="127"/>
                </a:cubicBezTo>
                <a:close/>
                <a:moveTo>
                  <a:pt x="1895" y="491"/>
                </a:moveTo>
                <a:cubicBezTo>
                  <a:pt x="1895" y="491"/>
                  <a:pt x="1895" y="491"/>
                  <a:pt x="1895" y="491"/>
                </a:cubicBezTo>
                <a:cubicBezTo>
                  <a:pt x="1895" y="490"/>
                  <a:pt x="1895" y="490"/>
                  <a:pt x="1895" y="489"/>
                </a:cubicBezTo>
                <a:cubicBezTo>
                  <a:pt x="1895" y="489"/>
                  <a:pt x="1896" y="490"/>
                  <a:pt x="1896" y="490"/>
                </a:cubicBezTo>
                <a:cubicBezTo>
                  <a:pt x="1896" y="490"/>
                  <a:pt x="1895" y="491"/>
                  <a:pt x="1895" y="491"/>
                </a:cubicBezTo>
                <a:close/>
                <a:moveTo>
                  <a:pt x="1896" y="122"/>
                </a:moveTo>
                <a:cubicBezTo>
                  <a:pt x="1896" y="122"/>
                  <a:pt x="1897" y="123"/>
                  <a:pt x="1897" y="123"/>
                </a:cubicBezTo>
                <a:cubicBezTo>
                  <a:pt x="1897" y="123"/>
                  <a:pt x="1897" y="123"/>
                  <a:pt x="1897" y="123"/>
                </a:cubicBezTo>
                <a:cubicBezTo>
                  <a:pt x="1896" y="124"/>
                  <a:pt x="1896" y="125"/>
                  <a:pt x="1895" y="125"/>
                </a:cubicBezTo>
                <a:cubicBezTo>
                  <a:pt x="1895" y="125"/>
                  <a:pt x="1895" y="125"/>
                  <a:pt x="1894" y="126"/>
                </a:cubicBezTo>
                <a:cubicBezTo>
                  <a:pt x="1894" y="126"/>
                  <a:pt x="1893" y="125"/>
                  <a:pt x="1893" y="125"/>
                </a:cubicBezTo>
                <a:cubicBezTo>
                  <a:pt x="1893" y="123"/>
                  <a:pt x="1894" y="122"/>
                  <a:pt x="1896" y="122"/>
                </a:cubicBezTo>
                <a:close/>
                <a:moveTo>
                  <a:pt x="1867" y="153"/>
                </a:moveTo>
                <a:cubicBezTo>
                  <a:pt x="1868" y="153"/>
                  <a:pt x="1869" y="154"/>
                  <a:pt x="1870" y="154"/>
                </a:cubicBezTo>
                <a:cubicBezTo>
                  <a:pt x="1870" y="154"/>
                  <a:pt x="1870" y="154"/>
                  <a:pt x="1870" y="155"/>
                </a:cubicBezTo>
                <a:cubicBezTo>
                  <a:pt x="1870" y="155"/>
                  <a:pt x="1870" y="156"/>
                  <a:pt x="1869" y="156"/>
                </a:cubicBezTo>
                <a:cubicBezTo>
                  <a:pt x="1868" y="156"/>
                  <a:pt x="1867" y="156"/>
                  <a:pt x="1866" y="154"/>
                </a:cubicBezTo>
                <a:cubicBezTo>
                  <a:pt x="1866" y="154"/>
                  <a:pt x="1866" y="153"/>
                  <a:pt x="1867" y="153"/>
                </a:cubicBezTo>
                <a:close/>
                <a:moveTo>
                  <a:pt x="1864" y="823"/>
                </a:moveTo>
                <a:cubicBezTo>
                  <a:pt x="1864" y="823"/>
                  <a:pt x="1865" y="823"/>
                  <a:pt x="1865" y="823"/>
                </a:cubicBezTo>
                <a:cubicBezTo>
                  <a:pt x="1864" y="823"/>
                  <a:pt x="1864" y="823"/>
                  <a:pt x="1864" y="823"/>
                </a:cubicBezTo>
                <a:cubicBezTo>
                  <a:pt x="1864" y="823"/>
                  <a:pt x="1864" y="823"/>
                  <a:pt x="1864" y="823"/>
                </a:cubicBezTo>
                <a:close/>
                <a:moveTo>
                  <a:pt x="1684" y="116"/>
                </a:moveTo>
                <a:cubicBezTo>
                  <a:pt x="1684" y="116"/>
                  <a:pt x="1684" y="117"/>
                  <a:pt x="1685" y="117"/>
                </a:cubicBezTo>
                <a:cubicBezTo>
                  <a:pt x="1684" y="117"/>
                  <a:pt x="1684" y="117"/>
                  <a:pt x="1684" y="116"/>
                </a:cubicBezTo>
                <a:cubicBezTo>
                  <a:pt x="1684" y="116"/>
                  <a:pt x="1684" y="116"/>
                  <a:pt x="1684" y="116"/>
                </a:cubicBezTo>
                <a:close/>
                <a:moveTo>
                  <a:pt x="1172" y="380"/>
                </a:moveTo>
                <a:cubicBezTo>
                  <a:pt x="1172" y="380"/>
                  <a:pt x="1172" y="380"/>
                  <a:pt x="1172" y="380"/>
                </a:cubicBezTo>
                <a:cubicBezTo>
                  <a:pt x="1173" y="380"/>
                  <a:pt x="1173" y="380"/>
                  <a:pt x="1173" y="380"/>
                </a:cubicBezTo>
                <a:lnTo>
                  <a:pt x="1172" y="380"/>
                </a:lnTo>
                <a:close/>
                <a:moveTo>
                  <a:pt x="1195" y="434"/>
                </a:moveTo>
                <a:cubicBezTo>
                  <a:pt x="1195" y="435"/>
                  <a:pt x="1194" y="436"/>
                  <a:pt x="1192" y="437"/>
                </a:cubicBezTo>
                <a:cubicBezTo>
                  <a:pt x="1191" y="437"/>
                  <a:pt x="1190" y="437"/>
                  <a:pt x="1188" y="437"/>
                </a:cubicBezTo>
                <a:cubicBezTo>
                  <a:pt x="1188" y="437"/>
                  <a:pt x="1188" y="437"/>
                  <a:pt x="1188" y="437"/>
                </a:cubicBezTo>
                <a:cubicBezTo>
                  <a:pt x="1188" y="437"/>
                  <a:pt x="1188" y="437"/>
                  <a:pt x="1188" y="437"/>
                </a:cubicBezTo>
                <a:cubicBezTo>
                  <a:pt x="1188" y="437"/>
                  <a:pt x="1188" y="437"/>
                  <a:pt x="1188" y="437"/>
                </a:cubicBezTo>
                <a:cubicBezTo>
                  <a:pt x="1188" y="437"/>
                  <a:pt x="1188" y="437"/>
                  <a:pt x="1188" y="437"/>
                </a:cubicBezTo>
                <a:cubicBezTo>
                  <a:pt x="1188" y="435"/>
                  <a:pt x="1188" y="433"/>
                  <a:pt x="1191" y="432"/>
                </a:cubicBezTo>
                <a:cubicBezTo>
                  <a:pt x="1191" y="432"/>
                  <a:pt x="1191" y="431"/>
                  <a:pt x="1192" y="430"/>
                </a:cubicBezTo>
                <a:cubicBezTo>
                  <a:pt x="1193" y="429"/>
                  <a:pt x="1193" y="429"/>
                  <a:pt x="1194" y="429"/>
                </a:cubicBezTo>
                <a:cubicBezTo>
                  <a:pt x="1194" y="430"/>
                  <a:pt x="1195" y="430"/>
                  <a:pt x="1195" y="431"/>
                </a:cubicBezTo>
                <a:cubicBezTo>
                  <a:pt x="1195" y="432"/>
                  <a:pt x="1195" y="433"/>
                  <a:pt x="1195" y="434"/>
                </a:cubicBezTo>
                <a:close/>
                <a:moveTo>
                  <a:pt x="1201" y="438"/>
                </a:moveTo>
                <a:cubicBezTo>
                  <a:pt x="1201" y="438"/>
                  <a:pt x="1201" y="439"/>
                  <a:pt x="1201" y="439"/>
                </a:cubicBezTo>
                <a:cubicBezTo>
                  <a:pt x="1200" y="439"/>
                  <a:pt x="1200" y="439"/>
                  <a:pt x="1200" y="439"/>
                </a:cubicBezTo>
                <a:cubicBezTo>
                  <a:pt x="1200" y="439"/>
                  <a:pt x="1200" y="440"/>
                  <a:pt x="1200" y="440"/>
                </a:cubicBezTo>
                <a:cubicBezTo>
                  <a:pt x="1200" y="439"/>
                  <a:pt x="1200" y="439"/>
                  <a:pt x="1200" y="438"/>
                </a:cubicBezTo>
                <a:cubicBezTo>
                  <a:pt x="1200" y="438"/>
                  <a:pt x="1200" y="438"/>
                  <a:pt x="1201" y="438"/>
                </a:cubicBezTo>
                <a:cubicBezTo>
                  <a:pt x="1201" y="438"/>
                  <a:pt x="1201" y="437"/>
                  <a:pt x="1201" y="437"/>
                </a:cubicBezTo>
                <a:cubicBezTo>
                  <a:pt x="1201" y="437"/>
                  <a:pt x="1201" y="437"/>
                  <a:pt x="1201" y="437"/>
                </a:cubicBezTo>
                <a:cubicBezTo>
                  <a:pt x="1201" y="438"/>
                  <a:pt x="1201" y="438"/>
                  <a:pt x="1201" y="438"/>
                </a:cubicBezTo>
                <a:close/>
                <a:moveTo>
                  <a:pt x="1215" y="425"/>
                </a:moveTo>
                <a:cubicBezTo>
                  <a:pt x="1215" y="425"/>
                  <a:pt x="1215" y="425"/>
                  <a:pt x="1216" y="425"/>
                </a:cubicBezTo>
                <a:cubicBezTo>
                  <a:pt x="1216" y="425"/>
                  <a:pt x="1217" y="425"/>
                  <a:pt x="1217" y="426"/>
                </a:cubicBezTo>
                <a:cubicBezTo>
                  <a:pt x="1217" y="426"/>
                  <a:pt x="1217" y="426"/>
                  <a:pt x="1217" y="426"/>
                </a:cubicBezTo>
                <a:cubicBezTo>
                  <a:pt x="1217" y="426"/>
                  <a:pt x="1216" y="426"/>
                  <a:pt x="1215" y="426"/>
                </a:cubicBezTo>
                <a:cubicBezTo>
                  <a:pt x="1215" y="426"/>
                  <a:pt x="1214" y="426"/>
                  <a:pt x="1215" y="425"/>
                </a:cubicBezTo>
                <a:close/>
                <a:moveTo>
                  <a:pt x="1228" y="294"/>
                </a:moveTo>
                <a:cubicBezTo>
                  <a:pt x="1228" y="294"/>
                  <a:pt x="1228" y="294"/>
                  <a:pt x="1227" y="294"/>
                </a:cubicBezTo>
                <a:cubicBezTo>
                  <a:pt x="1227" y="295"/>
                  <a:pt x="1226" y="295"/>
                  <a:pt x="1226" y="294"/>
                </a:cubicBezTo>
                <a:cubicBezTo>
                  <a:pt x="1226" y="294"/>
                  <a:pt x="1226" y="293"/>
                  <a:pt x="1226" y="293"/>
                </a:cubicBezTo>
                <a:cubicBezTo>
                  <a:pt x="1226" y="293"/>
                  <a:pt x="1227" y="292"/>
                  <a:pt x="1227" y="292"/>
                </a:cubicBezTo>
                <a:cubicBezTo>
                  <a:pt x="1228" y="292"/>
                  <a:pt x="1229" y="294"/>
                  <a:pt x="1228" y="294"/>
                </a:cubicBezTo>
                <a:close/>
                <a:moveTo>
                  <a:pt x="1237" y="288"/>
                </a:moveTo>
                <a:cubicBezTo>
                  <a:pt x="1237" y="289"/>
                  <a:pt x="1237" y="289"/>
                  <a:pt x="1237" y="289"/>
                </a:cubicBezTo>
                <a:cubicBezTo>
                  <a:pt x="1237" y="289"/>
                  <a:pt x="1237" y="290"/>
                  <a:pt x="1236" y="290"/>
                </a:cubicBezTo>
                <a:cubicBezTo>
                  <a:pt x="1236" y="290"/>
                  <a:pt x="1236" y="289"/>
                  <a:pt x="1236" y="289"/>
                </a:cubicBezTo>
                <a:cubicBezTo>
                  <a:pt x="1236" y="289"/>
                  <a:pt x="1237" y="289"/>
                  <a:pt x="1237" y="289"/>
                </a:cubicBezTo>
                <a:cubicBezTo>
                  <a:pt x="1237" y="288"/>
                  <a:pt x="1237" y="288"/>
                  <a:pt x="1237" y="288"/>
                </a:cubicBezTo>
                <a:cubicBezTo>
                  <a:pt x="1238" y="288"/>
                  <a:pt x="1238" y="288"/>
                  <a:pt x="1238" y="288"/>
                </a:cubicBezTo>
                <a:lnTo>
                  <a:pt x="1237" y="288"/>
                </a:lnTo>
                <a:close/>
                <a:moveTo>
                  <a:pt x="1250" y="284"/>
                </a:moveTo>
                <a:cubicBezTo>
                  <a:pt x="1250" y="284"/>
                  <a:pt x="1250" y="285"/>
                  <a:pt x="1250" y="285"/>
                </a:cubicBezTo>
                <a:cubicBezTo>
                  <a:pt x="1249" y="285"/>
                  <a:pt x="1249" y="285"/>
                  <a:pt x="1249" y="285"/>
                </a:cubicBezTo>
                <a:cubicBezTo>
                  <a:pt x="1249" y="286"/>
                  <a:pt x="1249" y="288"/>
                  <a:pt x="1249" y="289"/>
                </a:cubicBezTo>
                <a:cubicBezTo>
                  <a:pt x="1249" y="289"/>
                  <a:pt x="1249" y="289"/>
                  <a:pt x="1249" y="289"/>
                </a:cubicBezTo>
                <a:cubicBezTo>
                  <a:pt x="1249" y="289"/>
                  <a:pt x="1248" y="289"/>
                  <a:pt x="1248" y="289"/>
                </a:cubicBezTo>
                <a:cubicBezTo>
                  <a:pt x="1248" y="287"/>
                  <a:pt x="1249" y="286"/>
                  <a:pt x="1249" y="285"/>
                </a:cubicBezTo>
                <a:cubicBezTo>
                  <a:pt x="1249" y="285"/>
                  <a:pt x="1249" y="285"/>
                  <a:pt x="1249" y="284"/>
                </a:cubicBezTo>
                <a:cubicBezTo>
                  <a:pt x="1250" y="284"/>
                  <a:pt x="1250" y="284"/>
                  <a:pt x="1250" y="284"/>
                </a:cubicBezTo>
                <a:cubicBezTo>
                  <a:pt x="1250" y="284"/>
                  <a:pt x="1250" y="284"/>
                  <a:pt x="1250" y="284"/>
                </a:cubicBezTo>
                <a:cubicBezTo>
                  <a:pt x="1250" y="284"/>
                  <a:pt x="1250" y="284"/>
                  <a:pt x="1250" y="284"/>
                </a:cubicBezTo>
                <a:close/>
                <a:moveTo>
                  <a:pt x="1264" y="399"/>
                </a:moveTo>
                <a:cubicBezTo>
                  <a:pt x="1265" y="398"/>
                  <a:pt x="1265" y="398"/>
                  <a:pt x="1265" y="398"/>
                </a:cubicBezTo>
                <a:cubicBezTo>
                  <a:pt x="1265" y="399"/>
                  <a:pt x="1265" y="399"/>
                  <a:pt x="1265" y="399"/>
                </a:cubicBezTo>
                <a:lnTo>
                  <a:pt x="1264" y="399"/>
                </a:lnTo>
                <a:close/>
                <a:moveTo>
                  <a:pt x="1266" y="306"/>
                </a:moveTo>
                <a:cubicBezTo>
                  <a:pt x="1266" y="305"/>
                  <a:pt x="1267" y="305"/>
                  <a:pt x="1267" y="304"/>
                </a:cubicBezTo>
                <a:cubicBezTo>
                  <a:pt x="1267" y="304"/>
                  <a:pt x="1267" y="304"/>
                  <a:pt x="1267" y="304"/>
                </a:cubicBezTo>
                <a:cubicBezTo>
                  <a:pt x="1267" y="303"/>
                  <a:pt x="1267" y="303"/>
                  <a:pt x="1267" y="303"/>
                </a:cubicBezTo>
                <a:cubicBezTo>
                  <a:pt x="1267" y="304"/>
                  <a:pt x="1267" y="304"/>
                  <a:pt x="1267" y="304"/>
                </a:cubicBezTo>
                <a:cubicBezTo>
                  <a:pt x="1267" y="304"/>
                  <a:pt x="1267" y="304"/>
                  <a:pt x="1267" y="304"/>
                </a:cubicBezTo>
                <a:cubicBezTo>
                  <a:pt x="1267" y="305"/>
                  <a:pt x="1268" y="306"/>
                  <a:pt x="1268" y="306"/>
                </a:cubicBezTo>
                <a:cubicBezTo>
                  <a:pt x="1268" y="307"/>
                  <a:pt x="1267" y="307"/>
                  <a:pt x="1267" y="307"/>
                </a:cubicBezTo>
                <a:cubicBezTo>
                  <a:pt x="1267" y="308"/>
                  <a:pt x="1266" y="308"/>
                  <a:pt x="1266" y="307"/>
                </a:cubicBezTo>
                <a:cubicBezTo>
                  <a:pt x="1266" y="307"/>
                  <a:pt x="1265" y="306"/>
                  <a:pt x="1266" y="306"/>
                </a:cubicBezTo>
                <a:close/>
                <a:moveTo>
                  <a:pt x="1269" y="386"/>
                </a:moveTo>
                <a:cubicBezTo>
                  <a:pt x="1269" y="386"/>
                  <a:pt x="1268" y="386"/>
                  <a:pt x="1268" y="386"/>
                </a:cubicBezTo>
                <a:cubicBezTo>
                  <a:pt x="1267" y="386"/>
                  <a:pt x="1266" y="386"/>
                  <a:pt x="1266" y="385"/>
                </a:cubicBezTo>
                <a:cubicBezTo>
                  <a:pt x="1266" y="385"/>
                  <a:pt x="1267" y="384"/>
                  <a:pt x="1267" y="384"/>
                </a:cubicBezTo>
                <a:cubicBezTo>
                  <a:pt x="1267" y="384"/>
                  <a:pt x="1268" y="385"/>
                  <a:pt x="1268" y="385"/>
                </a:cubicBezTo>
                <a:cubicBezTo>
                  <a:pt x="1269" y="385"/>
                  <a:pt x="1269" y="385"/>
                  <a:pt x="1269" y="385"/>
                </a:cubicBezTo>
                <a:cubicBezTo>
                  <a:pt x="1269" y="385"/>
                  <a:pt x="1269" y="386"/>
                  <a:pt x="1270" y="386"/>
                </a:cubicBezTo>
                <a:cubicBezTo>
                  <a:pt x="1269" y="386"/>
                  <a:pt x="1269" y="386"/>
                  <a:pt x="1269" y="386"/>
                </a:cubicBezTo>
                <a:close/>
                <a:moveTo>
                  <a:pt x="1273" y="367"/>
                </a:moveTo>
                <a:cubicBezTo>
                  <a:pt x="1273" y="367"/>
                  <a:pt x="1272" y="368"/>
                  <a:pt x="1272" y="368"/>
                </a:cubicBezTo>
                <a:cubicBezTo>
                  <a:pt x="1271" y="367"/>
                  <a:pt x="1271" y="367"/>
                  <a:pt x="1270" y="366"/>
                </a:cubicBezTo>
                <a:cubicBezTo>
                  <a:pt x="1270" y="366"/>
                  <a:pt x="1271" y="365"/>
                  <a:pt x="1271" y="365"/>
                </a:cubicBezTo>
                <a:cubicBezTo>
                  <a:pt x="1272" y="365"/>
                  <a:pt x="1273" y="365"/>
                  <a:pt x="1273" y="366"/>
                </a:cubicBezTo>
                <a:cubicBezTo>
                  <a:pt x="1273" y="367"/>
                  <a:pt x="1273" y="367"/>
                  <a:pt x="1273" y="367"/>
                </a:cubicBezTo>
                <a:close/>
                <a:moveTo>
                  <a:pt x="1282" y="392"/>
                </a:moveTo>
                <a:cubicBezTo>
                  <a:pt x="1282" y="393"/>
                  <a:pt x="1282" y="393"/>
                  <a:pt x="1282" y="393"/>
                </a:cubicBezTo>
                <a:cubicBezTo>
                  <a:pt x="1281" y="392"/>
                  <a:pt x="1281" y="392"/>
                  <a:pt x="1281" y="392"/>
                </a:cubicBezTo>
                <a:lnTo>
                  <a:pt x="1282" y="392"/>
                </a:lnTo>
                <a:close/>
                <a:moveTo>
                  <a:pt x="1284" y="400"/>
                </a:moveTo>
                <a:cubicBezTo>
                  <a:pt x="1284" y="400"/>
                  <a:pt x="1283" y="401"/>
                  <a:pt x="1284" y="402"/>
                </a:cubicBezTo>
                <a:cubicBezTo>
                  <a:pt x="1284" y="403"/>
                  <a:pt x="1284" y="404"/>
                  <a:pt x="1283" y="404"/>
                </a:cubicBezTo>
                <a:cubicBezTo>
                  <a:pt x="1283" y="404"/>
                  <a:pt x="1282" y="404"/>
                  <a:pt x="1281" y="403"/>
                </a:cubicBezTo>
                <a:cubicBezTo>
                  <a:pt x="1280" y="403"/>
                  <a:pt x="1280" y="401"/>
                  <a:pt x="1280" y="400"/>
                </a:cubicBezTo>
                <a:cubicBezTo>
                  <a:pt x="1281" y="399"/>
                  <a:pt x="1283" y="398"/>
                  <a:pt x="1284" y="397"/>
                </a:cubicBezTo>
                <a:cubicBezTo>
                  <a:pt x="1284" y="397"/>
                  <a:pt x="1284" y="397"/>
                  <a:pt x="1284" y="397"/>
                </a:cubicBezTo>
                <a:cubicBezTo>
                  <a:pt x="1285" y="398"/>
                  <a:pt x="1285" y="398"/>
                  <a:pt x="1285" y="398"/>
                </a:cubicBezTo>
                <a:cubicBezTo>
                  <a:pt x="1285" y="399"/>
                  <a:pt x="1285" y="399"/>
                  <a:pt x="1284" y="400"/>
                </a:cubicBezTo>
                <a:close/>
                <a:moveTo>
                  <a:pt x="1286" y="379"/>
                </a:moveTo>
                <a:cubicBezTo>
                  <a:pt x="1287" y="378"/>
                  <a:pt x="1287" y="378"/>
                  <a:pt x="1287" y="378"/>
                </a:cubicBezTo>
                <a:cubicBezTo>
                  <a:pt x="1287" y="378"/>
                  <a:pt x="1288" y="378"/>
                  <a:pt x="1288" y="379"/>
                </a:cubicBezTo>
                <a:cubicBezTo>
                  <a:pt x="1289" y="379"/>
                  <a:pt x="1289" y="379"/>
                  <a:pt x="1289" y="379"/>
                </a:cubicBezTo>
                <a:cubicBezTo>
                  <a:pt x="1289" y="379"/>
                  <a:pt x="1288" y="380"/>
                  <a:pt x="1288" y="380"/>
                </a:cubicBezTo>
                <a:cubicBezTo>
                  <a:pt x="1288" y="379"/>
                  <a:pt x="1287" y="379"/>
                  <a:pt x="1286" y="379"/>
                </a:cubicBezTo>
                <a:close/>
                <a:moveTo>
                  <a:pt x="1289" y="390"/>
                </a:moveTo>
                <a:cubicBezTo>
                  <a:pt x="1289" y="390"/>
                  <a:pt x="1289" y="390"/>
                  <a:pt x="1289" y="389"/>
                </a:cubicBezTo>
                <a:cubicBezTo>
                  <a:pt x="1289" y="389"/>
                  <a:pt x="1289" y="389"/>
                  <a:pt x="1289" y="389"/>
                </a:cubicBezTo>
                <a:cubicBezTo>
                  <a:pt x="1289" y="389"/>
                  <a:pt x="1289" y="389"/>
                  <a:pt x="1289" y="390"/>
                </a:cubicBezTo>
                <a:cubicBezTo>
                  <a:pt x="1289" y="390"/>
                  <a:pt x="1289" y="390"/>
                  <a:pt x="1289" y="390"/>
                </a:cubicBezTo>
                <a:close/>
                <a:moveTo>
                  <a:pt x="1282" y="434"/>
                </a:moveTo>
                <a:cubicBezTo>
                  <a:pt x="1282" y="434"/>
                  <a:pt x="1281" y="434"/>
                  <a:pt x="1281" y="434"/>
                </a:cubicBezTo>
                <a:cubicBezTo>
                  <a:pt x="1280" y="435"/>
                  <a:pt x="1280" y="434"/>
                  <a:pt x="1280" y="434"/>
                </a:cubicBezTo>
                <a:cubicBezTo>
                  <a:pt x="1279" y="433"/>
                  <a:pt x="1279" y="432"/>
                  <a:pt x="1280" y="431"/>
                </a:cubicBezTo>
                <a:cubicBezTo>
                  <a:pt x="1280" y="431"/>
                  <a:pt x="1281" y="431"/>
                  <a:pt x="1281" y="431"/>
                </a:cubicBezTo>
                <a:cubicBezTo>
                  <a:pt x="1282" y="432"/>
                  <a:pt x="1282" y="433"/>
                  <a:pt x="1282" y="434"/>
                </a:cubicBezTo>
                <a:close/>
                <a:moveTo>
                  <a:pt x="1285" y="441"/>
                </a:moveTo>
                <a:cubicBezTo>
                  <a:pt x="1284" y="440"/>
                  <a:pt x="1284" y="440"/>
                  <a:pt x="1284" y="440"/>
                </a:cubicBezTo>
                <a:cubicBezTo>
                  <a:pt x="1285" y="440"/>
                  <a:pt x="1285" y="440"/>
                  <a:pt x="1285" y="440"/>
                </a:cubicBezTo>
                <a:cubicBezTo>
                  <a:pt x="1285" y="441"/>
                  <a:pt x="1285" y="441"/>
                  <a:pt x="1285" y="441"/>
                </a:cubicBezTo>
                <a:close/>
                <a:moveTo>
                  <a:pt x="1107" y="856"/>
                </a:moveTo>
                <a:cubicBezTo>
                  <a:pt x="1108" y="856"/>
                  <a:pt x="1108" y="856"/>
                  <a:pt x="1108" y="856"/>
                </a:cubicBezTo>
                <a:cubicBezTo>
                  <a:pt x="1108" y="856"/>
                  <a:pt x="1108" y="856"/>
                  <a:pt x="1108" y="857"/>
                </a:cubicBezTo>
                <a:cubicBezTo>
                  <a:pt x="1108" y="856"/>
                  <a:pt x="1108" y="856"/>
                  <a:pt x="1107" y="856"/>
                </a:cubicBezTo>
                <a:close/>
                <a:moveTo>
                  <a:pt x="1109" y="857"/>
                </a:moveTo>
                <a:cubicBezTo>
                  <a:pt x="1109" y="857"/>
                  <a:pt x="1109" y="857"/>
                  <a:pt x="1109" y="857"/>
                </a:cubicBezTo>
                <a:cubicBezTo>
                  <a:pt x="1109" y="857"/>
                  <a:pt x="1109" y="857"/>
                  <a:pt x="1110" y="857"/>
                </a:cubicBezTo>
                <a:cubicBezTo>
                  <a:pt x="1110" y="858"/>
                  <a:pt x="1110" y="858"/>
                  <a:pt x="1110" y="858"/>
                </a:cubicBezTo>
                <a:lnTo>
                  <a:pt x="1109" y="857"/>
                </a:lnTo>
                <a:close/>
                <a:moveTo>
                  <a:pt x="1114" y="864"/>
                </a:moveTo>
                <a:cubicBezTo>
                  <a:pt x="1114" y="864"/>
                  <a:pt x="1114" y="863"/>
                  <a:pt x="1114" y="863"/>
                </a:cubicBezTo>
                <a:cubicBezTo>
                  <a:pt x="1114" y="862"/>
                  <a:pt x="1114" y="862"/>
                  <a:pt x="1115" y="862"/>
                </a:cubicBezTo>
                <a:cubicBezTo>
                  <a:pt x="1115" y="863"/>
                  <a:pt x="1115" y="863"/>
                  <a:pt x="1115" y="863"/>
                </a:cubicBezTo>
                <a:cubicBezTo>
                  <a:pt x="1115" y="864"/>
                  <a:pt x="1115" y="864"/>
                  <a:pt x="1114" y="864"/>
                </a:cubicBezTo>
                <a:close/>
                <a:moveTo>
                  <a:pt x="1290" y="1148"/>
                </a:moveTo>
                <a:cubicBezTo>
                  <a:pt x="1290" y="1147"/>
                  <a:pt x="1290" y="1147"/>
                  <a:pt x="1290" y="1147"/>
                </a:cubicBezTo>
                <a:cubicBezTo>
                  <a:pt x="1290" y="1148"/>
                  <a:pt x="1290" y="1148"/>
                  <a:pt x="1290" y="1148"/>
                </a:cubicBezTo>
                <a:close/>
                <a:moveTo>
                  <a:pt x="1314" y="1041"/>
                </a:moveTo>
                <a:cubicBezTo>
                  <a:pt x="1314" y="1041"/>
                  <a:pt x="1314" y="1040"/>
                  <a:pt x="1314" y="1040"/>
                </a:cubicBezTo>
                <a:cubicBezTo>
                  <a:pt x="1315" y="1041"/>
                  <a:pt x="1315" y="1041"/>
                  <a:pt x="1315" y="1041"/>
                </a:cubicBezTo>
                <a:cubicBezTo>
                  <a:pt x="1314" y="1041"/>
                  <a:pt x="1314" y="1041"/>
                  <a:pt x="1314" y="1041"/>
                </a:cubicBezTo>
                <a:close/>
                <a:moveTo>
                  <a:pt x="1322" y="933"/>
                </a:moveTo>
                <a:cubicBezTo>
                  <a:pt x="1322" y="934"/>
                  <a:pt x="1322" y="934"/>
                  <a:pt x="1322" y="934"/>
                </a:cubicBezTo>
                <a:cubicBezTo>
                  <a:pt x="1322" y="933"/>
                  <a:pt x="1322" y="933"/>
                  <a:pt x="1322" y="933"/>
                </a:cubicBezTo>
                <a:close/>
                <a:moveTo>
                  <a:pt x="1319" y="985"/>
                </a:moveTo>
                <a:cubicBezTo>
                  <a:pt x="1318" y="985"/>
                  <a:pt x="1318" y="986"/>
                  <a:pt x="1317" y="986"/>
                </a:cubicBezTo>
                <a:cubicBezTo>
                  <a:pt x="1317" y="986"/>
                  <a:pt x="1317" y="985"/>
                  <a:pt x="1317" y="985"/>
                </a:cubicBezTo>
                <a:cubicBezTo>
                  <a:pt x="1317" y="984"/>
                  <a:pt x="1318" y="984"/>
                  <a:pt x="1319" y="984"/>
                </a:cubicBezTo>
                <a:cubicBezTo>
                  <a:pt x="1319" y="984"/>
                  <a:pt x="1319" y="984"/>
                  <a:pt x="1319" y="984"/>
                </a:cubicBezTo>
                <a:cubicBezTo>
                  <a:pt x="1319" y="985"/>
                  <a:pt x="1319" y="985"/>
                  <a:pt x="1319" y="985"/>
                </a:cubicBezTo>
                <a:close/>
                <a:moveTo>
                  <a:pt x="1325" y="1000"/>
                </a:moveTo>
                <a:cubicBezTo>
                  <a:pt x="1325" y="1000"/>
                  <a:pt x="1325" y="1000"/>
                  <a:pt x="1325" y="1000"/>
                </a:cubicBezTo>
                <a:cubicBezTo>
                  <a:pt x="1324" y="1000"/>
                  <a:pt x="1324" y="1001"/>
                  <a:pt x="1324" y="1001"/>
                </a:cubicBezTo>
                <a:cubicBezTo>
                  <a:pt x="1324" y="1001"/>
                  <a:pt x="1324" y="1001"/>
                  <a:pt x="1324" y="1001"/>
                </a:cubicBezTo>
                <a:cubicBezTo>
                  <a:pt x="1324" y="1000"/>
                  <a:pt x="1324" y="1000"/>
                  <a:pt x="1325" y="1000"/>
                </a:cubicBezTo>
                <a:cubicBezTo>
                  <a:pt x="1325" y="1000"/>
                  <a:pt x="1325" y="1000"/>
                  <a:pt x="1325" y="999"/>
                </a:cubicBezTo>
                <a:cubicBezTo>
                  <a:pt x="1325" y="999"/>
                  <a:pt x="1325" y="999"/>
                  <a:pt x="1325" y="999"/>
                </a:cubicBezTo>
                <a:lnTo>
                  <a:pt x="1325" y="1000"/>
                </a:lnTo>
                <a:close/>
                <a:moveTo>
                  <a:pt x="1333" y="981"/>
                </a:moveTo>
                <a:cubicBezTo>
                  <a:pt x="1333" y="981"/>
                  <a:pt x="1333" y="981"/>
                  <a:pt x="1333" y="981"/>
                </a:cubicBezTo>
                <a:cubicBezTo>
                  <a:pt x="1332" y="979"/>
                  <a:pt x="1332" y="978"/>
                  <a:pt x="1332" y="977"/>
                </a:cubicBezTo>
                <a:cubicBezTo>
                  <a:pt x="1332" y="977"/>
                  <a:pt x="1332" y="977"/>
                  <a:pt x="1332" y="977"/>
                </a:cubicBezTo>
                <a:cubicBezTo>
                  <a:pt x="1332" y="977"/>
                  <a:pt x="1332" y="976"/>
                  <a:pt x="1332" y="976"/>
                </a:cubicBezTo>
                <a:cubicBezTo>
                  <a:pt x="1330" y="975"/>
                  <a:pt x="1330" y="973"/>
                  <a:pt x="1329" y="972"/>
                </a:cubicBezTo>
                <a:cubicBezTo>
                  <a:pt x="1328" y="971"/>
                  <a:pt x="1327" y="970"/>
                  <a:pt x="1326" y="969"/>
                </a:cubicBezTo>
                <a:cubicBezTo>
                  <a:pt x="1325" y="968"/>
                  <a:pt x="1324" y="966"/>
                  <a:pt x="1324" y="965"/>
                </a:cubicBezTo>
                <a:cubicBezTo>
                  <a:pt x="1323" y="960"/>
                  <a:pt x="1321" y="955"/>
                  <a:pt x="1322" y="950"/>
                </a:cubicBezTo>
                <a:cubicBezTo>
                  <a:pt x="1322" y="949"/>
                  <a:pt x="1322" y="949"/>
                  <a:pt x="1323" y="949"/>
                </a:cubicBezTo>
                <a:cubicBezTo>
                  <a:pt x="1323" y="949"/>
                  <a:pt x="1324" y="949"/>
                  <a:pt x="1324" y="950"/>
                </a:cubicBezTo>
                <a:cubicBezTo>
                  <a:pt x="1325" y="953"/>
                  <a:pt x="1325" y="956"/>
                  <a:pt x="1326" y="960"/>
                </a:cubicBezTo>
                <a:cubicBezTo>
                  <a:pt x="1325" y="963"/>
                  <a:pt x="1326" y="966"/>
                  <a:pt x="1329" y="968"/>
                </a:cubicBezTo>
                <a:cubicBezTo>
                  <a:pt x="1331" y="969"/>
                  <a:pt x="1331" y="971"/>
                  <a:pt x="1331" y="972"/>
                </a:cubicBezTo>
                <a:cubicBezTo>
                  <a:pt x="1332" y="974"/>
                  <a:pt x="1332" y="975"/>
                  <a:pt x="1332" y="976"/>
                </a:cubicBezTo>
                <a:cubicBezTo>
                  <a:pt x="1332" y="976"/>
                  <a:pt x="1332" y="977"/>
                  <a:pt x="1332" y="977"/>
                </a:cubicBezTo>
                <a:cubicBezTo>
                  <a:pt x="1332" y="977"/>
                  <a:pt x="1332" y="977"/>
                  <a:pt x="1332" y="977"/>
                </a:cubicBezTo>
                <a:cubicBezTo>
                  <a:pt x="1333" y="977"/>
                  <a:pt x="1334" y="979"/>
                  <a:pt x="1334" y="980"/>
                </a:cubicBezTo>
                <a:cubicBezTo>
                  <a:pt x="1334" y="980"/>
                  <a:pt x="1334" y="981"/>
                  <a:pt x="1333" y="981"/>
                </a:cubicBezTo>
                <a:close/>
                <a:moveTo>
                  <a:pt x="1335" y="906"/>
                </a:moveTo>
                <a:cubicBezTo>
                  <a:pt x="1335" y="907"/>
                  <a:pt x="1335" y="907"/>
                  <a:pt x="1335" y="907"/>
                </a:cubicBezTo>
                <a:cubicBezTo>
                  <a:pt x="1335" y="906"/>
                  <a:pt x="1335" y="906"/>
                  <a:pt x="1335" y="906"/>
                </a:cubicBezTo>
                <a:cubicBezTo>
                  <a:pt x="1336" y="906"/>
                  <a:pt x="1336" y="906"/>
                  <a:pt x="1336" y="906"/>
                </a:cubicBezTo>
                <a:lnTo>
                  <a:pt x="1335" y="906"/>
                </a:lnTo>
                <a:close/>
                <a:moveTo>
                  <a:pt x="1381" y="830"/>
                </a:moveTo>
                <a:cubicBezTo>
                  <a:pt x="1381" y="830"/>
                  <a:pt x="1382" y="830"/>
                  <a:pt x="1382" y="831"/>
                </a:cubicBezTo>
                <a:cubicBezTo>
                  <a:pt x="1382" y="831"/>
                  <a:pt x="1382" y="832"/>
                  <a:pt x="1381" y="831"/>
                </a:cubicBezTo>
                <a:cubicBezTo>
                  <a:pt x="1381" y="831"/>
                  <a:pt x="1381" y="831"/>
                  <a:pt x="1380" y="831"/>
                </a:cubicBezTo>
                <a:cubicBezTo>
                  <a:pt x="1380" y="830"/>
                  <a:pt x="1381" y="830"/>
                  <a:pt x="1381" y="830"/>
                </a:cubicBezTo>
                <a:close/>
                <a:moveTo>
                  <a:pt x="1346" y="706"/>
                </a:moveTo>
                <a:cubicBezTo>
                  <a:pt x="1346" y="706"/>
                  <a:pt x="1347" y="706"/>
                  <a:pt x="1347" y="706"/>
                </a:cubicBezTo>
                <a:cubicBezTo>
                  <a:pt x="1347" y="706"/>
                  <a:pt x="1347" y="707"/>
                  <a:pt x="1346" y="707"/>
                </a:cubicBezTo>
                <a:cubicBezTo>
                  <a:pt x="1346" y="707"/>
                  <a:pt x="1346" y="707"/>
                  <a:pt x="1346" y="707"/>
                </a:cubicBezTo>
                <a:cubicBezTo>
                  <a:pt x="1346" y="706"/>
                  <a:pt x="1346" y="706"/>
                  <a:pt x="1346" y="706"/>
                </a:cubicBezTo>
                <a:close/>
                <a:moveTo>
                  <a:pt x="1342" y="702"/>
                </a:moveTo>
                <a:cubicBezTo>
                  <a:pt x="1342" y="702"/>
                  <a:pt x="1343" y="702"/>
                  <a:pt x="1343" y="702"/>
                </a:cubicBezTo>
                <a:cubicBezTo>
                  <a:pt x="1343" y="702"/>
                  <a:pt x="1343" y="702"/>
                  <a:pt x="1343" y="702"/>
                </a:cubicBezTo>
                <a:cubicBezTo>
                  <a:pt x="1343" y="702"/>
                  <a:pt x="1343" y="702"/>
                  <a:pt x="1343" y="702"/>
                </a:cubicBezTo>
                <a:cubicBezTo>
                  <a:pt x="1342" y="702"/>
                  <a:pt x="1342" y="702"/>
                  <a:pt x="1342" y="702"/>
                </a:cubicBezTo>
                <a:close/>
                <a:moveTo>
                  <a:pt x="1360" y="996"/>
                </a:moveTo>
                <a:cubicBezTo>
                  <a:pt x="1360" y="998"/>
                  <a:pt x="1360" y="1000"/>
                  <a:pt x="1361" y="1001"/>
                </a:cubicBezTo>
                <a:cubicBezTo>
                  <a:pt x="1362" y="1003"/>
                  <a:pt x="1362" y="1006"/>
                  <a:pt x="1361" y="1008"/>
                </a:cubicBezTo>
                <a:cubicBezTo>
                  <a:pt x="1360" y="1010"/>
                  <a:pt x="1360" y="1012"/>
                  <a:pt x="1361" y="1015"/>
                </a:cubicBezTo>
                <a:cubicBezTo>
                  <a:pt x="1361" y="1016"/>
                  <a:pt x="1361" y="1018"/>
                  <a:pt x="1362" y="1020"/>
                </a:cubicBezTo>
                <a:cubicBezTo>
                  <a:pt x="1362" y="1020"/>
                  <a:pt x="1362" y="1021"/>
                  <a:pt x="1361" y="1021"/>
                </a:cubicBezTo>
                <a:cubicBezTo>
                  <a:pt x="1361" y="1022"/>
                  <a:pt x="1360" y="1021"/>
                  <a:pt x="1360" y="1021"/>
                </a:cubicBezTo>
                <a:cubicBezTo>
                  <a:pt x="1358" y="1018"/>
                  <a:pt x="1357" y="1014"/>
                  <a:pt x="1357" y="1011"/>
                </a:cubicBezTo>
                <a:cubicBezTo>
                  <a:pt x="1356" y="1010"/>
                  <a:pt x="1356" y="1008"/>
                  <a:pt x="1357" y="1007"/>
                </a:cubicBezTo>
                <a:cubicBezTo>
                  <a:pt x="1358" y="1004"/>
                  <a:pt x="1358" y="1001"/>
                  <a:pt x="1357" y="998"/>
                </a:cubicBezTo>
                <a:cubicBezTo>
                  <a:pt x="1357" y="996"/>
                  <a:pt x="1357" y="995"/>
                  <a:pt x="1357" y="993"/>
                </a:cubicBezTo>
                <a:cubicBezTo>
                  <a:pt x="1357" y="993"/>
                  <a:pt x="1357" y="992"/>
                  <a:pt x="1357" y="992"/>
                </a:cubicBezTo>
                <a:cubicBezTo>
                  <a:pt x="1358" y="992"/>
                  <a:pt x="1359" y="993"/>
                  <a:pt x="1359" y="993"/>
                </a:cubicBezTo>
                <a:cubicBezTo>
                  <a:pt x="1359" y="994"/>
                  <a:pt x="1359" y="995"/>
                  <a:pt x="1360" y="996"/>
                </a:cubicBezTo>
                <a:close/>
                <a:moveTo>
                  <a:pt x="1351" y="909"/>
                </a:moveTo>
                <a:cubicBezTo>
                  <a:pt x="1352" y="909"/>
                  <a:pt x="1352" y="909"/>
                  <a:pt x="1352" y="909"/>
                </a:cubicBezTo>
                <a:cubicBezTo>
                  <a:pt x="1351" y="909"/>
                  <a:pt x="1351" y="909"/>
                  <a:pt x="1351" y="909"/>
                </a:cubicBezTo>
                <a:close/>
                <a:moveTo>
                  <a:pt x="1353" y="918"/>
                </a:moveTo>
                <a:cubicBezTo>
                  <a:pt x="1355" y="918"/>
                  <a:pt x="1357" y="919"/>
                  <a:pt x="1358" y="921"/>
                </a:cubicBezTo>
                <a:cubicBezTo>
                  <a:pt x="1358" y="921"/>
                  <a:pt x="1359" y="922"/>
                  <a:pt x="1358" y="922"/>
                </a:cubicBezTo>
                <a:cubicBezTo>
                  <a:pt x="1357" y="926"/>
                  <a:pt x="1355" y="929"/>
                  <a:pt x="1353" y="931"/>
                </a:cubicBezTo>
                <a:cubicBezTo>
                  <a:pt x="1352" y="932"/>
                  <a:pt x="1352" y="933"/>
                  <a:pt x="1352" y="934"/>
                </a:cubicBezTo>
                <a:cubicBezTo>
                  <a:pt x="1352" y="935"/>
                  <a:pt x="1352" y="936"/>
                  <a:pt x="1351" y="936"/>
                </a:cubicBezTo>
                <a:cubicBezTo>
                  <a:pt x="1351" y="936"/>
                  <a:pt x="1350" y="937"/>
                  <a:pt x="1349" y="937"/>
                </a:cubicBezTo>
                <a:cubicBezTo>
                  <a:pt x="1349" y="937"/>
                  <a:pt x="1348" y="937"/>
                  <a:pt x="1348" y="937"/>
                </a:cubicBezTo>
                <a:cubicBezTo>
                  <a:pt x="1347" y="937"/>
                  <a:pt x="1346" y="937"/>
                  <a:pt x="1346" y="937"/>
                </a:cubicBezTo>
                <a:cubicBezTo>
                  <a:pt x="1345" y="937"/>
                  <a:pt x="1344" y="937"/>
                  <a:pt x="1342" y="937"/>
                </a:cubicBezTo>
                <a:cubicBezTo>
                  <a:pt x="1342" y="937"/>
                  <a:pt x="1342" y="936"/>
                  <a:pt x="1341" y="936"/>
                </a:cubicBezTo>
                <a:cubicBezTo>
                  <a:pt x="1341" y="935"/>
                  <a:pt x="1341" y="934"/>
                  <a:pt x="1341" y="934"/>
                </a:cubicBezTo>
                <a:cubicBezTo>
                  <a:pt x="1342" y="931"/>
                  <a:pt x="1343" y="927"/>
                  <a:pt x="1342" y="924"/>
                </a:cubicBezTo>
                <a:cubicBezTo>
                  <a:pt x="1342" y="923"/>
                  <a:pt x="1343" y="922"/>
                  <a:pt x="1343" y="921"/>
                </a:cubicBezTo>
                <a:cubicBezTo>
                  <a:pt x="1343" y="920"/>
                  <a:pt x="1344" y="920"/>
                  <a:pt x="1345" y="919"/>
                </a:cubicBezTo>
                <a:cubicBezTo>
                  <a:pt x="1347" y="919"/>
                  <a:pt x="1350" y="918"/>
                  <a:pt x="1353" y="918"/>
                </a:cubicBezTo>
                <a:close/>
                <a:moveTo>
                  <a:pt x="1347" y="428"/>
                </a:moveTo>
                <a:cubicBezTo>
                  <a:pt x="1347" y="428"/>
                  <a:pt x="1347" y="428"/>
                  <a:pt x="1347" y="428"/>
                </a:cubicBezTo>
                <a:cubicBezTo>
                  <a:pt x="1348" y="428"/>
                  <a:pt x="1348" y="428"/>
                  <a:pt x="1348" y="428"/>
                </a:cubicBezTo>
                <a:cubicBezTo>
                  <a:pt x="1348" y="428"/>
                  <a:pt x="1348" y="428"/>
                  <a:pt x="1348" y="428"/>
                </a:cubicBezTo>
                <a:cubicBezTo>
                  <a:pt x="1349" y="430"/>
                  <a:pt x="1351" y="431"/>
                  <a:pt x="1352" y="432"/>
                </a:cubicBezTo>
                <a:cubicBezTo>
                  <a:pt x="1353" y="433"/>
                  <a:pt x="1352" y="434"/>
                  <a:pt x="1352" y="435"/>
                </a:cubicBezTo>
                <a:cubicBezTo>
                  <a:pt x="1350" y="435"/>
                  <a:pt x="1349" y="435"/>
                  <a:pt x="1348" y="434"/>
                </a:cubicBezTo>
                <a:cubicBezTo>
                  <a:pt x="1347" y="433"/>
                  <a:pt x="1347" y="432"/>
                  <a:pt x="1347" y="431"/>
                </a:cubicBezTo>
                <a:cubicBezTo>
                  <a:pt x="1348" y="431"/>
                  <a:pt x="1348" y="431"/>
                  <a:pt x="1348" y="431"/>
                </a:cubicBezTo>
                <a:cubicBezTo>
                  <a:pt x="1348" y="430"/>
                  <a:pt x="1348" y="429"/>
                  <a:pt x="1348" y="428"/>
                </a:cubicBezTo>
                <a:cubicBezTo>
                  <a:pt x="1348" y="428"/>
                  <a:pt x="1348" y="428"/>
                  <a:pt x="1348" y="428"/>
                </a:cubicBezTo>
                <a:cubicBezTo>
                  <a:pt x="1348" y="428"/>
                  <a:pt x="1348" y="428"/>
                  <a:pt x="1347" y="428"/>
                </a:cubicBezTo>
                <a:cubicBezTo>
                  <a:pt x="1347" y="428"/>
                  <a:pt x="1347" y="428"/>
                  <a:pt x="1346" y="428"/>
                </a:cubicBezTo>
                <a:cubicBezTo>
                  <a:pt x="1346" y="427"/>
                  <a:pt x="1346" y="427"/>
                  <a:pt x="1347" y="428"/>
                </a:cubicBezTo>
                <a:close/>
                <a:moveTo>
                  <a:pt x="1342" y="412"/>
                </a:moveTo>
                <a:cubicBezTo>
                  <a:pt x="1342" y="412"/>
                  <a:pt x="1342" y="412"/>
                  <a:pt x="1343" y="412"/>
                </a:cubicBezTo>
                <a:cubicBezTo>
                  <a:pt x="1343" y="413"/>
                  <a:pt x="1343" y="413"/>
                  <a:pt x="1342" y="413"/>
                </a:cubicBezTo>
                <a:cubicBezTo>
                  <a:pt x="1342" y="413"/>
                  <a:pt x="1342" y="413"/>
                  <a:pt x="1342" y="413"/>
                </a:cubicBezTo>
                <a:cubicBezTo>
                  <a:pt x="1342" y="413"/>
                  <a:pt x="1342" y="412"/>
                  <a:pt x="1342" y="412"/>
                </a:cubicBezTo>
                <a:close/>
                <a:moveTo>
                  <a:pt x="1343" y="541"/>
                </a:moveTo>
                <a:cubicBezTo>
                  <a:pt x="1343" y="541"/>
                  <a:pt x="1343" y="542"/>
                  <a:pt x="1343" y="542"/>
                </a:cubicBezTo>
                <a:cubicBezTo>
                  <a:pt x="1343" y="542"/>
                  <a:pt x="1343" y="542"/>
                  <a:pt x="1342" y="541"/>
                </a:cubicBezTo>
                <a:cubicBezTo>
                  <a:pt x="1342" y="541"/>
                  <a:pt x="1342" y="541"/>
                  <a:pt x="1343" y="541"/>
                </a:cubicBezTo>
                <a:cubicBezTo>
                  <a:pt x="1343" y="541"/>
                  <a:pt x="1343" y="541"/>
                  <a:pt x="1343" y="541"/>
                </a:cubicBezTo>
                <a:close/>
                <a:moveTo>
                  <a:pt x="1322" y="391"/>
                </a:moveTo>
                <a:cubicBezTo>
                  <a:pt x="1323" y="391"/>
                  <a:pt x="1324" y="391"/>
                  <a:pt x="1325" y="390"/>
                </a:cubicBezTo>
                <a:cubicBezTo>
                  <a:pt x="1325" y="389"/>
                  <a:pt x="1326" y="389"/>
                  <a:pt x="1326" y="389"/>
                </a:cubicBezTo>
                <a:cubicBezTo>
                  <a:pt x="1326" y="389"/>
                  <a:pt x="1326" y="389"/>
                  <a:pt x="1326" y="389"/>
                </a:cubicBezTo>
                <a:cubicBezTo>
                  <a:pt x="1327" y="393"/>
                  <a:pt x="1329" y="395"/>
                  <a:pt x="1330" y="398"/>
                </a:cubicBezTo>
                <a:cubicBezTo>
                  <a:pt x="1331" y="399"/>
                  <a:pt x="1331" y="400"/>
                  <a:pt x="1332" y="401"/>
                </a:cubicBezTo>
                <a:cubicBezTo>
                  <a:pt x="1331" y="402"/>
                  <a:pt x="1331" y="403"/>
                  <a:pt x="1330" y="404"/>
                </a:cubicBezTo>
                <a:cubicBezTo>
                  <a:pt x="1330" y="404"/>
                  <a:pt x="1329" y="404"/>
                  <a:pt x="1329" y="404"/>
                </a:cubicBezTo>
                <a:cubicBezTo>
                  <a:pt x="1328" y="405"/>
                  <a:pt x="1328" y="404"/>
                  <a:pt x="1328" y="403"/>
                </a:cubicBezTo>
                <a:cubicBezTo>
                  <a:pt x="1328" y="401"/>
                  <a:pt x="1326" y="399"/>
                  <a:pt x="1324" y="398"/>
                </a:cubicBezTo>
                <a:cubicBezTo>
                  <a:pt x="1322" y="397"/>
                  <a:pt x="1321" y="396"/>
                  <a:pt x="1320" y="394"/>
                </a:cubicBezTo>
                <a:cubicBezTo>
                  <a:pt x="1320" y="392"/>
                  <a:pt x="1320" y="391"/>
                  <a:pt x="1322" y="391"/>
                </a:cubicBezTo>
                <a:close/>
                <a:moveTo>
                  <a:pt x="1327" y="527"/>
                </a:moveTo>
                <a:cubicBezTo>
                  <a:pt x="1327" y="527"/>
                  <a:pt x="1326" y="527"/>
                  <a:pt x="1326" y="527"/>
                </a:cubicBezTo>
                <a:cubicBezTo>
                  <a:pt x="1326" y="527"/>
                  <a:pt x="1326" y="527"/>
                  <a:pt x="1326" y="527"/>
                </a:cubicBezTo>
                <a:cubicBezTo>
                  <a:pt x="1326" y="527"/>
                  <a:pt x="1326" y="526"/>
                  <a:pt x="1326" y="526"/>
                </a:cubicBezTo>
                <a:cubicBezTo>
                  <a:pt x="1327" y="527"/>
                  <a:pt x="1327" y="527"/>
                  <a:pt x="1327" y="527"/>
                </a:cubicBezTo>
                <a:close/>
                <a:moveTo>
                  <a:pt x="1317" y="372"/>
                </a:moveTo>
                <a:cubicBezTo>
                  <a:pt x="1318" y="372"/>
                  <a:pt x="1318" y="372"/>
                  <a:pt x="1318" y="372"/>
                </a:cubicBezTo>
                <a:cubicBezTo>
                  <a:pt x="1319" y="373"/>
                  <a:pt x="1319" y="373"/>
                  <a:pt x="1319" y="374"/>
                </a:cubicBezTo>
                <a:cubicBezTo>
                  <a:pt x="1319" y="374"/>
                  <a:pt x="1318" y="374"/>
                  <a:pt x="1318" y="374"/>
                </a:cubicBezTo>
                <a:cubicBezTo>
                  <a:pt x="1318" y="374"/>
                  <a:pt x="1317" y="374"/>
                  <a:pt x="1317" y="373"/>
                </a:cubicBezTo>
                <a:cubicBezTo>
                  <a:pt x="1317" y="373"/>
                  <a:pt x="1317" y="372"/>
                  <a:pt x="1317" y="372"/>
                </a:cubicBezTo>
                <a:close/>
                <a:moveTo>
                  <a:pt x="1299" y="323"/>
                </a:moveTo>
                <a:cubicBezTo>
                  <a:pt x="1299" y="322"/>
                  <a:pt x="1299" y="322"/>
                  <a:pt x="1299" y="322"/>
                </a:cubicBezTo>
                <a:cubicBezTo>
                  <a:pt x="1299" y="322"/>
                  <a:pt x="1299" y="323"/>
                  <a:pt x="1299" y="323"/>
                </a:cubicBezTo>
                <a:cubicBezTo>
                  <a:pt x="1299" y="324"/>
                  <a:pt x="1299" y="324"/>
                  <a:pt x="1298" y="323"/>
                </a:cubicBezTo>
                <a:cubicBezTo>
                  <a:pt x="1298" y="323"/>
                  <a:pt x="1298" y="323"/>
                  <a:pt x="1299" y="323"/>
                </a:cubicBezTo>
                <a:close/>
                <a:moveTo>
                  <a:pt x="1297" y="348"/>
                </a:moveTo>
                <a:cubicBezTo>
                  <a:pt x="1297" y="348"/>
                  <a:pt x="1297" y="348"/>
                  <a:pt x="1297" y="348"/>
                </a:cubicBezTo>
                <a:cubicBezTo>
                  <a:pt x="1297" y="348"/>
                  <a:pt x="1297" y="348"/>
                  <a:pt x="1298" y="348"/>
                </a:cubicBezTo>
                <a:cubicBezTo>
                  <a:pt x="1297" y="348"/>
                  <a:pt x="1297" y="348"/>
                  <a:pt x="1297" y="348"/>
                </a:cubicBezTo>
                <a:cubicBezTo>
                  <a:pt x="1297" y="348"/>
                  <a:pt x="1297" y="348"/>
                  <a:pt x="1297" y="348"/>
                </a:cubicBezTo>
                <a:cubicBezTo>
                  <a:pt x="1297" y="347"/>
                  <a:pt x="1297" y="347"/>
                  <a:pt x="1297" y="347"/>
                </a:cubicBezTo>
                <a:lnTo>
                  <a:pt x="1297" y="348"/>
                </a:lnTo>
                <a:close/>
                <a:moveTo>
                  <a:pt x="1296" y="404"/>
                </a:moveTo>
                <a:cubicBezTo>
                  <a:pt x="1295" y="404"/>
                  <a:pt x="1295" y="403"/>
                  <a:pt x="1295" y="403"/>
                </a:cubicBezTo>
                <a:cubicBezTo>
                  <a:pt x="1296" y="401"/>
                  <a:pt x="1297" y="399"/>
                  <a:pt x="1299" y="398"/>
                </a:cubicBezTo>
                <a:cubicBezTo>
                  <a:pt x="1299" y="398"/>
                  <a:pt x="1299" y="398"/>
                  <a:pt x="1300" y="398"/>
                </a:cubicBezTo>
                <a:cubicBezTo>
                  <a:pt x="1300" y="398"/>
                  <a:pt x="1301" y="398"/>
                  <a:pt x="1301" y="398"/>
                </a:cubicBezTo>
                <a:cubicBezTo>
                  <a:pt x="1303" y="400"/>
                  <a:pt x="1305" y="401"/>
                  <a:pt x="1307" y="403"/>
                </a:cubicBezTo>
                <a:cubicBezTo>
                  <a:pt x="1307" y="403"/>
                  <a:pt x="1307" y="403"/>
                  <a:pt x="1308" y="404"/>
                </a:cubicBezTo>
                <a:cubicBezTo>
                  <a:pt x="1312" y="408"/>
                  <a:pt x="1311" y="411"/>
                  <a:pt x="1306" y="414"/>
                </a:cubicBezTo>
                <a:cubicBezTo>
                  <a:pt x="1306" y="414"/>
                  <a:pt x="1306" y="414"/>
                  <a:pt x="1306" y="415"/>
                </a:cubicBezTo>
                <a:cubicBezTo>
                  <a:pt x="1304" y="415"/>
                  <a:pt x="1303" y="415"/>
                  <a:pt x="1303" y="414"/>
                </a:cubicBezTo>
                <a:cubicBezTo>
                  <a:pt x="1300" y="411"/>
                  <a:pt x="1298" y="408"/>
                  <a:pt x="1296" y="404"/>
                </a:cubicBezTo>
                <a:close/>
                <a:moveTo>
                  <a:pt x="1307" y="607"/>
                </a:moveTo>
                <a:cubicBezTo>
                  <a:pt x="1307" y="607"/>
                  <a:pt x="1306" y="608"/>
                  <a:pt x="1305" y="608"/>
                </a:cubicBezTo>
                <a:cubicBezTo>
                  <a:pt x="1305" y="608"/>
                  <a:pt x="1304" y="608"/>
                  <a:pt x="1303" y="608"/>
                </a:cubicBezTo>
                <a:cubicBezTo>
                  <a:pt x="1303" y="608"/>
                  <a:pt x="1302" y="608"/>
                  <a:pt x="1302" y="608"/>
                </a:cubicBezTo>
                <a:cubicBezTo>
                  <a:pt x="1301" y="608"/>
                  <a:pt x="1300" y="608"/>
                  <a:pt x="1299" y="608"/>
                </a:cubicBezTo>
                <a:cubicBezTo>
                  <a:pt x="1298" y="608"/>
                  <a:pt x="1297" y="607"/>
                  <a:pt x="1297" y="607"/>
                </a:cubicBezTo>
                <a:cubicBezTo>
                  <a:pt x="1298" y="606"/>
                  <a:pt x="1298" y="605"/>
                  <a:pt x="1299" y="605"/>
                </a:cubicBezTo>
                <a:cubicBezTo>
                  <a:pt x="1301" y="603"/>
                  <a:pt x="1304" y="603"/>
                  <a:pt x="1306" y="604"/>
                </a:cubicBezTo>
                <a:cubicBezTo>
                  <a:pt x="1308" y="604"/>
                  <a:pt x="1308" y="605"/>
                  <a:pt x="1307" y="607"/>
                </a:cubicBezTo>
                <a:close/>
                <a:moveTo>
                  <a:pt x="1391" y="598"/>
                </a:moveTo>
                <a:cubicBezTo>
                  <a:pt x="1390" y="598"/>
                  <a:pt x="1389" y="599"/>
                  <a:pt x="1388" y="600"/>
                </a:cubicBezTo>
                <a:cubicBezTo>
                  <a:pt x="1386" y="601"/>
                  <a:pt x="1384" y="601"/>
                  <a:pt x="1382" y="601"/>
                </a:cubicBezTo>
                <a:cubicBezTo>
                  <a:pt x="1380" y="600"/>
                  <a:pt x="1377" y="600"/>
                  <a:pt x="1375" y="601"/>
                </a:cubicBezTo>
                <a:cubicBezTo>
                  <a:pt x="1373" y="602"/>
                  <a:pt x="1371" y="601"/>
                  <a:pt x="1369" y="601"/>
                </a:cubicBezTo>
                <a:cubicBezTo>
                  <a:pt x="1366" y="600"/>
                  <a:pt x="1363" y="599"/>
                  <a:pt x="1359" y="598"/>
                </a:cubicBezTo>
                <a:cubicBezTo>
                  <a:pt x="1359" y="597"/>
                  <a:pt x="1358" y="597"/>
                  <a:pt x="1357" y="596"/>
                </a:cubicBezTo>
                <a:cubicBezTo>
                  <a:pt x="1357" y="596"/>
                  <a:pt x="1356" y="595"/>
                  <a:pt x="1356" y="595"/>
                </a:cubicBezTo>
                <a:cubicBezTo>
                  <a:pt x="1353" y="595"/>
                  <a:pt x="1350" y="593"/>
                  <a:pt x="1347" y="593"/>
                </a:cubicBezTo>
                <a:cubicBezTo>
                  <a:pt x="1341" y="592"/>
                  <a:pt x="1335" y="593"/>
                  <a:pt x="1330" y="595"/>
                </a:cubicBezTo>
                <a:cubicBezTo>
                  <a:pt x="1328" y="596"/>
                  <a:pt x="1326" y="597"/>
                  <a:pt x="1324" y="599"/>
                </a:cubicBezTo>
                <a:cubicBezTo>
                  <a:pt x="1323" y="600"/>
                  <a:pt x="1322" y="601"/>
                  <a:pt x="1320" y="600"/>
                </a:cubicBezTo>
                <a:cubicBezTo>
                  <a:pt x="1317" y="599"/>
                  <a:pt x="1314" y="600"/>
                  <a:pt x="1311" y="600"/>
                </a:cubicBezTo>
                <a:cubicBezTo>
                  <a:pt x="1306" y="600"/>
                  <a:pt x="1303" y="598"/>
                  <a:pt x="1301" y="594"/>
                </a:cubicBezTo>
                <a:cubicBezTo>
                  <a:pt x="1301" y="593"/>
                  <a:pt x="1300" y="591"/>
                  <a:pt x="1299" y="590"/>
                </a:cubicBezTo>
                <a:cubicBezTo>
                  <a:pt x="1299" y="589"/>
                  <a:pt x="1299" y="588"/>
                  <a:pt x="1299" y="587"/>
                </a:cubicBezTo>
                <a:cubicBezTo>
                  <a:pt x="1300" y="586"/>
                  <a:pt x="1300" y="583"/>
                  <a:pt x="1302" y="582"/>
                </a:cubicBezTo>
                <a:cubicBezTo>
                  <a:pt x="1303" y="581"/>
                  <a:pt x="1304" y="579"/>
                  <a:pt x="1304" y="577"/>
                </a:cubicBezTo>
                <a:cubicBezTo>
                  <a:pt x="1304" y="575"/>
                  <a:pt x="1304" y="573"/>
                  <a:pt x="1304" y="571"/>
                </a:cubicBezTo>
                <a:cubicBezTo>
                  <a:pt x="1305" y="570"/>
                  <a:pt x="1305" y="569"/>
                  <a:pt x="1306" y="569"/>
                </a:cubicBezTo>
                <a:cubicBezTo>
                  <a:pt x="1309" y="568"/>
                  <a:pt x="1310" y="567"/>
                  <a:pt x="1310" y="564"/>
                </a:cubicBezTo>
                <a:cubicBezTo>
                  <a:pt x="1310" y="563"/>
                  <a:pt x="1310" y="562"/>
                  <a:pt x="1311" y="561"/>
                </a:cubicBezTo>
                <a:cubicBezTo>
                  <a:pt x="1313" y="558"/>
                  <a:pt x="1315" y="556"/>
                  <a:pt x="1317" y="553"/>
                </a:cubicBezTo>
                <a:cubicBezTo>
                  <a:pt x="1317" y="552"/>
                  <a:pt x="1319" y="552"/>
                  <a:pt x="1321" y="552"/>
                </a:cubicBezTo>
                <a:cubicBezTo>
                  <a:pt x="1321" y="553"/>
                  <a:pt x="1321" y="553"/>
                  <a:pt x="1321" y="553"/>
                </a:cubicBezTo>
                <a:cubicBezTo>
                  <a:pt x="1324" y="555"/>
                  <a:pt x="1328" y="557"/>
                  <a:pt x="1332" y="557"/>
                </a:cubicBezTo>
                <a:cubicBezTo>
                  <a:pt x="1333" y="557"/>
                  <a:pt x="1333" y="558"/>
                  <a:pt x="1333" y="559"/>
                </a:cubicBezTo>
                <a:cubicBezTo>
                  <a:pt x="1332" y="560"/>
                  <a:pt x="1331" y="560"/>
                  <a:pt x="1330" y="561"/>
                </a:cubicBezTo>
                <a:cubicBezTo>
                  <a:pt x="1330" y="562"/>
                  <a:pt x="1330" y="563"/>
                  <a:pt x="1331" y="563"/>
                </a:cubicBezTo>
                <a:cubicBezTo>
                  <a:pt x="1331" y="564"/>
                  <a:pt x="1332" y="564"/>
                  <a:pt x="1332" y="564"/>
                </a:cubicBezTo>
                <a:cubicBezTo>
                  <a:pt x="1334" y="565"/>
                  <a:pt x="1335" y="566"/>
                  <a:pt x="1335" y="568"/>
                </a:cubicBezTo>
                <a:cubicBezTo>
                  <a:pt x="1336" y="570"/>
                  <a:pt x="1338" y="571"/>
                  <a:pt x="1340" y="570"/>
                </a:cubicBezTo>
                <a:cubicBezTo>
                  <a:pt x="1340" y="570"/>
                  <a:pt x="1341" y="570"/>
                  <a:pt x="1342" y="569"/>
                </a:cubicBezTo>
                <a:cubicBezTo>
                  <a:pt x="1344" y="569"/>
                  <a:pt x="1345" y="568"/>
                  <a:pt x="1347" y="567"/>
                </a:cubicBezTo>
                <a:cubicBezTo>
                  <a:pt x="1349" y="566"/>
                  <a:pt x="1351" y="565"/>
                  <a:pt x="1353" y="565"/>
                </a:cubicBezTo>
                <a:cubicBezTo>
                  <a:pt x="1354" y="565"/>
                  <a:pt x="1354" y="565"/>
                  <a:pt x="1355" y="564"/>
                </a:cubicBezTo>
                <a:cubicBezTo>
                  <a:pt x="1356" y="564"/>
                  <a:pt x="1356" y="563"/>
                  <a:pt x="1356" y="562"/>
                </a:cubicBezTo>
                <a:cubicBezTo>
                  <a:pt x="1356" y="561"/>
                  <a:pt x="1355" y="561"/>
                  <a:pt x="1354" y="561"/>
                </a:cubicBezTo>
                <a:cubicBezTo>
                  <a:pt x="1354" y="561"/>
                  <a:pt x="1353" y="561"/>
                  <a:pt x="1353" y="561"/>
                </a:cubicBezTo>
                <a:cubicBezTo>
                  <a:pt x="1347" y="562"/>
                  <a:pt x="1346" y="561"/>
                  <a:pt x="1343" y="556"/>
                </a:cubicBezTo>
                <a:cubicBezTo>
                  <a:pt x="1342" y="556"/>
                  <a:pt x="1342" y="556"/>
                  <a:pt x="1342" y="556"/>
                </a:cubicBezTo>
                <a:cubicBezTo>
                  <a:pt x="1342" y="556"/>
                  <a:pt x="1342" y="556"/>
                  <a:pt x="1342" y="556"/>
                </a:cubicBezTo>
                <a:cubicBezTo>
                  <a:pt x="1343" y="556"/>
                  <a:pt x="1343" y="556"/>
                  <a:pt x="1343" y="556"/>
                </a:cubicBezTo>
                <a:cubicBezTo>
                  <a:pt x="1343" y="556"/>
                  <a:pt x="1343" y="556"/>
                  <a:pt x="1343" y="556"/>
                </a:cubicBezTo>
                <a:cubicBezTo>
                  <a:pt x="1345" y="554"/>
                  <a:pt x="1348" y="552"/>
                  <a:pt x="1351" y="551"/>
                </a:cubicBezTo>
                <a:cubicBezTo>
                  <a:pt x="1353" y="551"/>
                  <a:pt x="1355" y="550"/>
                  <a:pt x="1357" y="549"/>
                </a:cubicBezTo>
                <a:cubicBezTo>
                  <a:pt x="1360" y="546"/>
                  <a:pt x="1363" y="545"/>
                  <a:pt x="1367" y="546"/>
                </a:cubicBezTo>
                <a:cubicBezTo>
                  <a:pt x="1367" y="546"/>
                  <a:pt x="1368" y="546"/>
                  <a:pt x="1368" y="546"/>
                </a:cubicBezTo>
                <a:cubicBezTo>
                  <a:pt x="1368" y="546"/>
                  <a:pt x="1368" y="546"/>
                  <a:pt x="1369" y="546"/>
                </a:cubicBezTo>
                <a:cubicBezTo>
                  <a:pt x="1369" y="545"/>
                  <a:pt x="1369" y="545"/>
                  <a:pt x="1369" y="545"/>
                </a:cubicBezTo>
                <a:cubicBezTo>
                  <a:pt x="1369" y="546"/>
                  <a:pt x="1369" y="546"/>
                  <a:pt x="1369" y="546"/>
                </a:cubicBezTo>
                <a:cubicBezTo>
                  <a:pt x="1369" y="546"/>
                  <a:pt x="1368" y="546"/>
                  <a:pt x="1368" y="546"/>
                </a:cubicBezTo>
                <a:cubicBezTo>
                  <a:pt x="1367" y="547"/>
                  <a:pt x="1366" y="549"/>
                  <a:pt x="1364" y="550"/>
                </a:cubicBezTo>
                <a:cubicBezTo>
                  <a:pt x="1363" y="551"/>
                  <a:pt x="1363" y="552"/>
                  <a:pt x="1364" y="553"/>
                </a:cubicBezTo>
                <a:cubicBezTo>
                  <a:pt x="1364" y="554"/>
                  <a:pt x="1364" y="555"/>
                  <a:pt x="1364" y="556"/>
                </a:cubicBezTo>
                <a:cubicBezTo>
                  <a:pt x="1362" y="558"/>
                  <a:pt x="1361" y="561"/>
                  <a:pt x="1359" y="562"/>
                </a:cubicBezTo>
                <a:cubicBezTo>
                  <a:pt x="1359" y="563"/>
                  <a:pt x="1358" y="564"/>
                  <a:pt x="1359" y="564"/>
                </a:cubicBezTo>
                <a:cubicBezTo>
                  <a:pt x="1360" y="566"/>
                  <a:pt x="1362" y="568"/>
                  <a:pt x="1365" y="569"/>
                </a:cubicBezTo>
                <a:cubicBezTo>
                  <a:pt x="1369" y="570"/>
                  <a:pt x="1372" y="572"/>
                  <a:pt x="1375" y="575"/>
                </a:cubicBezTo>
                <a:cubicBezTo>
                  <a:pt x="1378" y="578"/>
                  <a:pt x="1382" y="581"/>
                  <a:pt x="1386" y="583"/>
                </a:cubicBezTo>
                <a:cubicBezTo>
                  <a:pt x="1391" y="585"/>
                  <a:pt x="1393" y="589"/>
                  <a:pt x="1393" y="593"/>
                </a:cubicBezTo>
                <a:cubicBezTo>
                  <a:pt x="1393" y="595"/>
                  <a:pt x="1393" y="597"/>
                  <a:pt x="1391" y="598"/>
                </a:cubicBezTo>
                <a:close/>
                <a:moveTo>
                  <a:pt x="1426" y="462"/>
                </a:moveTo>
                <a:cubicBezTo>
                  <a:pt x="1426" y="461"/>
                  <a:pt x="1426" y="461"/>
                  <a:pt x="1426" y="461"/>
                </a:cubicBezTo>
                <a:cubicBezTo>
                  <a:pt x="1427" y="462"/>
                  <a:pt x="1427" y="462"/>
                  <a:pt x="1427" y="462"/>
                </a:cubicBezTo>
                <a:lnTo>
                  <a:pt x="1426" y="462"/>
                </a:lnTo>
                <a:close/>
                <a:moveTo>
                  <a:pt x="1485" y="635"/>
                </a:moveTo>
                <a:cubicBezTo>
                  <a:pt x="1481" y="636"/>
                  <a:pt x="1477" y="636"/>
                  <a:pt x="1473" y="637"/>
                </a:cubicBezTo>
                <a:cubicBezTo>
                  <a:pt x="1473" y="637"/>
                  <a:pt x="1472" y="637"/>
                  <a:pt x="1471" y="637"/>
                </a:cubicBezTo>
                <a:cubicBezTo>
                  <a:pt x="1467" y="637"/>
                  <a:pt x="1463" y="636"/>
                  <a:pt x="1460" y="633"/>
                </a:cubicBezTo>
                <a:cubicBezTo>
                  <a:pt x="1459" y="632"/>
                  <a:pt x="1457" y="631"/>
                  <a:pt x="1456" y="631"/>
                </a:cubicBezTo>
                <a:cubicBezTo>
                  <a:pt x="1455" y="631"/>
                  <a:pt x="1453" y="631"/>
                  <a:pt x="1452" y="630"/>
                </a:cubicBezTo>
                <a:cubicBezTo>
                  <a:pt x="1452" y="630"/>
                  <a:pt x="1451" y="629"/>
                  <a:pt x="1450" y="629"/>
                </a:cubicBezTo>
                <a:cubicBezTo>
                  <a:pt x="1449" y="625"/>
                  <a:pt x="1447" y="621"/>
                  <a:pt x="1449" y="617"/>
                </a:cubicBezTo>
                <a:cubicBezTo>
                  <a:pt x="1450" y="615"/>
                  <a:pt x="1450" y="613"/>
                  <a:pt x="1451" y="611"/>
                </a:cubicBezTo>
                <a:cubicBezTo>
                  <a:pt x="1451" y="608"/>
                  <a:pt x="1452" y="606"/>
                  <a:pt x="1455" y="605"/>
                </a:cubicBezTo>
                <a:cubicBezTo>
                  <a:pt x="1455" y="605"/>
                  <a:pt x="1455" y="604"/>
                  <a:pt x="1455" y="603"/>
                </a:cubicBezTo>
                <a:cubicBezTo>
                  <a:pt x="1454" y="603"/>
                  <a:pt x="1454" y="603"/>
                  <a:pt x="1453" y="602"/>
                </a:cubicBezTo>
                <a:cubicBezTo>
                  <a:pt x="1450" y="601"/>
                  <a:pt x="1448" y="599"/>
                  <a:pt x="1447" y="597"/>
                </a:cubicBezTo>
                <a:cubicBezTo>
                  <a:pt x="1446" y="594"/>
                  <a:pt x="1444" y="591"/>
                  <a:pt x="1441" y="589"/>
                </a:cubicBezTo>
                <a:cubicBezTo>
                  <a:pt x="1437" y="587"/>
                  <a:pt x="1435" y="583"/>
                  <a:pt x="1434" y="579"/>
                </a:cubicBezTo>
                <a:cubicBezTo>
                  <a:pt x="1433" y="575"/>
                  <a:pt x="1431" y="572"/>
                  <a:pt x="1428" y="569"/>
                </a:cubicBezTo>
                <a:cubicBezTo>
                  <a:pt x="1427" y="568"/>
                  <a:pt x="1426" y="566"/>
                  <a:pt x="1427" y="565"/>
                </a:cubicBezTo>
                <a:cubicBezTo>
                  <a:pt x="1427" y="563"/>
                  <a:pt x="1428" y="561"/>
                  <a:pt x="1429" y="560"/>
                </a:cubicBezTo>
                <a:cubicBezTo>
                  <a:pt x="1429" y="558"/>
                  <a:pt x="1430" y="557"/>
                  <a:pt x="1432" y="557"/>
                </a:cubicBezTo>
                <a:cubicBezTo>
                  <a:pt x="1435" y="555"/>
                  <a:pt x="1437" y="554"/>
                  <a:pt x="1439" y="551"/>
                </a:cubicBezTo>
                <a:cubicBezTo>
                  <a:pt x="1440" y="550"/>
                  <a:pt x="1440" y="550"/>
                  <a:pt x="1441" y="549"/>
                </a:cubicBezTo>
                <a:cubicBezTo>
                  <a:pt x="1444" y="547"/>
                  <a:pt x="1448" y="545"/>
                  <a:pt x="1451" y="544"/>
                </a:cubicBezTo>
                <a:cubicBezTo>
                  <a:pt x="1452" y="543"/>
                  <a:pt x="1453" y="543"/>
                  <a:pt x="1453" y="543"/>
                </a:cubicBezTo>
                <a:cubicBezTo>
                  <a:pt x="1456" y="544"/>
                  <a:pt x="1459" y="545"/>
                  <a:pt x="1462" y="544"/>
                </a:cubicBezTo>
                <a:cubicBezTo>
                  <a:pt x="1463" y="544"/>
                  <a:pt x="1464" y="545"/>
                  <a:pt x="1465" y="546"/>
                </a:cubicBezTo>
                <a:cubicBezTo>
                  <a:pt x="1466" y="548"/>
                  <a:pt x="1466" y="549"/>
                  <a:pt x="1466" y="551"/>
                </a:cubicBezTo>
                <a:cubicBezTo>
                  <a:pt x="1466" y="552"/>
                  <a:pt x="1465" y="554"/>
                  <a:pt x="1465" y="556"/>
                </a:cubicBezTo>
                <a:cubicBezTo>
                  <a:pt x="1465" y="557"/>
                  <a:pt x="1465" y="557"/>
                  <a:pt x="1464" y="557"/>
                </a:cubicBezTo>
                <a:cubicBezTo>
                  <a:pt x="1462" y="558"/>
                  <a:pt x="1461" y="557"/>
                  <a:pt x="1459" y="558"/>
                </a:cubicBezTo>
                <a:cubicBezTo>
                  <a:pt x="1456" y="558"/>
                  <a:pt x="1455" y="559"/>
                  <a:pt x="1455" y="563"/>
                </a:cubicBezTo>
                <a:cubicBezTo>
                  <a:pt x="1455" y="565"/>
                  <a:pt x="1455" y="566"/>
                  <a:pt x="1454" y="566"/>
                </a:cubicBezTo>
                <a:cubicBezTo>
                  <a:pt x="1453" y="566"/>
                  <a:pt x="1453" y="566"/>
                  <a:pt x="1453" y="566"/>
                </a:cubicBezTo>
                <a:cubicBezTo>
                  <a:pt x="1450" y="567"/>
                  <a:pt x="1450" y="567"/>
                  <a:pt x="1451" y="569"/>
                </a:cubicBezTo>
                <a:cubicBezTo>
                  <a:pt x="1453" y="571"/>
                  <a:pt x="1455" y="573"/>
                  <a:pt x="1456" y="575"/>
                </a:cubicBezTo>
                <a:cubicBezTo>
                  <a:pt x="1458" y="579"/>
                  <a:pt x="1462" y="582"/>
                  <a:pt x="1466" y="583"/>
                </a:cubicBezTo>
                <a:cubicBezTo>
                  <a:pt x="1467" y="583"/>
                  <a:pt x="1468" y="584"/>
                  <a:pt x="1468" y="585"/>
                </a:cubicBezTo>
                <a:cubicBezTo>
                  <a:pt x="1468" y="586"/>
                  <a:pt x="1468" y="586"/>
                  <a:pt x="1468" y="587"/>
                </a:cubicBezTo>
                <a:cubicBezTo>
                  <a:pt x="1467" y="590"/>
                  <a:pt x="1468" y="592"/>
                  <a:pt x="1470" y="594"/>
                </a:cubicBezTo>
                <a:cubicBezTo>
                  <a:pt x="1472" y="597"/>
                  <a:pt x="1472" y="600"/>
                  <a:pt x="1472" y="603"/>
                </a:cubicBezTo>
                <a:cubicBezTo>
                  <a:pt x="1472" y="604"/>
                  <a:pt x="1472" y="605"/>
                  <a:pt x="1472" y="606"/>
                </a:cubicBezTo>
                <a:cubicBezTo>
                  <a:pt x="1473" y="608"/>
                  <a:pt x="1474" y="609"/>
                  <a:pt x="1476" y="609"/>
                </a:cubicBezTo>
                <a:cubicBezTo>
                  <a:pt x="1477" y="609"/>
                  <a:pt x="1477" y="609"/>
                  <a:pt x="1478" y="610"/>
                </a:cubicBezTo>
                <a:cubicBezTo>
                  <a:pt x="1479" y="611"/>
                  <a:pt x="1478" y="612"/>
                  <a:pt x="1478" y="613"/>
                </a:cubicBezTo>
                <a:cubicBezTo>
                  <a:pt x="1478" y="613"/>
                  <a:pt x="1478" y="613"/>
                  <a:pt x="1478" y="613"/>
                </a:cubicBezTo>
                <a:cubicBezTo>
                  <a:pt x="1478" y="614"/>
                  <a:pt x="1479" y="615"/>
                  <a:pt x="1479" y="615"/>
                </a:cubicBezTo>
                <a:cubicBezTo>
                  <a:pt x="1481" y="617"/>
                  <a:pt x="1483" y="619"/>
                  <a:pt x="1482" y="621"/>
                </a:cubicBezTo>
                <a:cubicBezTo>
                  <a:pt x="1482" y="626"/>
                  <a:pt x="1484" y="630"/>
                  <a:pt x="1485" y="634"/>
                </a:cubicBezTo>
                <a:cubicBezTo>
                  <a:pt x="1486" y="635"/>
                  <a:pt x="1485" y="635"/>
                  <a:pt x="1485" y="635"/>
                </a:cubicBezTo>
                <a:close/>
                <a:moveTo>
                  <a:pt x="1504" y="265"/>
                </a:moveTo>
                <a:cubicBezTo>
                  <a:pt x="1503" y="264"/>
                  <a:pt x="1503" y="264"/>
                  <a:pt x="1503" y="264"/>
                </a:cubicBezTo>
                <a:cubicBezTo>
                  <a:pt x="1504" y="264"/>
                  <a:pt x="1504" y="264"/>
                  <a:pt x="1504" y="264"/>
                </a:cubicBezTo>
                <a:lnTo>
                  <a:pt x="1504" y="265"/>
                </a:lnTo>
                <a:close/>
                <a:moveTo>
                  <a:pt x="1519" y="564"/>
                </a:moveTo>
                <a:cubicBezTo>
                  <a:pt x="1518" y="565"/>
                  <a:pt x="1515" y="567"/>
                  <a:pt x="1514" y="566"/>
                </a:cubicBezTo>
                <a:cubicBezTo>
                  <a:pt x="1512" y="566"/>
                  <a:pt x="1510" y="565"/>
                  <a:pt x="1508" y="564"/>
                </a:cubicBezTo>
                <a:cubicBezTo>
                  <a:pt x="1507" y="564"/>
                  <a:pt x="1506" y="563"/>
                  <a:pt x="1506" y="562"/>
                </a:cubicBezTo>
                <a:cubicBezTo>
                  <a:pt x="1506" y="556"/>
                  <a:pt x="1511" y="551"/>
                  <a:pt x="1516" y="551"/>
                </a:cubicBezTo>
                <a:cubicBezTo>
                  <a:pt x="1518" y="552"/>
                  <a:pt x="1519" y="552"/>
                  <a:pt x="1519" y="553"/>
                </a:cubicBezTo>
                <a:cubicBezTo>
                  <a:pt x="1520" y="554"/>
                  <a:pt x="1520" y="556"/>
                  <a:pt x="1521" y="557"/>
                </a:cubicBezTo>
                <a:cubicBezTo>
                  <a:pt x="1520" y="559"/>
                  <a:pt x="1519" y="562"/>
                  <a:pt x="1519" y="564"/>
                </a:cubicBezTo>
                <a:close/>
                <a:moveTo>
                  <a:pt x="1556" y="287"/>
                </a:moveTo>
                <a:cubicBezTo>
                  <a:pt x="1555" y="287"/>
                  <a:pt x="1555" y="287"/>
                  <a:pt x="1555" y="287"/>
                </a:cubicBezTo>
                <a:cubicBezTo>
                  <a:pt x="1553" y="284"/>
                  <a:pt x="1550" y="282"/>
                  <a:pt x="1548" y="279"/>
                </a:cubicBezTo>
                <a:cubicBezTo>
                  <a:pt x="1548" y="278"/>
                  <a:pt x="1548" y="278"/>
                  <a:pt x="1548" y="278"/>
                </a:cubicBezTo>
                <a:cubicBezTo>
                  <a:pt x="1549" y="278"/>
                  <a:pt x="1549" y="277"/>
                  <a:pt x="1550" y="277"/>
                </a:cubicBezTo>
                <a:cubicBezTo>
                  <a:pt x="1551" y="277"/>
                  <a:pt x="1552" y="278"/>
                  <a:pt x="1553" y="279"/>
                </a:cubicBezTo>
                <a:cubicBezTo>
                  <a:pt x="1554" y="280"/>
                  <a:pt x="1555" y="281"/>
                  <a:pt x="1556" y="282"/>
                </a:cubicBezTo>
                <a:cubicBezTo>
                  <a:pt x="1557" y="283"/>
                  <a:pt x="1557" y="286"/>
                  <a:pt x="1556" y="287"/>
                </a:cubicBezTo>
                <a:close/>
                <a:moveTo>
                  <a:pt x="1558" y="294"/>
                </a:moveTo>
                <a:cubicBezTo>
                  <a:pt x="1558" y="294"/>
                  <a:pt x="1557" y="294"/>
                  <a:pt x="1557" y="294"/>
                </a:cubicBezTo>
                <a:cubicBezTo>
                  <a:pt x="1557" y="293"/>
                  <a:pt x="1558" y="293"/>
                  <a:pt x="1558" y="294"/>
                </a:cubicBezTo>
                <a:cubicBezTo>
                  <a:pt x="1558" y="294"/>
                  <a:pt x="1558" y="294"/>
                  <a:pt x="1558" y="294"/>
                </a:cubicBezTo>
                <a:close/>
                <a:moveTo>
                  <a:pt x="1571" y="595"/>
                </a:moveTo>
                <a:cubicBezTo>
                  <a:pt x="1571" y="595"/>
                  <a:pt x="1571" y="595"/>
                  <a:pt x="1571" y="595"/>
                </a:cubicBezTo>
                <a:cubicBezTo>
                  <a:pt x="1571" y="595"/>
                  <a:pt x="1571" y="595"/>
                  <a:pt x="1571" y="595"/>
                </a:cubicBezTo>
                <a:close/>
                <a:moveTo>
                  <a:pt x="1575" y="251"/>
                </a:moveTo>
                <a:cubicBezTo>
                  <a:pt x="1575" y="252"/>
                  <a:pt x="1574" y="253"/>
                  <a:pt x="1574" y="252"/>
                </a:cubicBezTo>
                <a:cubicBezTo>
                  <a:pt x="1573" y="252"/>
                  <a:pt x="1573" y="251"/>
                  <a:pt x="1573" y="251"/>
                </a:cubicBezTo>
                <a:cubicBezTo>
                  <a:pt x="1574" y="250"/>
                  <a:pt x="1575" y="250"/>
                  <a:pt x="1575" y="250"/>
                </a:cubicBezTo>
                <a:cubicBezTo>
                  <a:pt x="1575" y="250"/>
                  <a:pt x="1576" y="250"/>
                  <a:pt x="1576" y="251"/>
                </a:cubicBezTo>
                <a:cubicBezTo>
                  <a:pt x="1576" y="251"/>
                  <a:pt x="1575" y="251"/>
                  <a:pt x="1575" y="251"/>
                </a:cubicBezTo>
                <a:close/>
                <a:moveTo>
                  <a:pt x="1612" y="130"/>
                </a:moveTo>
                <a:cubicBezTo>
                  <a:pt x="1613" y="131"/>
                  <a:pt x="1613" y="131"/>
                  <a:pt x="1614" y="132"/>
                </a:cubicBezTo>
                <a:cubicBezTo>
                  <a:pt x="1614" y="132"/>
                  <a:pt x="1614" y="132"/>
                  <a:pt x="1614" y="132"/>
                </a:cubicBezTo>
                <a:cubicBezTo>
                  <a:pt x="1614" y="132"/>
                  <a:pt x="1614" y="132"/>
                  <a:pt x="1614" y="132"/>
                </a:cubicBezTo>
                <a:cubicBezTo>
                  <a:pt x="1613" y="131"/>
                  <a:pt x="1613" y="131"/>
                  <a:pt x="1612" y="130"/>
                </a:cubicBezTo>
                <a:cubicBezTo>
                  <a:pt x="1612" y="130"/>
                  <a:pt x="1612" y="130"/>
                  <a:pt x="1612" y="130"/>
                </a:cubicBezTo>
                <a:cubicBezTo>
                  <a:pt x="1612" y="130"/>
                  <a:pt x="1612" y="130"/>
                  <a:pt x="1612" y="130"/>
                </a:cubicBezTo>
                <a:close/>
                <a:moveTo>
                  <a:pt x="1612" y="453"/>
                </a:moveTo>
                <a:cubicBezTo>
                  <a:pt x="1612" y="453"/>
                  <a:pt x="1612" y="453"/>
                  <a:pt x="1612" y="454"/>
                </a:cubicBezTo>
                <a:cubicBezTo>
                  <a:pt x="1612" y="454"/>
                  <a:pt x="1612" y="454"/>
                  <a:pt x="1611" y="454"/>
                </a:cubicBezTo>
                <a:cubicBezTo>
                  <a:pt x="1611" y="454"/>
                  <a:pt x="1610" y="454"/>
                  <a:pt x="1610" y="454"/>
                </a:cubicBezTo>
                <a:cubicBezTo>
                  <a:pt x="1610" y="454"/>
                  <a:pt x="1609" y="454"/>
                  <a:pt x="1609" y="454"/>
                </a:cubicBezTo>
                <a:cubicBezTo>
                  <a:pt x="1610" y="453"/>
                  <a:pt x="1611" y="453"/>
                  <a:pt x="1612" y="453"/>
                </a:cubicBezTo>
                <a:close/>
                <a:moveTo>
                  <a:pt x="1614" y="542"/>
                </a:moveTo>
                <a:cubicBezTo>
                  <a:pt x="1612" y="544"/>
                  <a:pt x="1611" y="546"/>
                  <a:pt x="1610" y="549"/>
                </a:cubicBezTo>
                <a:cubicBezTo>
                  <a:pt x="1610" y="549"/>
                  <a:pt x="1609" y="550"/>
                  <a:pt x="1609" y="550"/>
                </a:cubicBezTo>
                <a:cubicBezTo>
                  <a:pt x="1608" y="550"/>
                  <a:pt x="1607" y="549"/>
                  <a:pt x="1607" y="548"/>
                </a:cubicBezTo>
                <a:cubicBezTo>
                  <a:pt x="1607" y="548"/>
                  <a:pt x="1607" y="548"/>
                  <a:pt x="1607" y="548"/>
                </a:cubicBezTo>
                <a:cubicBezTo>
                  <a:pt x="1607" y="545"/>
                  <a:pt x="1608" y="543"/>
                  <a:pt x="1609" y="541"/>
                </a:cubicBezTo>
                <a:cubicBezTo>
                  <a:pt x="1610" y="540"/>
                  <a:pt x="1611" y="539"/>
                  <a:pt x="1612" y="538"/>
                </a:cubicBezTo>
                <a:cubicBezTo>
                  <a:pt x="1613" y="538"/>
                  <a:pt x="1614" y="538"/>
                  <a:pt x="1615" y="538"/>
                </a:cubicBezTo>
                <a:cubicBezTo>
                  <a:pt x="1615" y="538"/>
                  <a:pt x="1616" y="538"/>
                  <a:pt x="1616" y="539"/>
                </a:cubicBezTo>
                <a:cubicBezTo>
                  <a:pt x="1615" y="540"/>
                  <a:pt x="1615" y="541"/>
                  <a:pt x="1614" y="542"/>
                </a:cubicBezTo>
                <a:close/>
                <a:moveTo>
                  <a:pt x="1625" y="102"/>
                </a:moveTo>
                <a:cubicBezTo>
                  <a:pt x="1625" y="101"/>
                  <a:pt x="1625" y="101"/>
                  <a:pt x="1625" y="101"/>
                </a:cubicBezTo>
                <a:cubicBezTo>
                  <a:pt x="1625" y="101"/>
                  <a:pt x="1625" y="101"/>
                  <a:pt x="1625" y="101"/>
                </a:cubicBezTo>
                <a:lnTo>
                  <a:pt x="1625" y="102"/>
                </a:lnTo>
                <a:close/>
                <a:moveTo>
                  <a:pt x="1644" y="152"/>
                </a:moveTo>
                <a:cubicBezTo>
                  <a:pt x="1644" y="152"/>
                  <a:pt x="1644" y="152"/>
                  <a:pt x="1644" y="152"/>
                </a:cubicBezTo>
                <a:cubicBezTo>
                  <a:pt x="1643" y="153"/>
                  <a:pt x="1643" y="155"/>
                  <a:pt x="1643" y="157"/>
                </a:cubicBezTo>
                <a:cubicBezTo>
                  <a:pt x="1642" y="158"/>
                  <a:pt x="1642" y="158"/>
                  <a:pt x="1641" y="158"/>
                </a:cubicBezTo>
                <a:cubicBezTo>
                  <a:pt x="1639" y="159"/>
                  <a:pt x="1639" y="160"/>
                  <a:pt x="1638" y="162"/>
                </a:cubicBezTo>
                <a:cubicBezTo>
                  <a:pt x="1638" y="162"/>
                  <a:pt x="1638" y="162"/>
                  <a:pt x="1639" y="162"/>
                </a:cubicBezTo>
                <a:cubicBezTo>
                  <a:pt x="1639" y="162"/>
                  <a:pt x="1640" y="163"/>
                  <a:pt x="1640" y="164"/>
                </a:cubicBezTo>
                <a:cubicBezTo>
                  <a:pt x="1641" y="164"/>
                  <a:pt x="1642" y="165"/>
                  <a:pt x="1642" y="165"/>
                </a:cubicBezTo>
                <a:cubicBezTo>
                  <a:pt x="1642" y="166"/>
                  <a:pt x="1642" y="166"/>
                  <a:pt x="1642" y="166"/>
                </a:cubicBezTo>
                <a:cubicBezTo>
                  <a:pt x="1642" y="165"/>
                  <a:pt x="1642" y="165"/>
                  <a:pt x="1642" y="165"/>
                </a:cubicBezTo>
                <a:cubicBezTo>
                  <a:pt x="1641" y="165"/>
                  <a:pt x="1641" y="164"/>
                  <a:pt x="1640" y="164"/>
                </a:cubicBezTo>
                <a:cubicBezTo>
                  <a:pt x="1639" y="163"/>
                  <a:pt x="1639" y="163"/>
                  <a:pt x="1638" y="162"/>
                </a:cubicBezTo>
                <a:cubicBezTo>
                  <a:pt x="1638" y="162"/>
                  <a:pt x="1638" y="162"/>
                  <a:pt x="1638" y="162"/>
                </a:cubicBezTo>
                <a:cubicBezTo>
                  <a:pt x="1637" y="160"/>
                  <a:pt x="1635" y="160"/>
                  <a:pt x="1634" y="159"/>
                </a:cubicBezTo>
                <a:cubicBezTo>
                  <a:pt x="1633" y="157"/>
                  <a:pt x="1633" y="155"/>
                  <a:pt x="1632" y="154"/>
                </a:cubicBezTo>
                <a:cubicBezTo>
                  <a:pt x="1632" y="153"/>
                  <a:pt x="1632" y="152"/>
                  <a:pt x="1632" y="152"/>
                </a:cubicBezTo>
                <a:cubicBezTo>
                  <a:pt x="1632" y="151"/>
                  <a:pt x="1632" y="151"/>
                  <a:pt x="1632" y="151"/>
                </a:cubicBezTo>
                <a:cubicBezTo>
                  <a:pt x="1631" y="151"/>
                  <a:pt x="1631" y="151"/>
                  <a:pt x="1631" y="151"/>
                </a:cubicBezTo>
                <a:cubicBezTo>
                  <a:pt x="1632" y="151"/>
                  <a:pt x="1632" y="151"/>
                  <a:pt x="1632" y="151"/>
                </a:cubicBezTo>
                <a:cubicBezTo>
                  <a:pt x="1632" y="151"/>
                  <a:pt x="1632" y="151"/>
                  <a:pt x="1632" y="152"/>
                </a:cubicBezTo>
                <a:cubicBezTo>
                  <a:pt x="1633" y="152"/>
                  <a:pt x="1634" y="153"/>
                  <a:pt x="1635" y="153"/>
                </a:cubicBezTo>
                <a:cubicBezTo>
                  <a:pt x="1636" y="154"/>
                  <a:pt x="1638" y="154"/>
                  <a:pt x="1640" y="153"/>
                </a:cubicBezTo>
                <a:cubicBezTo>
                  <a:pt x="1641" y="152"/>
                  <a:pt x="1642" y="152"/>
                  <a:pt x="1644" y="152"/>
                </a:cubicBezTo>
                <a:cubicBezTo>
                  <a:pt x="1644" y="152"/>
                  <a:pt x="1644" y="151"/>
                  <a:pt x="1644" y="151"/>
                </a:cubicBezTo>
                <a:cubicBezTo>
                  <a:pt x="1644" y="151"/>
                  <a:pt x="1644" y="151"/>
                  <a:pt x="1644" y="151"/>
                </a:cubicBezTo>
                <a:cubicBezTo>
                  <a:pt x="1644" y="151"/>
                  <a:pt x="1644" y="151"/>
                  <a:pt x="1644" y="152"/>
                </a:cubicBezTo>
                <a:close/>
                <a:moveTo>
                  <a:pt x="1654" y="145"/>
                </a:moveTo>
                <a:cubicBezTo>
                  <a:pt x="1652" y="146"/>
                  <a:pt x="1650" y="147"/>
                  <a:pt x="1648" y="149"/>
                </a:cubicBezTo>
                <a:cubicBezTo>
                  <a:pt x="1647" y="149"/>
                  <a:pt x="1647" y="149"/>
                  <a:pt x="1646" y="149"/>
                </a:cubicBezTo>
                <a:cubicBezTo>
                  <a:pt x="1646" y="150"/>
                  <a:pt x="1646" y="150"/>
                  <a:pt x="1646" y="150"/>
                </a:cubicBezTo>
                <a:cubicBezTo>
                  <a:pt x="1646" y="150"/>
                  <a:pt x="1645" y="150"/>
                  <a:pt x="1645" y="150"/>
                </a:cubicBezTo>
                <a:cubicBezTo>
                  <a:pt x="1645" y="150"/>
                  <a:pt x="1645" y="150"/>
                  <a:pt x="1645" y="149"/>
                </a:cubicBezTo>
                <a:cubicBezTo>
                  <a:pt x="1646" y="149"/>
                  <a:pt x="1646" y="149"/>
                  <a:pt x="1646" y="149"/>
                </a:cubicBezTo>
                <a:cubicBezTo>
                  <a:pt x="1646" y="149"/>
                  <a:pt x="1647" y="148"/>
                  <a:pt x="1647" y="147"/>
                </a:cubicBezTo>
                <a:cubicBezTo>
                  <a:pt x="1649" y="145"/>
                  <a:pt x="1650" y="144"/>
                  <a:pt x="1651" y="143"/>
                </a:cubicBezTo>
                <a:cubicBezTo>
                  <a:pt x="1651" y="143"/>
                  <a:pt x="1651" y="143"/>
                  <a:pt x="1651" y="143"/>
                </a:cubicBezTo>
                <a:cubicBezTo>
                  <a:pt x="1651" y="143"/>
                  <a:pt x="1651" y="142"/>
                  <a:pt x="1651" y="142"/>
                </a:cubicBezTo>
                <a:cubicBezTo>
                  <a:pt x="1649" y="142"/>
                  <a:pt x="1647" y="142"/>
                  <a:pt x="1647" y="140"/>
                </a:cubicBezTo>
                <a:cubicBezTo>
                  <a:pt x="1647" y="139"/>
                  <a:pt x="1647" y="139"/>
                  <a:pt x="1647" y="139"/>
                </a:cubicBezTo>
                <a:cubicBezTo>
                  <a:pt x="1647" y="138"/>
                  <a:pt x="1648" y="139"/>
                  <a:pt x="1648" y="139"/>
                </a:cubicBezTo>
                <a:cubicBezTo>
                  <a:pt x="1648" y="139"/>
                  <a:pt x="1649" y="139"/>
                  <a:pt x="1649" y="140"/>
                </a:cubicBezTo>
                <a:cubicBezTo>
                  <a:pt x="1650" y="141"/>
                  <a:pt x="1650" y="142"/>
                  <a:pt x="1651" y="142"/>
                </a:cubicBezTo>
                <a:cubicBezTo>
                  <a:pt x="1651" y="142"/>
                  <a:pt x="1651" y="142"/>
                  <a:pt x="1651" y="142"/>
                </a:cubicBezTo>
                <a:cubicBezTo>
                  <a:pt x="1651" y="142"/>
                  <a:pt x="1651" y="143"/>
                  <a:pt x="1651" y="143"/>
                </a:cubicBezTo>
                <a:cubicBezTo>
                  <a:pt x="1652" y="143"/>
                  <a:pt x="1653" y="143"/>
                  <a:pt x="1653" y="143"/>
                </a:cubicBezTo>
                <a:cubicBezTo>
                  <a:pt x="1654" y="143"/>
                  <a:pt x="1654" y="144"/>
                  <a:pt x="1655" y="144"/>
                </a:cubicBezTo>
                <a:cubicBezTo>
                  <a:pt x="1655" y="144"/>
                  <a:pt x="1654" y="145"/>
                  <a:pt x="1654" y="145"/>
                </a:cubicBezTo>
                <a:close/>
                <a:moveTo>
                  <a:pt x="1667" y="144"/>
                </a:moveTo>
                <a:cubicBezTo>
                  <a:pt x="1666" y="144"/>
                  <a:pt x="1666" y="144"/>
                  <a:pt x="1666" y="144"/>
                </a:cubicBezTo>
                <a:cubicBezTo>
                  <a:pt x="1667" y="143"/>
                  <a:pt x="1667" y="143"/>
                  <a:pt x="1667" y="143"/>
                </a:cubicBezTo>
                <a:lnTo>
                  <a:pt x="1667" y="144"/>
                </a:lnTo>
                <a:close/>
                <a:moveTo>
                  <a:pt x="1679" y="523"/>
                </a:moveTo>
                <a:cubicBezTo>
                  <a:pt x="1679" y="524"/>
                  <a:pt x="1678" y="524"/>
                  <a:pt x="1677" y="524"/>
                </a:cubicBezTo>
                <a:cubicBezTo>
                  <a:pt x="1674" y="523"/>
                  <a:pt x="1671" y="522"/>
                  <a:pt x="1669" y="521"/>
                </a:cubicBezTo>
                <a:cubicBezTo>
                  <a:pt x="1668" y="520"/>
                  <a:pt x="1668" y="519"/>
                  <a:pt x="1668" y="518"/>
                </a:cubicBezTo>
                <a:cubicBezTo>
                  <a:pt x="1668" y="517"/>
                  <a:pt x="1668" y="516"/>
                  <a:pt x="1668" y="515"/>
                </a:cubicBezTo>
                <a:cubicBezTo>
                  <a:pt x="1669" y="515"/>
                  <a:pt x="1670" y="516"/>
                  <a:pt x="1670" y="517"/>
                </a:cubicBezTo>
                <a:cubicBezTo>
                  <a:pt x="1671" y="518"/>
                  <a:pt x="1673" y="519"/>
                  <a:pt x="1675" y="520"/>
                </a:cubicBezTo>
                <a:cubicBezTo>
                  <a:pt x="1676" y="520"/>
                  <a:pt x="1678" y="521"/>
                  <a:pt x="1679" y="522"/>
                </a:cubicBezTo>
                <a:cubicBezTo>
                  <a:pt x="1679" y="522"/>
                  <a:pt x="1679" y="522"/>
                  <a:pt x="1679" y="522"/>
                </a:cubicBezTo>
                <a:cubicBezTo>
                  <a:pt x="1679" y="523"/>
                  <a:pt x="1679" y="523"/>
                  <a:pt x="1679" y="523"/>
                </a:cubicBezTo>
                <a:close/>
                <a:moveTo>
                  <a:pt x="1679" y="178"/>
                </a:moveTo>
                <a:cubicBezTo>
                  <a:pt x="1679" y="178"/>
                  <a:pt x="1679" y="178"/>
                  <a:pt x="1679" y="178"/>
                </a:cubicBezTo>
                <a:cubicBezTo>
                  <a:pt x="1679" y="177"/>
                  <a:pt x="1679" y="177"/>
                  <a:pt x="1679" y="177"/>
                </a:cubicBezTo>
                <a:cubicBezTo>
                  <a:pt x="1679" y="177"/>
                  <a:pt x="1679" y="177"/>
                  <a:pt x="1679" y="177"/>
                </a:cubicBezTo>
                <a:cubicBezTo>
                  <a:pt x="1679" y="178"/>
                  <a:pt x="1679" y="178"/>
                  <a:pt x="1679" y="178"/>
                </a:cubicBezTo>
                <a:cubicBezTo>
                  <a:pt x="1679" y="178"/>
                  <a:pt x="1679" y="178"/>
                  <a:pt x="1679" y="178"/>
                </a:cubicBezTo>
                <a:cubicBezTo>
                  <a:pt x="1679" y="178"/>
                  <a:pt x="1679" y="178"/>
                  <a:pt x="1679" y="178"/>
                </a:cubicBezTo>
                <a:close/>
                <a:moveTo>
                  <a:pt x="1726" y="495"/>
                </a:moveTo>
                <a:cubicBezTo>
                  <a:pt x="1725" y="496"/>
                  <a:pt x="1724" y="496"/>
                  <a:pt x="1724" y="495"/>
                </a:cubicBezTo>
                <a:cubicBezTo>
                  <a:pt x="1723" y="494"/>
                  <a:pt x="1723" y="493"/>
                  <a:pt x="1723" y="493"/>
                </a:cubicBezTo>
                <a:cubicBezTo>
                  <a:pt x="1723" y="492"/>
                  <a:pt x="1724" y="492"/>
                  <a:pt x="1724" y="491"/>
                </a:cubicBezTo>
                <a:cubicBezTo>
                  <a:pt x="1725" y="491"/>
                  <a:pt x="1726" y="491"/>
                  <a:pt x="1726" y="492"/>
                </a:cubicBezTo>
                <a:cubicBezTo>
                  <a:pt x="1727" y="493"/>
                  <a:pt x="1727" y="493"/>
                  <a:pt x="1727" y="494"/>
                </a:cubicBezTo>
                <a:cubicBezTo>
                  <a:pt x="1726" y="494"/>
                  <a:pt x="1726" y="495"/>
                  <a:pt x="1726" y="495"/>
                </a:cubicBezTo>
                <a:close/>
                <a:moveTo>
                  <a:pt x="1730" y="517"/>
                </a:moveTo>
                <a:cubicBezTo>
                  <a:pt x="1730" y="517"/>
                  <a:pt x="1729" y="517"/>
                  <a:pt x="1729" y="517"/>
                </a:cubicBezTo>
                <a:cubicBezTo>
                  <a:pt x="1729" y="518"/>
                  <a:pt x="1728" y="518"/>
                  <a:pt x="1728" y="518"/>
                </a:cubicBezTo>
                <a:cubicBezTo>
                  <a:pt x="1728" y="518"/>
                  <a:pt x="1728" y="517"/>
                  <a:pt x="1728" y="517"/>
                </a:cubicBezTo>
                <a:cubicBezTo>
                  <a:pt x="1728" y="517"/>
                  <a:pt x="1728" y="516"/>
                  <a:pt x="1728" y="516"/>
                </a:cubicBezTo>
                <a:cubicBezTo>
                  <a:pt x="1728" y="515"/>
                  <a:pt x="1729" y="514"/>
                  <a:pt x="1729" y="515"/>
                </a:cubicBezTo>
                <a:cubicBezTo>
                  <a:pt x="1730" y="516"/>
                  <a:pt x="1730" y="516"/>
                  <a:pt x="1730" y="517"/>
                </a:cubicBezTo>
                <a:close/>
                <a:moveTo>
                  <a:pt x="1733" y="506"/>
                </a:moveTo>
                <a:cubicBezTo>
                  <a:pt x="1733" y="505"/>
                  <a:pt x="1733" y="505"/>
                  <a:pt x="1733" y="505"/>
                </a:cubicBezTo>
                <a:cubicBezTo>
                  <a:pt x="1733" y="506"/>
                  <a:pt x="1733" y="506"/>
                  <a:pt x="1733" y="506"/>
                </a:cubicBezTo>
                <a:cubicBezTo>
                  <a:pt x="1733" y="506"/>
                  <a:pt x="1733" y="506"/>
                  <a:pt x="1733" y="506"/>
                </a:cubicBezTo>
                <a:close/>
                <a:moveTo>
                  <a:pt x="1768" y="427"/>
                </a:moveTo>
                <a:cubicBezTo>
                  <a:pt x="1768" y="427"/>
                  <a:pt x="1767" y="428"/>
                  <a:pt x="1767" y="427"/>
                </a:cubicBezTo>
                <a:cubicBezTo>
                  <a:pt x="1766" y="426"/>
                  <a:pt x="1764" y="425"/>
                  <a:pt x="1764" y="423"/>
                </a:cubicBezTo>
                <a:cubicBezTo>
                  <a:pt x="1763" y="422"/>
                  <a:pt x="1764" y="422"/>
                  <a:pt x="1764" y="422"/>
                </a:cubicBezTo>
                <a:cubicBezTo>
                  <a:pt x="1764" y="421"/>
                  <a:pt x="1764" y="421"/>
                  <a:pt x="1765" y="422"/>
                </a:cubicBezTo>
                <a:cubicBezTo>
                  <a:pt x="1765" y="422"/>
                  <a:pt x="1766" y="423"/>
                  <a:pt x="1766" y="424"/>
                </a:cubicBezTo>
                <a:cubicBezTo>
                  <a:pt x="1767" y="425"/>
                  <a:pt x="1767" y="426"/>
                  <a:pt x="1768" y="427"/>
                </a:cubicBezTo>
                <a:cubicBezTo>
                  <a:pt x="1768" y="427"/>
                  <a:pt x="1768" y="427"/>
                  <a:pt x="1768" y="427"/>
                </a:cubicBezTo>
                <a:close/>
                <a:moveTo>
                  <a:pt x="1768" y="419"/>
                </a:moveTo>
                <a:cubicBezTo>
                  <a:pt x="1767" y="419"/>
                  <a:pt x="1768" y="418"/>
                  <a:pt x="1768" y="418"/>
                </a:cubicBezTo>
                <a:cubicBezTo>
                  <a:pt x="1768" y="418"/>
                  <a:pt x="1769" y="419"/>
                  <a:pt x="1769" y="419"/>
                </a:cubicBezTo>
                <a:cubicBezTo>
                  <a:pt x="1768" y="419"/>
                  <a:pt x="1768" y="419"/>
                  <a:pt x="1768" y="419"/>
                </a:cubicBezTo>
                <a:close/>
                <a:moveTo>
                  <a:pt x="1775" y="481"/>
                </a:moveTo>
                <a:cubicBezTo>
                  <a:pt x="1775" y="481"/>
                  <a:pt x="1774" y="482"/>
                  <a:pt x="1774" y="482"/>
                </a:cubicBezTo>
                <a:cubicBezTo>
                  <a:pt x="1774" y="481"/>
                  <a:pt x="1774" y="481"/>
                  <a:pt x="1774" y="481"/>
                </a:cubicBezTo>
                <a:cubicBezTo>
                  <a:pt x="1774" y="480"/>
                  <a:pt x="1773" y="479"/>
                  <a:pt x="1773" y="479"/>
                </a:cubicBezTo>
                <a:cubicBezTo>
                  <a:pt x="1773" y="479"/>
                  <a:pt x="1774" y="478"/>
                  <a:pt x="1774" y="478"/>
                </a:cubicBezTo>
                <a:cubicBezTo>
                  <a:pt x="1774" y="478"/>
                  <a:pt x="1775" y="478"/>
                  <a:pt x="1775" y="479"/>
                </a:cubicBezTo>
                <a:cubicBezTo>
                  <a:pt x="1775" y="480"/>
                  <a:pt x="1775" y="480"/>
                  <a:pt x="1775" y="481"/>
                </a:cubicBezTo>
                <a:close/>
                <a:moveTo>
                  <a:pt x="1798" y="471"/>
                </a:moveTo>
                <a:cubicBezTo>
                  <a:pt x="1798" y="471"/>
                  <a:pt x="1798" y="471"/>
                  <a:pt x="1798" y="471"/>
                </a:cubicBezTo>
                <a:cubicBezTo>
                  <a:pt x="1799" y="469"/>
                  <a:pt x="1799" y="468"/>
                  <a:pt x="1800" y="467"/>
                </a:cubicBezTo>
                <a:cubicBezTo>
                  <a:pt x="1800" y="467"/>
                  <a:pt x="1800" y="467"/>
                  <a:pt x="1800" y="467"/>
                </a:cubicBezTo>
                <a:cubicBezTo>
                  <a:pt x="1799" y="467"/>
                  <a:pt x="1799" y="467"/>
                  <a:pt x="1800" y="466"/>
                </a:cubicBezTo>
                <a:cubicBezTo>
                  <a:pt x="1800" y="466"/>
                  <a:pt x="1800" y="467"/>
                  <a:pt x="1800" y="467"/>
                </a:cubicBezTo>
                <a:cubicBezTo>
                  <a:pt x="1800" y="467"/>
                  <a:pt x="1800" y="467"/>
                  <a:pt x="1800" y="467"/>
                </a:cubicBezTo>
                <a:cubicBezTo>
                  <a:pt x="1801" y="468"/>
                  <a:pt x="1802" y="468"/>
                  <a:pt x="1803" y="468"/>
                </a:cubicBezTo>
                <a:cubicBezTo>
                  <a:pt x="1804" y="467"/>
                  <a:pt x="1805" y="466"/>
                  <a:pt x="1805" y="466"/>
                </a:cubicBezTo>
                <a:cubicBezTo>
                  <a:pt x="1806" y="463"/>
                  <a:pt x="1807" y="460"/>
                  <a:pt x="1809" y="458"/>
                </a:cubicBezTo>
                <a:cubicBezTo>
                  <a:pt x="1809" y="457"/>
                  <a:pt x="1810" y="456"/>
                  <a:pt x="1810" y="455"/>
                </a:cubicBezTo>
                <a:cubicBezTo>
                  <a:pt x="1811" y="453"/>
                  <a:pt x="1811" y="451"/>
                  <a:pt x="1812" y="449"/>
                </a:cubicBezTo>
                <a:cubicBezTo>
                  <a:pt x="1816" y="441"/>
                  <a:pt x="1817" y="432"/>
                  <a:pt x="1816" y="424"/>
                </a:cubicBezTo>
                <a:cubicBezTo>
                  <a:pt x="1815" y="423"/>
                  <a:pt x="1816" y="422"/>
                  <a:pt x="1816" y="422"/>
                </a:cubicBezTo>
                <a:cubicBezTo>
                  <a:pt x="1816" y="422"/>
                  <a:pt x="1816" y="421"/>
                  <a:pt x="1816" y="421"/>
                </a:cubicBezTo>
                <a:cubicBezTo>
                  <a:pt x="1817" y="421"/>
                  <a:pt x="1818" y="421"/>
                  <a:pt x="1818" y="422"/>
                </a:cubicBezTo>
                <a:cubicBezTo>
                  <a:pt x="1819" y="425"/>
                  <a:pt x="1820" y="428"/>
                  <a:pt x="1820" y="432"/>
                </a:cubicBezTo>
                <a:cubicBezTo>
                  <a:pt x="1821" y="434"/>
                  <a:pt x="1821" y="436"/>
                  <a:pt x="1822" y="438"/>
                </a:cubicBezTo>
                <a:cubicBezTo>
                  <a:pt x="1823" y="440"/>
                  <a:pt x="1822" y="442"/>
                  <a:pt x="1821" y="443"/>
                </a:cubicBezTo>
                <a:cubicBezTo>
                  <a:pt x="1820" y="444"/>
                  <a:pt x="1819" y="445"/>
                  <a:pt x="1820" y="447"/>
                </a:cubicBezTo>
                <a:cubicBezTo>
                  <a:pt x="1821" y="448"/>
                  <a:pt x="1821" y="448"/>
                  <a:pt x="1820" y="450"/>
                </a:cubicBezTo>
                <a:cubicBezTo>
                  <a:pt x="1818" y="454"/>
                  <a:pt x="1815" y="458"/>
                  <a:pt x="1811" y="461"/>
                </a:cubicBezTo>
                <a:cubicBezTo>
                  <a:pt x="1809" y="462"/>
                  <a:pt x="1808" y="464"/>
                  <a:pt x="1808" y="466"/>
                </a:cubicBezTo>
                <a:cubicBezTo>
                  <a:pt x="1808" y="468"/>
                  <a:pt x="1807" y="469"/>
                  <a:pt x="1805" y="470"/>
                </a:cubicBezTo>
                <a:cubicBezTo>
                  <a:pt x="1803" y="471"/>
                  <a:pt x="1802" y="472"/>
                  <a:pt x="1799" y="472"/>
                </a:cubicBezTo>
                <a:cubicBezTo>
                  <a:pt x="1799" y="472"/>
                  <a:pt x="1798" y="472"/>
                  <a:pt x="1798" y="471"/>
                </a:cubicBezTo>
                <a:close/>
                <a:moveTo>
                  <a:pt x="1835" y="851"/>
                </a:moveTo>
                <a:cubicBezTo>
                  <a:pt x="1835" y="851"/>
                  <a:pt x="1835" y="851"/>
                  <a:pt x="1835" y="851"/>
                </a:cubicBezTo>
                <a:cubicBezTo>
                  <a:pt x="1835" y="851"/>
                  <a:pt x="1835" y="851"/>
                  <a:pt x="1835" y="851"/>
                </a:cubicBezTo>
                <a:close/>
                <a:moveTo>
                  <a:pt x="1255" y="628"/>
                </a:moveTo>
                <a:cubicBezTo>
                  <a:pt x="1255" y="628"/>
                  <a:pt x="1255" y="628"/>
                  <a:pt x="1255" y="628"/>
                </a:cubicBezTo>
                <a:cubicBezTo>
                  <a:pt x="1255" y="628"/>
                  <a:pt x="1255" y="628"/>
                  <a:pt x="1255" y="628"/>
                </a:cubicBezTo>
                <a:cubicBezTo>
                  <a:pt x="1255" y="628"/>
                  <a:pt x="1255" y="628"/>
                  <a:pt x="1255" y="628"/>
                </a:cubicBezTo>
                <a:cubicBezTo>
                  <a:pt x="1255" y="628"/>
                  <a:pt x="1255" y="628"/>
                  <a:pt x="1255" y="628"/>
                </a:cubicBezTo>
                <a:close/>
                <a:moveTo>
                  <a:pt x="759" y="919"/>
                </a:moveTo>
                <a:cubicBezTo>
                  <a:pt x="759" y="919"/>
                  <a:pt x="759" y="919"/>
                  <a:pt x="759" y="919"/>
                </a:cubicBezTo>
                <a:cubicBezTo>
                  <a:pt x="759" y="919"/>
                  <a:pt x="759" y="919"/>
                  <a:pt x="759" y="919"/>
                </a:cubicBezTo>
                <a:cubicBezTo>
                  <a:pt x="759" y="919"/>
                  <a:pt x="759" y="919"/>
                  <a:pt x="759" y="919"/>
                </a:cubicBezTo>
                <a:cubicBezTo>
                  <a:pt x="759" y="919"/>
                  <a:pt x="759" y="919"/>
                  <a:pt x="759" y="919"/>
                </a:cubicBezTo>
                <a:close/>
                <a:moveTo>
                  <a:pt x="570" y="246"/>
                </a:moveTo>
                <a:cubicBezTo>
                  <a:pt x="570" y="246"/>
                  <a:pt x="570" y="246"/>
                  <a:pt x="570" y="246"/>
                </a:cubicBezTo>
                <a:cubicBezTo>
                  <a:pt x="570" y="246"/>
                  <a:pt x="570" y="246"/>
                  <a:pt x="570" y="246"/>
                </a:cubicBezTo>
                <a:cubicBezTo>
                  <a:pt x="570" y="246"/>
                  <a:pt x="570" y="246"/>
                  <a:pt x="570" y="246"/>
                </a:cubicBezTo>
                <a:cubicBezTo>
                  <a:pt x="570" y="246"/>
                  <a:pt x="570" y="246"/>
                  <a:pt x="570" y="246"/>
                </a:cubicBezTo>
                <a:close/>
                <a:moveTo>
                  <a:pt x="599" y="313"/>
                </a:moveTo>
                <a:cubicBezTo>
                  <a:pt x="599" y="313"/>
                  <a:pt x="599" y="313"/>
                  <a:pt x="599" y="313"/>
                </a:cubicBezTo>
                <a:cubicBezTo>
                  <a:pt x="600" y="313"/>
                  <a:pt x="600" y="313"/>
                  <a:pt x="600" y="313"/>
                </a:cubicBezTo>
                <a:cubicBezTo>
                  <a:pt x="599" y="314"/>
                  <a:pt x="599" y="316"/>
                  <a:pt x="598" y="318"/>
                </a:cubicBezTo>
                <a:cubicBezTo>
                  <a:pt x="596" y="323"/>
                  <a:pt x="593" y="327"/>
                  <a:pt x="592" y="333"/>
                </a:cubicBezTo>
                <a:cubicBezTo>
                  <a:pt x="591" y="334"/>
                  <a:pt x="591" y="335"/>
                  <a:pt x="590" y="335"/>
                </a:cubicBezTo>
                <a:cubicBezTo>
                  <a:pt x="589" y="336"/>
                  <a:pt x="588" y="336"/>
                  <a:pt x="588" y="337"/>
                </a:cubicBezTo>
                <a:cubicBezTo>
                  <a:pt x="587" y="338"/>
                  <a:pt x="587" y="340"/>
                  <a:pt x="588" y="341"/>
                </a:cubicBezTo>
                <a:cubicBezTo>
                  <a:pt x="589" y="341"/>
                  <a:pt x="590" y="341"/>
                  <a:pt x="590" y="341"/>
                </a:cubicBezTo>
                <a:cubicBezTo>
                  <a:pt x="591" y="342"/>
                  <a:pt x="592" y="343"/>
                  <a:pt x="592" y="344"/>
                </a:cubicBezTo>
                <a:cubicBezTo>
                  <a:pt x="592" y="345"/>
                  <a:pt x="592" y="345"/>
                  <a:pt x="592" y="346"/>
                </a:cubicBezTo>
                <a:cubicBezTo>
                  <a:pt x="592" y="348"/>
                  <a:pt x="593" y="349"/>
                  <a:pt x="595" y="348"/>
                </a:cubicBezTo>
                <a:cubicBezTo>
                  <a:pt x="596" y="348"/>
                  <a:pt x="598" y="348"/>
                  <a:pt x="598" y="347"/>
                </a:cubicBezTo>
                <a:cubicBezTo>
                  <a:pt x="601" y="344"/>
                  <a:pt x="606" y="343"/>
                  <a:pt x="608" y="338"/>
                </a:cubicBezTo>
                <a:cubicBezTo>
                  <a:pt x="608" y="338"/>
                  <a:pt x="609" y="338"/>
                  <a:pt x="609" y="338"/>
                </a:cubicBezTo>
                <a:cubicBezTo>
                  <a:pt x="611" y="339"/>
                  <a:pt x="613" y="340"/>
                  <a:pt x="613" y="342"/>
                </a:cubicBezTo>
                <a:cubicBezTo>
                  <a:pt x="613" y="343"/>
                  <a:pt x="613" y="344"/>
                  <a:pt x="614" y="345"/>
                </a:cubicBezTo>
                <a:cubicBezTo>
                  <a:pt x="616" y="345"/>
                  <a:pt x="618" y="346"/>
                  <a:pt x="621" y="347"/>
                </a:cubicBezTo>
                <a:cubicBezTo>
                  <a:pt x="621" y="347"/>
                  <a:pt x="622" y="347"/>
                  <a:pt x="622" y="347"/>
                </a:cubicBezTo>
                <a:cubicBezTo>
                  <a:pt x="623" y="346"/>
                  <a:pt x="625" y="345"/>
                  <a:pt x="625" y="344"/>
                </a:cubicBezTo>
                <a:cubicBezTo>
                  <a:pt x="626" y="343"/>
                  <a:pt x="626" y="341"/>
                  <a:pt x="624" y="340"/>
                </a:cubicBezTo>
                <a:cubicBezTo>
                  <a:pt x="624" y="340"/>
                  <a:pt x="624" y="340"/>
                  <a:pt x="624" y="340"/>
                </a:cubicBezTo>
                <a:cubicBezTo>
                  <a:pt x="622" y="339"/>
                  <a:pt x="621" y="338"/>
                  <a:pt x="621" y="336"/>
                </a:cubicBezTo>
                <a:cubicBezTo>
                  <a:pt x="621" y="333"/>
                  <a:pt x="620" y="331"/>
                  <a:pt x="618" y="330"/>
                </a:cubicBezTo>
                <a:cubicBezTo>
                  <a:pt x="617" y="329"/>
                  <a:pt x="616" y="327"/>
                  <a:pt x="616" y="326"/>
                </a:cubicBezTo>
                <a:cubicBezTo>
                  <a:pt x="614" y="323"/>
                  <a:pt x="610" y="322"/>
                  <a:pt x="609" y="318"/>
                </a:cubicBezTo>
                <a:cubicBezTo>
                  <a:pt x="609" y="318"/>
                  <a:pt x="608" y="318"/>
                  <a:pt x="607" y="318"/>
                </a:cubicBezTo>
                <a:cubicBezTo>
                  <a:pt x="605" y="317"/>
                  <a:pt x="605" y="317"/>
                  <a:pt x="607" y="316"/>
                </a:cubicBezTo>
                <a:cubicBezTo>
                  <a:pt x="607" y="315"/>
                  <a:pt x="609" y="314"/>
                  <a:pt x="609" y="313"/>
                </a:cubicBezTo>
                <a:cubicBezTo>
                  <a:pt x="610" y="312"/>
                  <a:pt x="609" y="311"/>
                  <a:pt x="609" y="311"/>
                </a:cubicBezTo>
                <a:cubicBezTo>
                  <a:pt x="609" y="310"/>
                  <a:pt x="608" y="310"/>
                  <a:pt x="608" y="311"/>
                </a:cubicBezTo>
                <a:cubicBezTo>
                  <a:pt x="607" y="311"/>
                  <a:pt x="606" y="312"/>
                  <a:pt x="605" y="311"/>
                </a:cubicBezTo>
                <a:cubicBezTo>
                  <a:pt x="603" y="311"/>
                  <a:pt x="602" y="311"/>
                  <a:pt x="601" y="311"/>
                </a:cubicBezTo>
                <a:cubicBezTo>
                  <a:pt x="601" y="311"/>
                  <a:pt x="600" y="312"/>
                  <a:pt x="600" y="313"/>
                </a:cubicBezTo>
                <a:cubicBezTo>
                  <a:pt x="600" y="313"/>
                  <a:pt x="599" y="313"/>
                  <a:pt x="599" y="313"/>
                </a:cubicBezTo>
                <a:close/>
                <a:moveTo>
                  <a:pt x="647" y="1376"/>
                </a:moveTo>
                <a:cubicBezTo>
                  <a:pt x="647" y="1376"/>
                  <a:pt x="647" y="1376"/>
                  <a:pt x="647" y="1376"/>
                </a:cubicBezTo>
                <a:cubicBezTo>
                  <a:pt x="647" y="1376"/>
                  <a:pt x="647" y="1376"/>
                  <a:pt x="647" y="1376"/>
                </a:cubicBezTo>
                <a:cubicBezTo>
                  <a:pt x="647" y="1376"/>
                  <a:pt x="647" y="1376"/>
                  <a:pt x="647" y="1376"/>
                </a:cubicBezTo>
                <a:cubicBezTo>
                  <a:pt x="647" y="1376"/>
                  <a:pt x="647" y="1376"/>
                  <a:pt x="647" y="1376"/>
                </a:cubicBezTo>
                <a:close/>
                <a:moveTo>
                  <a:pt x="638" y="255"/>
                </a:moveTo>
                <a:cubicBezTo>
                  <a:pt x="638" y="255"/>
                  <a:pt x="638" y="255"/>
                  <a:pt x="638" y="255"/>
                </a:cubicBezTo>
                <a:cubicBezTo>
                  <a:pt x="638" y="255"/>
                  <a:pt x="638" y="255"/>
                  <a:pt x="638" y="255"/>
                </a:cubicBezTo>
                <a:cubicBezTo>
                  <a:pt x="638" y="255"/>
                  <a:pt x="638" y="255"/>
                  <a:pt x="638" y="255"/>
                </a:cubicBezTo>
                <a:cubicBezTo>
                  <a:pt x="638" y="255"/>
                  <a:pt x="638" y="255"/>
                  <a:pt x="638" y="255"/>
                </a:cubicBezTo>
                <a:close/>
                <a:moveTo>
                  <a:pt x="694" y="551"/>
                </a:moveTo>
                <a:cubicBezTo>
                  <a:pt x="694" y="551"/>
                  <a:pt x="694" y="551"/>
                  <a:pt x="694" y="551"/>
                </a:cubicBezTo>
                <a:cubicBezTo>
                  <a:pt x="694" y="551"/>
                  <a:pt x="694" y="551"/>
                  <a:pt x="694" y="551"/>
                </a:cubicBezTo>
                <a:cubicBezTo>
                  <a:pt x="694" y="551"/>
                  <a:pt x="694" y="551"/>
                  <a:pt x="694" y="551"/>
                </a:cubicBezTo>
                <a:cubicBezTo>
                  <a:pt x="694" y="551"/>
                  <a:pt x="694" y="551"/>
                  <a:pt x="694" y="551"/>
                </a:cubicBezTo>
                <a:close/>
                <a:moveTo>
                  <a:pt x="661" y="1387"/>
                </a:moveTo>
                <a:cubicBezTo>
                  <a:pt x="661" y="1387"/>
                  <a:pt x="661" y="1387"/>
                  <a:pt x="661" y="1387"/>
                </a:cubicBezTo>
                <a:cubicBezTo>
                  <a:pt x="661" y="1387"/>
                  <a:pt x="661" y="1387"/>
                  <a:pt x="661" y="1387"/>
                </a:cubicBezTo>
                <a:close/>
                <a:moveTo>
                  <a:pt x="186" y="316"/>
                </a:moveTo>
                <a:cubicBezTo>
                  <a:pt x="186" y="316"/>
                  <a:pt x="186" y="316"/>
                  <a:pt x="186" y="316"/>
                </a:cubicBezTo>
                <a:cubicBezTo>
                  <a:pt x="186" y="316"/>
                  <a:pt x="186" y="316"/>
                  <a:pt x="186" y="316"/>
                </a:cubicBezTo>
                <a:cubicBezTo>
                  <a:pt x="186" y="316"/>
                  <a:pt x="186" y="316"/>
                  <a:pt x="186" y="316"/>
                </a:cubicBezTo>
                <a:cubicBezTo>
                  <a:pt x="186" y="316"/>
                  <a:pt x="186" y="316"/>
                  <a:pt x="186" y="316"/>
                </a:cubicBezTo>
                <a:close/>
                <a:moveTo>
                  <a:pt x="862" y="959"/>
                </a:moveTo>
                <a:cubicBezTo>
                  <a:pt x="862" y="959"/>
                  <a:pt x="861" y="958"/>
                  <a:pt x="860" y="958"/>
                </a:cubicBezTo>
                <a:cubicBezTo>
                  <a:pt x="859" y="957"/>
                  <a:pt x="858" y="956"/>
                  <a:pt x="856" y="957"/>
                </a:cubicBezTo>
                <a:cubicBezTo>
                  <a:pt x="854" y="957"/>
                  <a:pt x="852" y="956"/>
                  <a:pt x="850" y="954"/>
                </a:cubicBezTo>
                <a:cubicBezTo>
                  <a:pt x="848" y="953"/>
                  <a:pt x="844" y="952"/>
                  <a:pt x="843" y="949"/>
                </a:cubicBezTo>
                <a:cubicBezTo>
                  <a:pt x="840" y="945"/>
                  <a:pt x="836" y="943"/>
                  <a:pt x="832" y="941"/>
                </a:cubicBezTo>
                <a:cubicBezTo>
                  <a:pt x="830" y="940"/>
                  <a:pt x="828" y="940"/>
                  <a:pt x="826" y="940"/>
                </a:cubicBezTo>
                <a:cubicBezTo>
                  <a:pt x="819" y="940"/>
                  <a:pt x="812" y="939"/>
                  <a:pt x="805" y="937"/>
                </a:cubicBezTo>
                <a:cubicBezTo>
                  <a:pt x="804" y="937"/>
                  <a:pt x="803" y="937"/>
                  <a:pt x="803" y="937"/>
                </a:cubicBezTo>
                <a:cubicBezTo>
                  <a:pt x="802" y="937"/>
                  <a:pt x="801" y="938"/>
                  <a:pt x="799" y="939"/>
                </a:cubicBezTo>
                <a:cubicBezTo>
                  <a:pt x="799" y="939"/>
                  <a:pt x="798" y="939"/>
                  <a:pt x="797" y="938"/>
                </a:cubicBezTo>
                <a:cubicBezTo>
                  <a:pt x="797" y="936"/>
                  <a:pt x="797" y="935"/>
                  <a:pt x="796" y="933"/>
                </a:cubicBezTo>
                <a:cubicBezTo>
                  <a:pt x="795" y="933"/>
                  <a:pt x="794" y="931"/>
                  <a:pt x="793" y="931"/>
                </a:cubicBezTo>
                <a:cubicBezTo>
                  <a:pt x="789" y="931"/>
                  <a:pt x="786" y="929"/>
                  <a:pt x="783" y="927"/>
                </a:cubicBezTo>
                <a:cubicBezTo>
                  <a:pt x="780" y="926"/>
                  <a:pt x="778" y="925"/>
                  <a:pt x="775" y="925"/>
                </a:cubicBezTo>
                <a:cubicBezTo>
                  <a:pt x="772" y="925"/>
                  <a:pt x="770" y="925"/>
                  <a:pt x="769" y="928"/>
                </a:cubicBezTo>
                <a:cubicBezTo>
                  <a:pt x="769" y="928"/>
                  <a:pt x="768" y="928"/>
                  <a:pt x="768" y="928"/>
                </a:cubicBezTo>
                <a:cubicBezTo>
                  <a:pt x="767" y="928"/>
                  <a:pt x="767" y="928"/>
                  <a:pt x="767" y="927"/>
                </a:cubicBezTo>
                <a:cubicBezTo>
                  <a:pt x="768" y="927"/>
                  <a:pt x="768" y="926"/>
                  <a:pt x="768" y="925"/>
                </a:cubicBezTo>
                <a:cubicBezTo>
                  <a:pt x="768" y="923"/>
                  <a:pt x="767" y="922"/>
                  <a:pt x="766" y="921"/>
                </a:cubicBezTo>
                <a:cubicBezTo>
                  <a:pt x="763" y="920"/>
                  <a:pt x="761" y="920"/>
                  <a:pt x="759" y="919"/>
                </a:cubicBezTo>
                <a:cubicBezTo>
                  <a:pt x="759" y="920"/>
                  <a:pt x="759" y="920"/>
                  <a:pt x="759" y="921"/>
                </a:cubicBezTo>
                <a:cubicBezTo>
                  <a:pt x="759" y="921"/>
                  <a:pt x="759" y="921"/>
                  <a:pt x="759" y="921"/>
                </a:cubicBezTo>
                <a:cubicBezTo>
                  <a:pt x="759" y="921"/>
                  <a:pt x="759" y="921"/>
                  <a:pt x="759" y="921"/>
                </a:cubicBezTo>
                <a:cubicBezTo>
                  <a:pt x="759" y="921"/>
                  <a:pt x="759" y="921"/>
                  <a:pt x="759" y="921"/>
                </a:cubicBezTo>
                <a:cubicBezTo>
                  <a:pt x="759" y="921"/>
                  <a:pt x="759" y="921"/>
                  <a:pt x="759" y="921"/>
                </a:cubicBezTo>
                <a:cubicBezTo>
                  <a:pt x="756" y="920"/>
                  <a:pt x="754" y="920"/>
                  <a:pt x="752" y="922"/>
                </a:cubicBezTo>
                <a:cubicBezTo>
                  <a:pt x="751" y="921"/>
                  <a:pt x="750" y="921"/>
                  <a:pt x="749" y="921"/>
                </a:cubicBezTo>
                <a:cubicBezTo>
                  <a:pt x="750" y="919"/>
                  <a:pt x="753" y="918"/>
                  <a:pt x="755" y="917"/>
                </a:cubicBezTo>
                <a:cubicBezTo>
                  <a:pt x="756" y="915"/>
                  <a:pt x="757" y="913"/>
                  <a:pt x="757" y="911"/>
                </a:cubicBezTo>
                <a:cubicBezTo>
                  <a:pt x="757" y="909"/>
                  <a:pt x="757" y="908"/>
                  <a:pt x="756" y="906"/>
                </a:cubicBezTo>
                <a:cubicBezTo>
                  <a:pt x="755" y="905"/>
                  <a:pt x="755" y="903"/>
                  <a:pt x="753" y="902"/>
                </a:cubicBezTo>
                <a:cubicBezTo>
                  <a:pt x="751" y="900"/>
                  <a:pt x="749" y="896"/>
                  <a:pt x="749" y="893"/>
                </a:cubicBezTo>
                <a:cubicBezTo>
                  <a:pt x="748" y="891"/>
                  <a:pt x="748" y="890"/>
                  <a:pt x="746" y="888"/>
                </a:cubicBezTo>
                <a:cubicBezTo>
                  <a:pt x="742" y="884"/>
                  <a:pt x="737" y="879"/>
                  <a:pt x="730" y="877"/>
                </a:cubicBezTo>
                <a:cubicBezTo>
                  <a:pt x="729" y="877"/>
                  <a:pt x="728" y="877"/>
                  <a:pt x="727" y="876"/>
                </a:cubicBezTo>
                <a:cubicBezTo>
                  <a:pt x="724" y="875"/>
                  <a:pt x="721" y="875"/>
                  <a:pt x="718" y="875"/>
                </a:cubicBezTo>
                <a:cubicBezTo>
                  <a:pt x="715" y="875"/>
                  <a:pt x="712" y="875"/>
                  <a:pt x="708" y="875"/>
                </a:cubicBezTo>
                <a:cubicBezTo>
                  <a:pt x="708" y="875"/>
                  <a:pt x="707" y="874"/>
                  <a:pt x="706" y="874"/>
                </a:cubicBezTo>
                <a:cubicBezTo>
                  <a:pt x="703" y="872"/>
                  <a:pt x="701" y="869"/>
                  <a:pt x="697" y="869"/>
                </a:cubicBezTo>
                <a:cubicBezTo>
                  <a:pt x="697" y="869"/>
                  <a:pt x="696" y="868"/>
                  <a:pt x="696" y="867"/>
                </a:cubicBezTo>
                <a:cubicBezTo>
                  <a:pt x="696" y="866"/>
                  <a:pt x="695" y="865"/>
                  <a:pt x="694" y="864"/>
                </a:cubicBezTo>
                <a:cubicBezTo>
                  <a:pt x="692" y="862"/>
                  <a:pt x="690" y="860"/>
                  <a:pt x="688" y="858"/>
                </a:cubicBezTo>
                <a:cubicBezTo>
                  <a:pt x="687" y="857"/>
                  <a:pt x="685" y="856"/>
                  <a:pt x="684" y="856"/>
                </a:cubicBezTo>
                <a:cubicBezTo>
                  <a:pt x="682" y="855"/>
                  <a:pt x="681" y="855"/>
                  <a:pt x="679" y="855"/>
                </a:cubicBezTo>
                <a:cubicBezTo>
                  <a:pt x="678" y="855"/>
                  <a:pt x="678" y="855"/>
                  <a:pt x="678" y="854"/>
                </a:cubicBezTo>
                <a:cubicBezTo>
                  <a:pt x="678" y="851"/>
                  <a:pt x="676" y="849"/>
                  <a:pt x="674" y="848"/>
                </a:cubicBezTo>
                <a:cubicBezTo>
                  <a:pt x="672" y="847"/>
                  <a:pt x="670" y="846"/>
                  <a:pt x="668" y="845"/>
                </a:cubicBezTo>
                <a:cubicBezTo>
                  <a:pt x="667" y="845"/>
                  <a:pt x="666" y="844"/>
                  <a:pt x="666" y="844"/>
                </a:cubicBezTo>
                <a:cubicBezTo>
                  <a:pt x="666" y="842"/>
                  <a:pt x="667" y="842"/>
                  <a:pt x="668" y="842"/>
                </a:cubicBezTo>
                <a:cubicBezTo>
                  <a:pt x="668" y="842"/>
                  <a:pt x="668" y="842"/>
                  <a:pt x="668" y="842"/>
                </a:cubicBezTo>
                <a:cubicBezTo>
                  <a:pt x="669" y="842"/>
                  <a:pt x="669" y="841"/>
                  <a:pt x="669" y="841"/>
                </a:cubicBezTo>
                <a:cubicBezTo>
                  <a:pt x="669" y="840"/>
                  <a:pt x="669" y="840"/>
                  <a:pt x="668" y="840"/>
                </a:cubicBezTo>
                <a:cubicBezTo>
                  <a:pt x="666" y="839"/>
                  <a:pt x="663" y="840"/>
                  <a:pt x="661" y="840"/>
                </a:cubicBezTo>
                <a:cubicBezTo>
                  <a:pt x="659" y="840"/>
                  <a:pt x="658" y="839"/>
                  <a:pt x="657" y="838"/>
                </a:cubicBezTo>
                <a:cubicBezTo>
                  <a:pt x="656" y="838"/>
                  <a:pt x="655" y="838"/>
                  <a:pt x="655" y="838"/>
                </a:cubicBezTo>
                <a:cubicBezTo>
                  <a:pt x="655" y="839"/>
                  <a:pt x="655" y="840"/>
                  <a:pt x="654" y="841"/>
                </a:cubicBezTo>
                <a:cubicBezTo>
                  <a:pt x="652" y="843"/>
                  <a:pt x="647" y="845"/>
                  <a:pt x="644" y="843"/>
                </a:cubicBezTo>
                <a:cubicBezTo>
                  <a:pt x="642" y="841"/>
                  <a:pt x="640" y="841"/>
                  <a:pt x="637" y="841"/>
                </a:cubicBezTo>
                <a:cubicBezTo>
                  <a:pt x="635" y="841"/>
                  <a:pt x="632" y="842"/>
                  <a:pt x="629" y="842"/>
                </a:cubicBezTo>
                <a:cubicBezTo>
                  <a:pt x="628" y="842"/>
                  <a:pt x="627" y="841"/>
                  <a:pt x="627" y="840"/>
                </a:cubicBezTo>
                <a:cubicBezTo>
                  <a:pt x="627" y="840"/>
                  <a:pt x="627" y="839"/>
                  <a:pt x="627" y="839"/>
                </a:cubicBezTo>
                <a:cubicBezTo>
                  <a:pt x="626" y="837"/>
                  <a:pt x="625" y="836"/>
                  <a:pt x="623" y="836"/>
                </a:cubicBezTo>
                <a:cubicBezTo>
                  <a:pt x="622" y="835"/>
                  <a:pt x="621" y="835"/>
                  <a:pt x="620" y="835"/>
                </a:cubicBezTo>
                <a:cubicBezTo>
                  <a:pt x="617" y="835"/>
                  <a:pt x="616" y="833"/>
                  <a:pt x="615" y="831"/>
                </a:cubicBezTo>
                <a:cubicBezTo>
                  <a:pt x="615" y="830"/>
                  <a:pt x="615" y="830"/>
                  <a:pt x="614" y="830"/>
                </a:cubicBezTo>
                <a:cubicBezTo>
                  <a:pt x="613" y="830"/>
                  <a:pt x="611" y="830"/>
                  <a:pt x="611" y="831"/>
                </a:cubicBezTo>
                <a:cubicBezTo>
                  <a:pt x="611" y="832"/>
                  <a:pt x="610" y="832"/>
                  <a:pt x="610" y="833"/>
                </a:cubicBezTo>
                <a:cubicBezTo>
                  <a:pt x="610" y="835"/>
                  <a:pt x="609" y="836"/>
                  <a:pt x="607" y="837"/>
                </a:cubicBezTo>
                <a:cubicBezTo>
                  <a:pt x="606" y="837"/>
                  <a:pt x="604" y="838"/>
                  <a:pt x="603" y="838"/>
                </a:cubicBezTo>
                <a:cubicBezTo>
                  <a:pt x="602" y="839"/>
                  <a:pt x="602" y="838"/>
                  <a:pt x="601" y="837"/>
                </a:cubicBezTo>
                <a:cubicBezTo>
                  <a:pt x="601" y="837"/>
                  <a:pt x="600" y="836"/>
                  <a:pt x="601" y="835"/>
                </a:cubicBezTo>
                <a:cubicBezTo>
                  <a:pt x="602" y="834"/>
                  <a:pt x="603" y="833"/>
                  <a:pt x="605" y="831"/>
                </a:cubicBezTo>
                <a:cubicBezTo>
                  <a:pt x="605" y="831"/>
                  <a:pt x="605" y="829"/>
                  <a:pt x="604" y="828"/>
                </a:cubicBezTo>
                <a:cubicBezTo>
                  <a:pt x="603" y="828"/>
                  <a:pt x="602" y="828"/>
                  <a:pt x="601" y="828"/>
                </a:cubicBezTo>
                <a:cubicBezTo>
                  <a:pt x="599" y="828"/>
                  <a:pt x="597" y="829"/>
                  <a:pt x="596" y="830"/>
                </a:cubicBezTo>
                <a:cubicBezTo>
                  <a:pt x="594" y="832"/>
                  <a:pt x="592" y="834"/>
                  <a:pt x="589" y="835"/>
                </a:cubicBezTo>
                <a:cubicBezTo>
                  <a:pt x="586" y="835"/>
                  <a:pt x="583" y="835"/>
                  <a:pt x="581" y="837"/>
                </a:cubicBezTo>
                <a:cubicBezTo>
                  <a:pt x="581" y="838"/>
                  <a:pt x="580" y="837"/>
                  <a:pt x="579" y="837"/>
                </a:cubicBezTo>
                <a:cubicBezTo>
                  <a:pt x="577" y="837"/>
                  <a:pt x="576" y="838"/>
                  <a:pt x="575" y="839"/>
                </a:cubicBezTo>
                <a:cubicBezTo>
                  <a:pt x="573" y="841"/>
                  <a:pt x="572" y="843"/>
                  <a:pt x="571" y="845"/>
                </a:cubicBezTo>
                <a:cubicBezTo>
                  <a:pt x="571" y="847"/>
                  <a:pt x="570" y="849"/>
                  <a:pt x="568" y="850"/>
                </a:cubicBezTo>
                <a:cubicBezTo>
                  <a:pt x="567" y="851"/>
                  <a:pt x="565" y="853"/>
                  <a:pt x="564" y="854"/>
                </a:cubicBezTo>
                <a:cubicBezTo>
                  <a:pt x="563" y="855"/>
                  <a:pt x="563" y="856"/>
                  <a:pt x="563" y="857"/>
                </a:cubicBezTo>
                <a:cubicBezTo>
                  <a:pt x="563" y="857"/>
                  <a:pt x="563" y="857"/>
                  <a:pt x="563" y="857"/>
                </a:cubicBezTo>
                <a:cubicBezTo>
                  <a:pt x="563" y="858"/>
                  <a:pt x="563" y="858"/>
                  <a:pt x="563" y="858"/>
                </a:cubicBezTo>
                <a:cubicBezTo>
                  <a:pt x="563" y="857"/>
                  <a:pt x="563" y="857"/>
                  <a:pt x="563" y="857"/>
                </a:cubicBezTo>
                <a:cubicBezTo>
                  <a:pt x="563" y="857"/>
                  <a:pt x="563" y="857"/>
                  <a:pt x="563" y="857"/>
                </a:cubicBezTo>
                <a:cubicBezTo>
                  <a:pt x="562" y="857"/>
                  <a:pt x="562" y="857"/>
                  <a:pt x="561" y="857"/>
                </a:cubicBezTo>
                <a:cubicBezTo>
                  <a:pt x="560" y="855"/>
                  <a:pt x="558" y="854"/>
                  <a:pt x="557" y="853"/>
                </a:cubicBezTo>
                <a:cubicBezTo>
                  <a:pt x="555" y="851"/>
                  <a:pt x="553" y="850"/>
                  <a:pt x="550" y="849"/>
                </a:cubicBezTo>
                <a:cubicBezTo>
                  <a:pt x="546" y="848"/>
                  <a:pt x="543" y="848"/>
                  <a:pt x="540" y="850"/>
                </a:cubicBezTo>
                <a:cubicBezTo>
                  <a:pt x="539" y="851"/>
                  <a:pt x="538" y="851"/>
                  <a:pt x="537" y="852"/>
                </a:cubicBezTo>
                <a:cubicBezTo>
                  <a:pt x="534" y="853"/>
                  <a:pt x="532" y="854"/>
                  <a:pt x="529" y="852"/>
                </a:cubicBezTo>
                <a:cubicBezTo>
                  <a:pt x="525" y="852"/>
                  <a:pt x="522" y="849"/>
                  <a:pt x="519" y="845"/>
                </a:cubicBezTo>
                <a:cubicBezTo>
                  <a:pt x="517" y="843"/>
                  <a:pt x="516" y="841"/>
                  <a:pt x="515" y="839"/>
                </a:cubicBezTo>
                <a:cubicBezTo>
                  <a:pt x="514" y="838"/>
                  <a:pt x="514" y="837"/>
                  <a:pt x="514" y="836"/>
                </a:cubicBezTo>
                <a:cubicBezTo>
                  <a:pt x="514" y="833"/>
                  <a:pt x="514" y="830"/>
                  <a:pt x="516" y="828"/>
                </a:cubicBezTo>
                <a:cubicBezTo>
                  <a:pt x="517" y="827"/>
                  <a:pt x="517" y="826"/>
                  <a:pt x="517" y="825"/>
                </a:cubicBezTo>
                <a:cubicBezTo>
                  <a:pt x="517" y="822"/>
                  <a:pt x="518" y="819"/>
                  <a:pt x="519" y="816"/>
                </a:cubicBezTo>
                <a:cubicBezTo>
                  <a:pt x="520" y="813"/>
                  <a:pt x="519" y="810"/>
                  <a:pt x="519" y="808"/>
                </a:cubicBezTo>
                <a:cubicBezTo>
                  <a:pt x="519" y="807"/>
                  <a:pt x="519" y="806"/>
                  <a:pt x="519" y="806"/>
                </a:cubicBezTo>
                <a:cubicBezTo>
                  <a:pt x="518" y="806"/>
                  <a:pt x="516" y="805"/>
                  <a:pt x="515" y="805"/>
                </a:cubicBezTo>
                <a:cubicBezTo>
                  <a:pt x="515" y="805"/>
                  <a:pt x="515" y="805"/>
                  <a:pt x="515" y="805"/>
                </a:cubicBezTo>
                <a:cubicBezTo>
                  <a:pt x="515" y="805"/>
                  <a:pt x="515" y="805"/>
                  <a:pt x="516" y="805"/>
                </a:cubicBezTo>
                <a:cubicBezTo>
                  <a:pt x="515" y="805"/>
                  <a:pt x="515" y="805"/>
                  <a:pt x="515" y="805"/>
                </a:cubicBezTo>
                <a:cubicBezTo>
                  <a:pt x="515" y="805"/>
                  <a:pt x="515" y="805"/>
                  <a:pt x="515" y="805"/>
                </a:cubicBezTo>
                <a:cubicBezTo>
                  <a:pt x="513" y="803"/>
                  <a:pt x="511" y="802"/>
                  <a:pt x="509" y="802"/>
                </a:cubicBezTo>
                <a:cubicBezTo>
                  <a:pt x="506" y="802"/>
                  <a:pt x="503" y="801"/>
                  <a:pt x="501" y="801"/>
                </a:cubicBezTo>
                <a:cubicBezTo>
                  <a:pt x="498" y="800"/>
                  <a:pt x="495" y="802"/>
                  <a:pt x="492" y="802"/>
                </a:cubicBezTo>
                <a:cubicBezTo>
                  <a:pt x="490" y="801"/>
                  <a:pt x="488" y="802"/>
                  <a:pt x="485" y="802"/>
                </a:cubicBezTo>
                <a:cubicBezTo>
                  <a:pt x="484" y="802"/>
                  <a:pt x="482" y="802"/>
                  <a:pt x="481" y="801"/>
                </a:cubicBezTo>
                <a:cubicBezTo>
                  <a:pt x="480" y="801"/>
                  <a:pt x="480" y="800"/>
                  <a:pt x="480" y="800"/>
                </a:cubicBezTo>
                <a:cubicBezTo>
                  <a:pt x="483" y="797"/>
                  <a:pt x="484" y="794"/>
                  <a:pt x="484" y="791"/>
                </a:cubicBezTo>
                <a:cubicBezTo>
                  <a:pt x="484" y="789"/>
                  <a:pt x="484" y="787"/>
                  <a:pt x="485" y="785"/>
                </a:cubicBezTo>
                <a:cubicBezTo>
                  <a:pt x="485" y="785"/>
                  <a:pt x="485" y="784"/>
                  <a:pt x="486" y="784"/>
                </a:cubicBezTo>
                <a:cubicBezTo>
                  <a:pt x="488" y="784"/>
                  <a:pt x="489" y="782"/>
                  <a:pt x="490" y="781"/>
                </a:cubicBezTo>
                <a:cubicBezTo>
                  <a:pt x="490" y="779"/>
                  <a:pt x="491" y="776"/>
                  <a:pt x="490" y="775"/>
                </a:cubicBezTo>
                <a:cubicBezTo>
                  <a:pt x="490" y="772"/>
                  <a:pt x="491" y="769"/>
                  <a:pt x="493" y="767"/>
                </a:cubicBezTo>
                <a:cubicBezTo>
                  <a:pt x="494" y="766"/>
                  <a:pt x="495" y="765"/>
                  <a:pt x="496" y="763"/>
                </a:cubicBezTo>
                <a:cubicBezTo>
                  <a:pt x="497" y="763"/>
                  <a:pt x="497" y="762"/>
                  <a:pt x="497" y="761"/>
                </a:cubicBezTo>
                <a:cubicBezTo>
                  <a:pt x="498" y="759"/>
                  <a:pt x="496" y="757"/>
                  <a:pt x="494" y="757"/>
                </a:cubicBezTo>
                <a:cubicBezTo>
                  <a:pt x="491" y="757"/>
                  <a:pt x="487" y="756"/>
                  <a:pt x="484" y="758"/>
                </a:cubicBezTo>
                <a:cubicBezTo>
                  <a:pt x="481" y="759"/>
                  <a:pt x="479" y="759"/>
                  <a:pt x="476" y="759"/>
                </a:cubicBezTo>
                <a:cubicBezTo>
                  <a:pt x="473" y="759"/>
                  <a:pt x="471" y="761"/>
                  <a:pt x="470" y="763"/>
                </a:cubicBezTo>
                <a:cubicBezTo>
                  <a:pt x="470" y="764"/>
                  <a:pt x="469" y="766"/>
                  <a:pt x="469" y="767"/>
                </a:cubicBezTo>
                <a:cubicBezTo>
                  <a:pt x="468" y="771"/>
                  <a:pt x="466" y="775"/>
                  <a:pt x="463" y="778"/>
                </a:cubicBezTo>
                <a:cubicBezTo>
                  <a:pt x="461" y="782"/>
                  <a:pt x="459" y="782"/>
                  <a:pt x="456" y="781"/>
                </a:cubicBezTo>
                <a:cubicBezTo>
                  <a:pt x="455" y="780"/>
                  <a:pt x="454" y="780"/>
                  <a:pt x="452" y="781"/>
                </a:cubicBezTo>
                <a:cubicBezTo>
                  <a:pt x="449" y="781"/>
                  <a:pt x="447" y="783"/>
                  <a:pt x="444" y="783"/>
                </a:cubicBezTo>
                <a:cubicBezTo>
                  <a:pt x="442" y="784"/>
                  <a:pt x="439" y="784"/>
                  <a:pt x="437" y="782"/>
                </a:cubicBezTo>
                <a:cubicBezTo>
                  <a:pt x="436" y="780"/>
                  <a:pt x="434" y="779"/>
                  <a:pt x="432" y="779"/>
                </a:cubicBezTo>
                <a:cubicBezTo>
                  <a:pt x="430" y="778"/>
                  <a:pt x="428" y="776"/>
                  <a:pt x="427" y="774"/>
                </a:cubicBezTo>
                <a:cubicBezTo>
                  <a:pt x="426" y="771"/>
                  <a:pt x="425" y="768"/>
                  <a:pt x="422" y="766"/>
                </a:cubicBezTo>
                <a:cubicBezTo>
                  <a:pt x="421" y="765"/>
                  <a:pt x="421" y="763"/>
                  <a:pt x="421" y="762"/>
                </a:cubicBezTo>
                <a:cubicBezTo>
                  <a:pt x="420" y="759"/>
                  <a:pt x="420" y="757"/>
                  <a:pt x="419" y="754"/>
                </a:cubicBezTo>
                <a:cubicBezTo>
                  <a:pt x="419" y="752"/>
                  <a:pt x="419" y="751"/>
                  <a:pt x="419" y="749"/>
                </a:cubicBezTo>
                <a:cubicBezTo>
                  <a:pt x="419" y="743"/>
                  <a:pt x="420" y="737"/>
                  <a:pt x="421" y="731"/>
                </a:cubicBezTo>
                <a:cubicBezTo>
                  <a:pt x="422" y="730"/>
                  <a:pt x="422" y="728"/>
                  <a:pt x="423" y="728"/>
                </a:cubicBezTo>
                <a:cubicBezTo>
                  <a:pt x="425" y="725"/>
                  <a:pt x="425" y="722"/>
                  <a:pt x="425" y="719"/>
                </a:cubicBezTo>
                <a:cubicBezTo>
                  <a:pt x="424" y="715"/>
                  <a:pt x="425" y="711"/>
                  <a:pt x="427" y="707"/>
                </a:cubicBezTo>
                <a:cubicBezTo>
                  <a:pt x="428" y="704"/>
                  <a:pt x="430" y="701"/>
                  <a:pt x="434" y="700"/>
                </a:cubicBezTo>
                <a:cubicBezTo>
                  <a:pt x="438" y="700"/>
                  <a:pt x="441" y="698"/>
                  <a:pt x="445" y="695"/>
                </a:cubicBezTo>
                <a:cubicBezTo>
                  <a:pt x="447" y="693"/>
                  <a:pt x="450" y="693"/>
                  <a:pt x="452" y="692"/>
                </a:cubicBezTo>
                <a:cubicBezTo>
                  <a:pt x="454" y="691"/>
                  <a:pt x="457" y="691"/>
                  <a:pt x="459" y="692"/>
                </a:cubicBezTo>
                <a:cubicBezTo>
                  <a:pt x="461" y="693"/>
                  <a:pt x="463" y="693"/>
                  <a:pt x="464" y="692"/>
                </a:cubicBezTo>
                <a:cubicBezTo>
                  <a:pt x="466" y="692"/>
                  <a:pt x="468" y="692"/>
                  <a:pt x="469" y="694"/>
                </a:cubicBezTo>
                <a:cubicBezTo>
                  <a:pt x="471" y="697"/>
                  <a:pt x="474" y="697"/>
                  <a:pt x="477" y="696"/>
                </a:cubicBezTo>
                <a:cubicBezTo>
                  <a:pt x="479" y="696"/>
                  <a:pt x="480" y="695"/>
                  <a:pt x="482" y="695"/>
                </a:cubicBezTo>
                <a:cubicBezTo>
                  <a:pt x="482" y="693"/>
                  <a:pt x="483" y="691"/>
                  <a:pt x="483" y="690"/>
                </a:cubicBezTo>
                <a:cubicBezTo>
                  <a:pt x="483" y="688"/>
                  <a:pt x="485" y="687"/>
                  <a:pt x="486" y="687"/>
                </a:cubicBezTo>
                <a:cubicBezTo>
                  <a:pt x="487" y="686"/>
                  <a:pt x="488" y="686"/>
                  <a:pt x="489" y="686"/>
                </a:cubicBezTo>
                <a:cubicBezTo>
                  <a:pt x="493" y="685"/>
                  <a:pt x="497" y="686"/>
                  <a:pt x="502" y="686"/>
                </a:cubicBezTo>
                <a:cubicBezTo>
                  <a:pt x="506" y="686"/>
                  <a:pt x="510" y="687"/>
                  <a:pt x="513" y="691"/>
                </a:cubicBezTo>
                <a:cubicBezTo>
                  <a:pt x="514" y="692"/>
                  <a:pt x="516" y="692"/>
                  <a:pt x="517" y="691"/>
                </a:cubicBezTo>
                <a:cubicBezTo>
                  <a:pt x="519" y="691"/>
                  <a:pt x="520" y="690"/>
                  <a:pt x="521" y="690"/>
                </a:cubicBezTo>
                <a:cubicBezTo>
                  <a:pt x="522" y="689"/>
                  <a:pt x="523" y="690"/>
                  <a:pt x="524" y="691"/>
                </a:cubicBezTo>
                <a:cubicBezTo>
                  <a:pt x="526" y="693"/>
                  <a:pt x="528" y="695"/>
                  <a:pt x="529" y="697"/>
                </a:cubicBezTo>
                <a:cubicBezTo>
                  <a:pt x="530" y="699"/>
                  <a:pt x="530" y="700"/>
                  <a:pt x="530" y="702"/>
                </a:cubicBezTo>
                <a:cubicBezTo>
                  <a:pt x="530" y="702"/>
                  <a:pt x="529" y="703"/>
                  <a:pt x="529" y="704"/>
                </a:cubicBezTo>
                <a:cubicBezTo>
                  <a:pt x="528" y="706"/>
                  <a:pt x="528" y="707"/>
                  <a:pt x="530" y="709"/>
                </a:cubicBezTo>
                <a:cubicBezTo>
                  <a:pt x="531" y="714"/>
                  <a:pt x="533" y="718"/>
                  <a:pt x="535" y="722"/>
                </a:cubicBezTo>
                <a:cubicBezTo>
                  <a:pt x="536" y="725"/>
                  <a:pt x="538" y="726"/>
                  <a:pt x="539" y="728"/>
                </a:cubicBezTo>
                <a:cubicBezTo>
                  <a:pt x="541" y="730"/>
                  <a:pt x="544" y="729"/>
                  <a:pt x="545" y="728"/>
                </a:cubicBezTo>
                <a:cubicBezTo>
                  <a:pt x="547" y="724"/>
                  <a:pt x="548" y="720"/>
                  <a:pt x="548" y="716"/>
                </a:cubicBezTo>
                <a:cubicBezTo>
                  <a:pt x="549" y="715"/>
                  <a:pt x="549" y="715"/>
                  <a:pt x="548" y="714"/>
                </a:cubicBezTo>
                <a:cubicBezTo>
                  <a:pt x="548" y="712"/>
                  <a:pt x="547" y="710"/>
                  <a:pt x="546" y="708"/>
                </a:cubicBezTo>
                <a:cubicBezTo>
                  <a:pt x="546" y="705"/>
                  <a:pt x="546" y="703"/>
                  <a:pt x="546" y="701"/>
                </a:cubicBezTo>
                <a:cubicBezTo>
                  <a:pt x="545" y="700"/>
                  <a:pt x="545" y="700"/>
                  <a:pt x="545" y="700"/>
                </a:cubicBezTo>
                <a:cubicBezTo>
                  <a:pt x="543" y="693"/>
                  <a:pt x="543" y="686"/>
                  <a:pt x="544" y="679"/>
                </a:cubicBezTo>
                <a:cubicBezTo>
                  <a:pt x="544" y="678"/>
                  <a:pt x="544" y="677"/>
                  <a:pt x="545" y="676"/>
                </a:cubicBezTo>
                <a:cubicBezTo>
                  <a:pt x="548" y="673"/>
                  <a:pt x="551" y="669"/>
                  <a:pt x="555" y="667"/>
                </a:cubicBezTo>
                <a:cubicBezTo>
                  <a:pt x="556" y="667"/>
                  <a:pt x="557" y="667"/>
                  <a:pt x="557" y="667"/>
                </a:cubicBezTo>
                <a:cubicBezTo>
                  <a:pt x="559" y="666"/>
                  <a:pt x="560" y="665"/>
                  <a:pt x="561" y="664"/>
                </a:cubicBezTo>
                <a:cubicBezTo>
                  <a:pt x="562" y="663"/>
                  <a:pt x="563" y="661"/>
                  <a:pt x="564" y="660"/>
                </a:cubicBezTo>
                <a:cubicBezTo>
                  <a:pt x="565" y="660"/>
                  <a:pt x="566" y="659"/>
                  <a:pt x="567" y="658"/>
                </a:cubicBezTo>
                <a:cubicBezTo>
                  <a:pt x="569" y="658"/>
                  <a:pt x="570" y="656"/>
                  <a:pt x="572" y="655"/>
                </a:cubicBezTo>
                <a:cubicBezTo>
                  <a:pt x="574" y="653"/>
                  <a:pt x="577" y="651"/>
                  <a:pt x="580" y="650"/>
                </a:cubicBezTo>
                <a:cubicBezTo>
                  <a:pt x="582" y="650"/>
                  <a:pt x="583" y="649"/>
                  <a:pt x="583" y="647"/>
                </a:cubicBezTo>
                <a:cubicBezTo>
                  <a:pt x="583" y="646"/>
                  <a:pt x="584" y="646"/>
                  <a:pt x="584" y="646"/>
                </a:cubicBezTo>
                <a:cubicBezTo>
                  <a:pt x="585" y="645"/>
                  <a:pt x="586" y="644"/>
                  <a:pt x="587" y="643"/>
                </a:cubicBezTo>
                <a:cubicBezTo>
                  <a:pt x="588" y="643"/>
                  <a:pt x="588" y="642"/>
                  <a:pt x="588" y="641"/>
                </a:cubicBezTo>
                <a:cubicBezTo>
                  <a:pt x="587" y="640"/>
                  <a:pt x="586" y="639"/>
                  <a:pt x="587" y="637"/>
                </a:cubicBezTo>
                <a:cubicBezTo>
                  <a:pt x="588" y="635"/>
                  <a:pt x="588" y="633"/>
                  <a:pt x="587" y="631"/>
                </a:cubicBezTo>
                <a:cubicBezTo>
                  <a:pt x="586" y="630"/>
                  <a:pt x="586" y="629"/>
                  <a:pt x="586" y="628"/>
                </a:cubicBezTo>
                <a:cubicBezTo>
                  <a:pt x="586" y="625"/>
                  <a:pt x="587" y="623"/>
                  <a:pt x="587" y="620"/>
                </a:cubicBezTo>
                <a:cubicBezTo>
                  <a:pt x="587" y="620"/>
                  <a:pt x="587" y="620"/>
                  <a:pt x="588" y="620"/>
                </a:cubicBezTo>
                <a:cubicBezTo>
                  <a:pt x="588" y="620"/>
                  <a:pt x="588" y="620"/>
                  <a:pt x="588" y="620"/>
                </a:cubicBezTo>
                <a:cubicBezTo>
                  <a:pt x="590" y="621"/>
                  <a:pt x="589" y="623"/>
                  <a:pt x="589" y="624"/>
                </a:cubicBezTo>
                <a:cubicBezTo>
                  <a:pt x="589" y="625"/>
                  <a:pt x="590" y="625"/>
                  <a:pt x="590" y="625"/>
                </a:cubicBezTo>
                <a:cubicBezTo>
                  <a:pt x="590" y="625"/>
                  <a:pt x="591" y="625"/>
                  <a:pt x="591" y="625"/>
                </a:cubicBezTo>
                <a:cubicBezTo>
                  <a:pt x="593" y="623"/>
                  <a:pt x="594" y="621"/>
                  <a:pt x="596" y="619"/>
                </a:cubicBezTo>
                <a:cubicBezTo>
                  <a:pt x="596" y="618"/>
                  <a:pt x="596" y="616"/>
                  <a:pt x="596" y="615"/>
                </a:cubicBezTo>
                <a:cubicBezTo>
                  <a:pt x="597" y="614"/>
                  <a:pt x="596" y="614"/>
                  <a:pt x="596" y="613"/>
                </a:cubicBezTo>
                <a:cubicBezTo>
                  <a:pt x="596" y="612"/>
                  <a:pt x="597" y="612"/>
                  <a:pt x="598" y="612"/>
                </a:cubicBezTo>
                <a:cubicBezTo>
                  <a:pt x="599" y="612"/>
                  <a:pt x="600" y="611"/>
                  <a:pt x="601" y="610"/>
                </a:cubicBezTo>
                <a:cubicBezTo>
                  <a:pt x="604" y="607"/>
                  <a:pt x="606" y="604"/>
                  <a:pt x="606" y="601"/>
                </a:cubicBezTo>
                <a:cubicBezTo>
                  <a:pt x="607" y="598"/>
                  <a:pt x="609" y="597"/>
                  <a:pt x="611" y="597"/>
                </a:cubicBezTo>
                <a:cubicBezTo>
                  <a:pt x="613" y="597"/>
                  <a:pt x="615" y="596"/>
                  <a:pt x="616" y="596"/>
                </a:cubicBezTo>
                <a:cubicBezTo>
                  <a:pt x="617" y="596"/>
                  <a:pt x="618" y="595"/>
                  <a:pt x="619" y="595"/>
                </a:cubicBezTo>
                <a:cubicBezTo>
                  <a:pt x="619" y="595"/>
                  <a:pt x="619" y="594"/>
                  <a:pt x="619" y="594"/>
                </a:cubicBezTo>
                <a:cubicBezTo>
                  <a:pt x="619" y="594"/>
                  <a:pt x="619" y="593"/>
                  <a:pt x="619" y="593"/>
                </a:cubicBezTo>
                <a:cubicBezTo>
                  <a:pt x="618" y="593"/>
                  <a:pt x="618" y="593"/>
                  <a:pt x="617" y="593"/>
                </a:cubicBezTo>
                <a:cubicBezTo>
                  <a:pt x="616" y="593"/>
                  <a:pt x="616" y="593"/>
                  <a:pt x="616" y="592"/>
                </a:cubicBezTo>
                <a:cubicBezTo>
                  <a:pt x="616" y="592"/>
                  <a:pt x="617" y="592"/>
                  <a:pt x="617" y="592"/>
                </a:cubicBezTo>
                <a:cubicBezTo>
                  <a:pt x="617" y="592"/>
                  <a:pt x="617" y="592"/>
                  <a:pt x="618" y="592"/>
                </a:cubicBezTo>
                <a:cubicBezTo>
                  <a:pt x="623" y="592"/>
                  <a:pt x="627" y="590"/>
                  <a:pt x="632" y="590"/>
                </a:cubicBezTo>
                <a:cubicBezTo>
                  <a:pt x="633" y="590"/>
                  <a:pt x="634" y="589"/>
                  <a:pt x="635" y="589"/>
                </a:cubicBezTo>
                <a:cubicBezTo>
                  <a:pt x="636" y="587"/>
                  <a:pt x="636" y="587"/>
                  <a:pt x="634" y="585"/>
                </a:cubicBezTo>
                <a:cubicBezTo>
                  <a:pt x="633" y="584"/>
                  <a:pt x="632" y="582"/>
                  <a:pt x="632" y="581"/>
                </a:cubicBezTo>
                <a:cubicBezTo>
                  <a:pt x="633" y="579"/>
                  <a:pt x="633" y="577"/>
                  <a:pt x="634" y="575"/>
                </a:cubicBezTo>
                <a:cubicBezTo>
                  <a:pt x="635" y="572"/>
                  <a:pt x="638" y="569"/>
                  <a:pt x="641" y="568"/>
                </a:cubicBezTo>
                <a:cubicBezTo>
                  <a:pt x="643" y="567"/>
                  <a:pt x="645" y="566"/>
                  <a:pt x="647" y="565"/>
                </a:cubicBezTo>
                <a:cubicBezTo>
                  <a:pt x="648" y="564"/>
                  <a:pt x="649" y="563"/>
                  <a:pt x="651" y="564"/>
                </a:cubicBezTo>
                <a:cubicBezTo>
                  <a:pt x="654" y="564"/>
                  <a:pt x="658" y="562"/>
                  <a:pt x="662" y="561"/>
                </a:cubicBezTo>
                <a:cubicBezTo>
                  <a:pt x="663" y="561"/>
                  <a:pt x="663" y="560"/>
                  <a:pt x="664" y="559"/>
                </a:cubicBezTo>
                <a:cubicBezTo>
                  <a:pt x="664" y="558"/>
                  <a:pt x="665" y="557"/>
                  <a:pt x="665" y="557"/>
                </a:cubicBezTo>
                <a:cubicBezTo>
                  <a:pt x="668" y="556"/>
                  <a:pt x="671" y="556"/>
                  <a:pt x="674" y="555"/>
                </a:cubicBezTo>
                <a:cubicBezTo>
                  <a:pt x="674" y="555"/>
                  <a:pt x="675" y="556"/>
                  <a:pt x="675" y="556"/>
                </a:cubicBezTo>
                <a:cubicBezTo>
                  <a:pt x="674" y="556"/>
                  <a:pt x="674" y="557"/>
                  <a:pt x="674" y="557"/>
                </a:cubicBezTo>
                <a:cubicBezTo>
                  <a:pt x="673" y="558"/>
                  <a:pt x="672" y="558"/>
                  <a:pt x="671" y="558"/>
                </a:cubicBezTo>
                <a:cubicBezTo>
                  <a:pt x="668" y="560"/>
                  <a:pt x="667" y="561"/>
                  <a:pt x="666" y="564"/>
                </a:cubicBezTo>
                <a:cubicBezTo>
                  <a:pt x="665" y="565"/>
                  <a:pt x="665" y="566"/>
                  <a:pt x="665" y="567"/>
                </a:cubicBezTo>
                <a:cubicBezTo>
                  <a:pt x="665" y="569"/>
                  <a:pt x="667" y="570"/>
                  <a:pt x="668" y="571"/>
                </a:cubicBezTo>
                <a:cubicBezTo>
                  <a:pt x="669" y="572"/>
                  <a:pt x="669" y="572"/>
                  <a:pt x="670" y="572"/>
                </a:cubicBezTo>
                <a:cubicBezTo>
                  <a:pt x="673" y="570"/>
                  <a:pt x="677" y="568"/>
                  <a:pt x="679" y="565"/>
                </a:cubicBezTo>
                <a:cubicBezTo>
                  <a:pt x="680" y="563"/>
                  <a:pt x="682" y="562"/>
                  <a:pt x="684" y="563"/>
                </a:cubicBezTo>
                <a:cubicBezTo>
                  <a:pt x="688" y="561"/>
                  <a:pt x="693" y="560"/>
                  <a:pt x="697" y="558"/>
                </a:cubicBezTo>
                <a:cubicBezTo>
                  <a:pt x="699" y="558"/>
                  <a:pt x="700" y="558"/>
                  <a:pt x="701" y="557"/>
                </a:cubicBezTo>
                <a:cubicBezTo>
                  <a:pt x="702" y="554"/>
                  <a:pt x="705" y="555"/>
                  <a:pt x="707" y="554"/>
                </a:cubicBezTo>
                <a:cubicBezTo>
                  <a:pt x="708" y="553"/>
                  <a:pt x="709" y="553"/>
                  <a:pt x="709" y="553"/>
                </a:cubicBezTo>
                <a:cubicBezTo>
                  <a:pt x="710" y="552"/>
                  <a:pt x="710" y="552"/>
                  <a:pt x="711" y="552"/>
                </a:cubicBezTo>
                <a:cubicBezTo>
                  <a:pt x="711" y="551"/>
                  <a:pt x="712" y="550"/>
                  <a:pt x="711" y="549"/>
                </a:cubicBezTo>
                <a:cubicBezTo>
                  <a:pt x="709" y="548"/>
                  <a:pt x="708" y="546"/>
                  <a:pt x="709" y="543"/>
                </a:cubicBezTo>
                <a:cubicBezTo>
                  <a:pt x="709" y="543"/>
                  <a:pt x="709" y="543"/>
                  <a:pt x="709" y="543"/>
                </a:cubicBezTo>
                <a:cubicBezTo>
                  <a:pt x="709" y="542"/>
                  <a:pt x="707" y="541"/>
                  <a:pt x="707" y="542"/>
                </a:cubicBezTo>
                <a:cubicBezTo>
                  <a:pt x="704" y="544"/>
                  <a:pt x="701" y="547"/>
                  <a:pt x="699" y="550"/>
                </a:cubicBezTo>
                <a:cubicBezTo>
                  <a:pt x="699" y="552"/>
                  <a:pt x="698" y="552"/>
                  <a:pt x="697" y="552"/>
                </a:cubicBezTo>
                <a:cubicBezTo>
                  <a:pt x="696" y="551"/>
                  <a:pt x="695" y="551"/>
                  <a:pt x="694" y="551"/>
                </a:cubicBezTo>
                <a:cubicBezTo>
                  <a:pt x="694" y="552"/>
                  <a:pt x="693" y="552"/>
                  <a:pt x="692" y="552"/>
                </a:cubicBezTo>
                <a:cubicBezTo>
                  <a:pt x="692" y="552"/>
                  <a:pt x="691" y="551"/>
                  <a:pt x="691" y="551"/>
                </a:cubicBezTo>
                <a:cubicBezTo>
                  <a:pt x="690" y="551"/>
                  <a:pt x="689" y="551"/>
                  <a:pt x="688" y="551"/>
                </a:cubicBezTo>
                <a:cubicBezTo>
                  <a:pt x="686" y="551"/>
                  <a:pt x="685" y="549"/>
                  <a:pt x="685" y="547"/>
                </a:cubicBezTo>
                <a:cubicBezTo>
                  <a:pt x="682" y="547"/>
                  <a:pt x="680" y="545"/>
                  <a:pt x="680" y="542"/>
                </a:cubicBezTo>
                <a:cubicBezTo>
                  <a:pt x="680" y="539"/>
                  <a:pt x="680" y="537"/>
                  <a:pt x="681" y="534"/>
                </a:cubicBezTo>
                <a:cubicBezTo>
                  <a:pt x="681" y="533"/>
                  <a:pt x="681" y="532"/>
                  <a:pt x="679" y="531"/>
                </a:cubicBezTo>
                <a:cubicBezTo>
                  <a:pt x="679" y="531"/>
                  <a:pt x="678" y="531"/>
                  <a:pt x="677" y="531"/>
                </a:cubicBezTo>
                <a:cubicBezTo>
                  <a:pt x="677" y="531"/>
                  <a:pt x="677" y="531"/>
                  <a:pt x="677" y="531"/>
                </a:cubicBezTo>
                <a:cubicBezTo>
                  <a:pt x="677" y="531"/>
                  <a:pt x="678" y="530"/>
                  <a:pt x="678" y="530"/>
                </a:cubicBezTo>
                <a:cubicBezTo>
                  <a:pt x="680" y="529"/>
                  <a:pt x="682" y="528"/>
                  <a:pt x="684" y="527"/>
                </a:cubicBezTo>
                <a:cubicBezTo>
                  <a:pt x="685" y="526"/>
                  <a:pt x="686" y="524"/>
                  <a:pt x="685" y="523"/>
                </a:cubicBezTo>
                <a:cubicBezTo>
                  <a:pt x="684" y="522"/>
                  <a:pt x="684" y="521"/>
                  <a:pt x="683" y="520"/>
                </a:cubicBezTo>
                <a:cubicBezTo>
                  <a:pt x="681" y="518"/>
                  <a:pt x="678" y="517"/>
                  <a:pt x="675" y="518"/>
                </a:cubicBezTo>
                <a:cubicBezTo>
                  <a:pt x="667" y="520"/>
                  <a:pt x="659" y="522"/>
                  <a:pt x="652" y="526"/>
                </a:cubicBezTo>
                <a:cubicBezTo>
                  <a:pt x="652" y="526"/>
                  <a:pt x="652" y="527"/>
                  <a:pt x="652" y="527"/>
                </a:cubicBezTo>
                <a:cubicBezTo>
                  <a:pt x="652" y="527"/>
                  <a:pt x="652" y="527"/>
                  <a:pt x="652" y="527"/>
                </a:cubicBezTo>
                <a:cubicBezTo>
                  <a:pt x="651" y="528"/>
                  <a:pt x="650" y="529"/>
                  <a:pt x="649" y="530"/>
                </a:cubicBezTo>
                <a:cubicBezTo>
                  <a:pt x="649" y="530"/>
                  <a:pt x="649" y="530"/>
                  <a:pt x="649" y="530"/>
                </a:cubicBezTo>
                <a:cubicBezTo>
                  <a:pt x="648" y="531"/>
                  <a:pt x="646" y="531"/>
                  <a:pt x="645" y="532"/>
                </a:cubicBezTo>
                <a:cubicBezTo>
                  <a:pt x="645" y="532"/>
                  <a:pt x="644" y="533"/>
                  <a:pt x="643" y="533"/>
                </a:cubicBezTo>
                <a:cubicBezTo>
                  <a:pt x="643" y="534"/>
                  <a:pt x="643" y="534"/>
                  <a:pt x="643" y="534"/>
                </a:cubicBezTo>
                <a:cubicBezTo>
                  <a:pt x="643" y="533"/>
                  <a:pt x="643" y="533"/>
                  <a:pt x="643" y="533"/>
                </a:cubicBezTo>
                <a:cubicBezTo>
                  <a:pt x="644" y="532"/>
                  <a:pt x="644" y="532"/>
                  <a:pt x="645" y="531"/>
                </a:cubicBezTo>
                <a:cubicBezTo>
                  <a:pt x="646" y="531"/>
                  <a:pt x="648" y="530"/>
                  <a:pt x="649" y="530"/>
                </a:cubicBezTo>
                <a:cubicBezTo>
                  <a:pt x="649" y="530"/>
                  <a:pt x="649" y="530"/>
                  <a:pt x="649" y="530"/>
                </a:cubicBezTo>
                <a:cubicBezTo>
                  <a:pt x="649" y="527"/>
                  <a:pt x="650" y="527"/>
                  <a:pt x="652" y="527"/>
                </a:cubicBezTo>
                <a:cubicBezTo>
                  <a:pt x="652" y="527"/>
                  <a:pt x="652" y="527"/>
                  <a:pt x="652" y="526"/>
                </a:cubicBezTo>
                <a:cubicBezTo>
                  <a:pt x="652" y="526"/>
                  <a:pt x="652" y="526"/>
                  <a:pt x="652" y="526"/>
                </a:cubicBezTo>
                <a:cubicBezTo>
                  <a:pt x="652" y="525"/>
                  <a:pt x="653" y="524"/>
                  <a:pt x="654" y="523"/>
                </a:cubicBezTo>
                <a:cubicBezTo>
                  <a:pt x="657" y="520"/>
                  <a:pt x="660" y="518"/>
                  <a:pt x="664" y="517"/>
                </a:cubicBezTo>
                <a:cubicBezTo>
                  <a:pt x="666" y="517"/>
                  <a:pt x="668" y="516"/>
                  <a:pt x="669" y="513"/>
                </a:cubicBezTo>
                <a:cubicBezTo>
                  <a:pt x="669" y="513"/>
                  <a:pt x="670" y="512"/>
                  <a:pt x="670" y="512"/>
                </a:cubicBezTo>
                <a:cubicBezTo>
                  <a:pt x="672" y="510"/>
                  <a:pt x="673" y="509"/>
                  <a:pt x="675" y="507"/>
                </a:cubicBezTo>
                <a:cubicBezTo>
                  <a:pt x="677" y="506"/>
                  <a:pt x="679" y="507"/>
                  <a:pt x="681" y="508"/>
                </a:cubicBezTo>
                <a:cubicBezTo>
                  <a:pt x="690" y="508"/>
                  <a:pt x="698" y="509"/>
                  <a:pt x="706" y="510"/>
                </a:cubicBezTo>
                <a:cubicBezTo>
                  <a:pt x="709" y="510"/>
                  <a:pt x="712" y="509"/>
                  <a:pt x="716" y="509"/>
                </a:cubicBezTo>
                <a:cubicBezTo>
                  <a:pt x="717" y="510"/>
                  <a:pt x="718" y="509"/>
                  <a:pt x="719" y="509"/>
                </a:cubicBezTo>
                <a:cubicBezTo>
                  <a:pt x="719" y="509"/>
                  <a:pt x="720" y="508"/>
                  <a:pt x="721" y="508"/>
                </a:cubicBezTo>
                <a:cubicBezTo>
                  <a:pt x="723" y="507"/>
                  <a:pt x="725" y="505"/>
                  <a:pt x="727" y="503"/>
                </a:cubicBezTo>
                <a:cubicBezTo>
                  <a:pt x="728" y="501"/>
                  <a:pt x="730" y="500"/>
                  <a:pt x="732" y="500"/>
                </a:cubicBezTo>
                <a:cubicBezTo>
                  <a:pt x="733" y="500"/>
                  <a:pt x="735" y="499"/>
                  <a:pt x="736" y="499"/>
                </a:cubicBezTo>
                <a:cubicBezTo>
                  <a:pt x="740" y="499"/>
                  <a:pt x="744" y="497"/>
                  <a:pt x="747" y="494"/>
                </a:cubicBezTo>
                <a:cubicBezTo>
                  <a:pt x="749" y="493"/>
                  <a:pt x="750" y="491"/>
                  <a:pt x="749" y="489"/>
                </a:cubicBezTo>
                <a:cubicBezTo>
                  <a:pt x="748" y="488"/>
                  <a:pt x="748" y="486"/>
                  <a:pt x="749" y="485"/>
                </a:cubicBezTo>
                <a:cubicBezTo>
                  <a:pt x="749" y="484"/>
                  <a:pt x="750" y="483"/>
                  <a:pt x="750" y="482"/>
                </a:cubicBezTo>
                <a:cubicBezTo>
                  <a:pt x="750" y="481"/>
                  <a:pt x="750" y="480"/>
                  <a:pt x="750" y="479"/>
                </a:cubicBezTo>
                <a:cubicBezTo>
                  <a:pt x="748" y="477"/>
                  <a:pt x="746" y="475"/>
                  <a:pt x="743" y="476"/>
                </a:cubicBezTo>
                <a:cubicBezTo>
                  <a:pt x="743" y="476"/>
                  <a:pt x="743" y="476"/>
                  <a:pt x="743" y="476"/>
                </a:cubicBezTo>
                <a:cubicBezTo>
                  <a:pt x="743" y="476"/>
                  <a:pt x="743" y="476"/>
                  <a:pt x="743" y="476"/>
                </a:cubicBezTo>
                <a:cubicBezTo>
                  <a:pt x="743" y="476"/>
                  <a:pt x="743" y="476"/>
                  <a:pt x="743" y="476"/>
                </a:cubicBezTo>
                <a:cubicBezTo>
                  <a:pt x="743" y="476"/>
                  <a:pt x="743" y="476"/>
                  <a:pt x="743" y="476"/>
                </a:cubicBezTo>
                <a:cubicBezTo>
                  <a:pt x="743" y="475"/>
                  <a:pt x="743" y="474"/>
                  <a:pt x="743" y="473"/>
                </a:cubicBezTo>
                <a:cubicBezTo>
                  <a:pt x="743" y="472"/>
                  <a:pt x="742" y="470"/>
                  <a:pt x="740" y="470"/>
                </a:cubicBezTo>
                <a:cubicBezTo>
                  <a:pt x="739" y="470"/>
                  <a:pt x="738" y="470"/>
                  <a:pt x="737" y="470"/>
                </a:cubicBezTo>
                <a:cubicBezTo>
                  <a:pt x="737" y="470"/>
                  <a:pt x="737" y="470"/>
                  <a:pt x="737" y="470"/>
                </a:cubicBezTo>
                <a:cubicBezTo>
                  <a:pt x="737" y="469"/>
                  <a:pt x="737" y="469"/>
                  <a:pt x="738" y="469"/>
                </a:cubicBezTo>
                <a:cubicBezTo>
                  <a:pt x="738" y="469"/>
                  <a:pt x="739" y="468"/>
                  <a:pt x="740" y="468"/>
                </a:cubicBezTo>
                <a:cubicBezTo>
                  <a:pt x="741" y="467"/>
                  <a:pt x="741" y="466"/>
                  <a:pt x="741" y="465"/>
                </a:cubicBezTo>
                <a:cubicBezTo>
                  <a:pt x="740" y="464"/>
                  <a:pt x="739" y="463"/>
                  <a:pt x="737" y="463"/>
                </a:cubicBezTo>
                <a:cubicBezTo>
                  <a:pt x="737" y="463"/>
                  <a:pt x="736" y="463"/>
                  <a:pt x="735" y="463"/>
                </a:cubicBezTo>
                <a:cubicBezTo>
                  <a:pt x="733" y="460"/>
                  <a:pt x="730" y="459"/>
                  <a:pt x="727" y="458"/>
                </a:cubicBezTo>
                <a:cubicBezTo>
                  <a:pt x="727" y="457"/>
                  <a:pt x="726" y="457"/>
                  <a:pt x="726" y="457"/>
                </a:cubicBezTo>
                <a:cubicBezTo>
                  <a:pt x="726" y="453"/>
                  <a:pt x="723" y="452"/>
                  <a:pt x="721" y="450"/>
                </a:cubicBezTo>
                <a:cubicBezTo>
                  <a:pt x="720" y="449"/>
                  <a:pt x="719" y="447"/>
                  <a:pt x="718" y="446"/>
                </a:cubicBezTo>
                <a:cubicBezTo>
                  <a:pt x="717" y="445"/>
                  <a:pt x="717" y="444"/>
                  <a:pt x="718" y="443"/>
                </a:cubicBezTo>
                <a:cubicBezTo>
                  <a:pt x="719" y="442"/>
                  <a:pt x="720" y="441"/>
                  <a:pt x="721" y="440"/>
                </a:cubicBezTo>
                <a:cubicBezTo>
                  <a:pt x="722" y="439"/>
                  <a:pt x="722" y="438"/>
                  <a:pt x="722" y="437"/>
                </a:cubicBezTo>
                <a:cubicBezTo>
                  <a:pt x="720" y="435"/>
                  <a:pt x="719" y="433"/>
                  <a:pt x="720" y="430"/>
                </a:cubicBezTo>
                <a:cubicBezTo>
                  <a:pt x="720" y="430"/>
                  <a:pt x="719" y="429"/>
                  <a:pt x="719" y="428"/>
                </a:cubicBezTo>
                <a:cubicBezTo>
                  <a:pt x="718" y="427"/>
                  <a:pt x="718" y="425"/>
                  <a:pt x="717" y="424"/>
                </a:cubicBezTo>
                <a:cubicBezTo>
                  <a:pt x="716" y="424"/>
                  <a:pt x="717" y="422"/>
                  <a:pt x="716" y="421"/>
                </a:cubicBezTo>
                <a:cubicBezTo>
                  <a:pt x="716" y="420"/>
                  <a:pt x="716" y="418"/>
                  <a:pt x="716" y="417"/>
                </a:cubicBezTo>
                <a:cubicBezTo>
                  <a:pt x="716" y="415"/>
                  <a:pt x="715" y="414"/>
                  <a:pt x="715" y="412"/>
                </a:cubicBezTo>
                <a:cubicBezTo>
                  <a:pt x="713" y="408"/>
                  <a:pt x="713" y="404"/>
                  <a:pt x="712" y="400"/>
                </a:cubicBezTo>
                <a:cubicBezTo>
                  <a:pt x="712" y="399"/>
                  <a:pt x="712" y="398"/>
                  <a:pt x="711" y="397"/>
                </a:cubicBezTo>
                <a:cubicBezTo>
                  <a:pt x="711" y="396"/>
                  <a:pt x="711" y="396"/>
                  <a:pt x="710" y="396"/>
                </a:cubicBezTo>
                <a:cubicBezTo>
                  <a:pt x="710" y="396"/>
                  <a:pt x="710" y="396"/>
                  <a:pt x="709" y="396"/>
                </a:cubicBezTo>
                <a:cubicBezTo>
                  <a:pt x="707" y="399"/>
                  <a:pt x="704" y="402"/>
                  <a:pt x="703" y="406"/>
                </a:cubicBezTo>
                <a:cubicBezTo>
                  <a:pt x="701" y="410"/>
                  <a:pt x="699" y="413"/>
                  <a:pt x="695" y="415"/>
                </a:cubicBezTo>
                <a:cubicBezTo>
                  <a:pt x="694" y="415"/>
                  <a:pt x="693" y="416"/>
                  <a:pt x="692" y="417"/>
                </a:cubicBezTo>
                <a:cubicBezTo>
                  <a:pt x="691" y="418"/>
                  <a:pt x="689" y="418"/>
                  <a:pt x="688" y="419"/>
                </a:cubicBezTo>
                <a:cubicBezTo>
                  <a:pt x="687" y="419"/>
                  <a:pt x="685" y="419"/>
                  <a:pt x="684" y="418"/>
                </a:cubicBezTo>
                <a:cubicBezTo>
                  <a:pt x="683" y="417"/>
                  <a:pt x="682" y="416"/>
                  <a:pt x="682" y="415"/>
                </a:cubicBezTo>
                <a:cubicBezTo>
                  <a:pt x="682" y="414"/>
                  <a:pt x="680" y="413"/>
                  <a:pt x="679" y="412"/>
                </a:cubicBezTo>
                <a:cubicBezTo>
                  <a:pt x="677" y="411"/>
                  <a:pt x="677" y="409"/>
                  <a:pt x="677" y="408"/>
                </a:cubicBezTo>
                <a:cubicBezTo>
                  <a:pt x="677" y="405"/>
                  <a:pt x="679" y="402"/>
                  <a:pt x="678" y="399"/>
                </a:cubicBezTo>
                <a:cubicBezTo>
                  <a:pt x="678" y="398"/>
                  <a:pt x="678" y="397"/>
                  <a:pt x="679" y="397"/>
                </a:cubicBezTo>
                <a:cubicBezTo>
                  <a:pt x="680" y="394"/>
                  <a:pt x="681" y="391"/>
                  <a:pt x="682" y="389"/>
                </a:cubicBezTo>
                <a:cubicBezTo>
                  <a:pt x="683" y="388"/>
                  <a:pt x="682" y="387"/>
                  <a:pt x="681" y="387"/>
                </a:cubicBezTo>
                <a:cubicBezTo>
                  <a:pt x="679" y="386"/>
                  <a:pt x="677" y="384"/>
                  <a:pt x="674" y="384"/>
                </a:cubicBezTo>
                <a:cubicBezTo>
                  <a:pt x="673" y="384"/>
                  <a:pt x="672" y="383"/>
                  <a:pt x="671" y="382"/>
                </a:cubicBezTo>
                <a:cubicBezTo>
                  <a:pt x="670" y="382"/>
                  <a:pt x="670" y="381"/>
                  <a:pt x="670" y="380"/>
                </a:cubicBezTo>
                <a:cubicBezTo>
                  <a:pt x="670" y="379"/>
                  <a:pt x="670" y="378"/>
                  <a:pt x="670" y="378"/>
                </a:cubicBezTo>
                <a:cubicBezTo>
                  <a:pt x="668" y="376"/>
                  <a:pt x="667" y="374"/>
                  <a:pt x="666" y="372"/>
                </a:cubicBezTo>
                <a:cubicBezTo>
                  <a:pt x="666" y="370"/>
                  <a:pt x="665" y="369"/>
                  <a:pt x="664" y="368"/>
                </a:cubicBezTo>
                <a:cubicBezTo>
                  <a:pt x="662" y="366"/>
                  <a:pt x="661" y="365"/>
                  <a:pt x="658" y="366"/>
                </a:cubicBezTo>
                <a:cubicBezTo>
                  <a:pt x="657" y="366"/>
                  <a:pt x="656" y="366"/>
                  <a:pt x="655" y="366"/>
                </a:cubicBezTo>
                <a:cubicBezTo>
                  <a:pt x="651" y="365"/>
                  <a:pt x="648" y="366"/>
                  <a:pt x="645" y="363"/>
                </a:cubicBezTo>
                <a:cubicBezTo>
                  <a:pt x="644" y="362"/>
                  <a:pt x="642" y="362"/>
                  <a:pt x="641" y="362"/>
                </a:cubicBezTo>
                <a:cubicBezTo>
                  <a:pt x="637" y="361"/>
                  <a:pt x="633" y="363"/>
                  <a:pt x="632" y="366"/>
                </a:cubicBezTo>
                <a:cubicBezTo>
                  <a:pt x="631" y="368"/>
                  <a:pt x="631" y="370"/>
                  <a:pt x="632" y="372"/>
                </a:cubicBezTo>
                <a:cubicBezTo>
                  <a:pt x="633" y="373"/>
                  <a:pt x="633" y="375"/>
                  <a:pt x="632" y="376"/>
                </a:cubicBezTo>
                <a:cubicBezTo>
                  <a:pt x="631" y="378"/>
                  <a:pt x="629" y="380"/>
                  <a:pt x="628" y="382"/>
                </a:cubicBezTo>
                <a:cubicBezTo>
                  <a:pt x="627" y="384"/>
                  <a:pt x="630" y="387"/>
                  <a:pt x="629" y="389"/>
                </a:cubicBezTo>
                <a:cubicBezTo>
                  <a:pt x="629" y="390"/>
                  <a:pt x="629" y="392"/>
                  <a:pt x="629" y="393"/>
                </a:cubicBezTo>
                <a:cubicBezTo>
                  <a:pt x="630" y="395"/>
                  <a:pt x="629" y="396"/>
                  <a:pt x="627" y="397"/>
                </a:cubicBezTo>
                <a:cubicBezTo>
                  <a:pt x="627" y="398"/>
                  <a:pt x="626" y="398"/>
                  <a:pt x="625" y="399"/>
                </a:cubicBezTo>
                <a:cubicBezTo>
                  <a:pt x="624" y="402"/>
                  <a:pt x="620" y="404"/>
                  <a:pt x="618" y="407"/>
                </a:cubicBezTo>
                <a:cubicBezTo>
                  <a:pt x="617" y="409"/>
                  <a:pt x="617" y="410"/>
                  <a:pt x="618" y="412"/>
                </a:cubicBezTo>
                <a:cubicBezTo>
                  <a:pt x="619" y="413"/>
                  <a:pt x="620" y="414"/>
                  <a:pt x="621" y="415"/>
                </a:cubicBezTo>
                <a:cubicBezTo>
                  <a:pt x="621" y="416"/>
                  <a:pt x="622" y="417"/>
                  <a:pt x="622" y="419"/>
                </a:cubicBezTo>
                <a:cubicBezTo>
                  <a:pt x="623" y="422"/>
                  <a:pt x="623" y="425"/>
                  <a:pt x="623" y="428"/>
                </a:cubicBezTo>
                <a:cubicBezTo>
                  <a:pt x="624" y="432"/>
                  <a:pt x="622" y="435"/>
                  <a:pt x="623" y="438"/>
                </a:cubicBezTo>
                <a:cubicBezTo>
                  <a:pt x="623" y="439"/>
                  <a:pt x="623" y="439"/>
                  <a:pt x="622" y="440"/>
                </a:cubicBezTo>
                <a:cubicBezTo>
                  <a:pt x="621" y="441"/>
                  <a:pt x="620" y="441"/>
                  <a:pt x="619" y="442"/>
                </a:cubicBezTo>
                <a:cubicBezTo>
                  <a:pt x="615" y="446"/>
                  <a:pt x="611" y="448"/>
                  <a:pt x="606" y="450"/>
                </a:cubicBezTo>
                <a:cubicBezTo>
                  <a:pt x="604" y="451"/>
                  <a:pt x="602" y="452"/>
                  <a:pt x="600" y="453"/>
                </a:cubicBezTo>
                <a:cubicBezTo>
                  <a:pt x="598" y="453"/>
                  <a:pt x="597" y="454"/>
                  <a:pt x="597" y="456"/>
                </a:cubicBezTo>
                <a:cubicBezTo>
                  <a:pt x="597" y="460"/>
                  <a:pt x="598" y="463"/>
                  <a:pt x="597" y="466"/>
                </a:cubicBezTo>
                <a:cubicBezTo>
                  <a:pt x="597" y="469"/>
                  <a:pt x="597" y="471"/>
                  <a:pt x="596" y="473"/>
                </a:cubicBezTo>
                <a:cubicBezTo>
                  <a:pt x="596" y="476"/>
                  <a:pt x="597" y="478"/>
                  <a:pt x="597" y="480"/>
                </a:cubicBezTo>
                <a:cubicBezTo>
                  <a:pt x="597" y="481"/>
                  <a:pt x="597" y="482"/>
                  <a:pt x="596" y="483"/>
                </a:cubicBezTo>
                <a:cubicBezTo>
                  <a:pt x="596" y="484"/>
                  <a:pt x="595" y="486"/>
                  <a:pt x="594" y="487"/>
                </a:cubicBezTo>
                <a:cubicBezTo>
                  <a:pt x="594" y="488"/>
                  <a:pt x="593" y="488"/>
                  <a:pt x="593" y="488"/>
                </a:cubicBezTo>
                <a:cubicBezTo>
                  <a:pt x="590" y="488"/>
                  <a:pt x="589" y="489"/>
                  <a:pt x="588" y="490"/>
                </a:cubicBezTo>
                <a:cubicBezTo>
                  <a:pt x="587" y="491"/>
                  <a:pt x="585" y="491"/>
                  <a:pt x="585" y="490"/>
                </a:cubicBezTo>
                <a:cubicBezTo>
                  <a:pt x="585" y="489"/>
                  <a:pt x="584" y="488"/>
                  <a:pt x="584" y="487"/>
                </a:cubicBezTo>
                <a:cubicBezTo>
                  <a:pt x="583" y="486"/>
                  <a:pt x="583" y="484"/>
                  <a:pt x="582" y="483"/>
                </a:cubicBezTo>
                <a:cubicBezTo>
                  <a:pt x="579" y="481"/>
                  <a:pt x="578" y="477"/>
                  <a:pt x="576" y="474"/>
                </a:cubicBezTo>
                <a:cubicBezTo>
                  <a:pt x="576" y="473"/>
                  <a:pt x="576" y="472"/>
                  <a:pt x="576" y="470"/>
                </a:cubicBezTo>
                <a:cubicBezTo>
                  <a:pt x="578" y="467"/>
                  <a:pt x="580" y="463"/>
                  <a:pt x="580" y="458"/>
                </a:cubicBezTo>
                <a:cubicBezTo>
                  <a:pt x="580" y="457"/>
                  <a:pt x="581" y="455"/>
                  <a:pt x="581" y="454"/>
                </a:cubicBezTo>
                <a:cubicBezTo>
                  <a:pt x="582" y="452"/>
                  <a:pt x="582" y="451"/>
                  <a:pt x="582" y="450"/>
                </a:cubicBezTo>
                <a:cubicBezTo>
                  <a:pt x="583" y="449"/>
                  <a:pt x="582" y="448"/>
                  <a:pt x="581" y="448"/>
                </a:cubicBezTo>
                <a:cubicBezTo>
                  <a:pt x="577" y="447"/>
                  <a:pt x="572" y="445"/>
                  <a:pt x="568" y="445"/>
                </a:cubicBezTo>
                <a:cubicBezTo>
                  <a:pt x="566" y="445"/>
                  <a:pt x="565" y="445"/>
                  <a:pt x="565" y="444"/>
                </a:cubicBezTo>
                <a:cubicBezTo>
                  <a:pt x="562" y="441"/>
                  <a:pt x="560" y="439"/>
                  <a:pt x="557" y="437"/>
                </a:cubicBezTo>
                <a:cubicBezTo>
                  <a:pt x="554" y="436"/>
                  <a:pt x="551" y="434"/>
                  <a:pt x="550" y="431"/>
                </a:cubicBezTo>
                <a:cubicBezTo>
                  <a:pt x="548" y="427"/>
                  <a:pt x="546" y="425"/>
                  <a:pt x="542" y="423"/>
                </a:cubicBezTo>
                <a:cubicBezTo>
                  <a:pt x="540" y="422"/>
                  <a:pt x="537" y="420"/>
                  <a:pt x="534" y="419"/>
                </a:cubicBezTo>
                <a:cubicBezTo>
                  <a:pt x="533" y="418"/>
                  <a:pt x="531" y="418"/>
                  <a:pt x="530" y="418"/>
                </a:cubicBezTo>
                <a:cubicBezTo>
                  <a:pt x="527" y="419"/>
                  <a:pt x="525" y="420"/>
                  <a:pt x="523" y="419"/>
                </a:cubicBezTo>
                <a:cubicBezTo>
                  <a:pt x="523" y="419"/>
                  <a:pt x="522" y="419"/>
                  <a:pt x="522" y="419"/>
                </a:cubicBezTo>
                <a:cubicBezTo>
                  <a:pt x="522" y="420"/>
                  <a:pt x="522" y="420"/>
                  <a:pt x="522" y="420"/>
                </a:cubicBezTo>
                <a:cubicBezTo>
                  <a:pt x="522" y="419"/>
                  <a:pt x="522" y="419"/>
                  <a:pt x="522" y="419"/>
                </a:cubicBezTo>
                <a:cubicBezTo>
                  <a:pt x="522" y="419"/>
                  <a:pt x="522" y="419"/>
                  <a:pt x="523" y="419"/>
                </a:cubicBezTo>
                <a:cubicBezTo>
                  <a:pt x="524" y="417"/>
                  <a:pt x="525" y="415"/>
                  <a:pt x="525" y="412"/>
                </a:cubicBezTo>
                <a:cubicBezTo>
                  <a:pt x="524" y="409"/>
                  <a:pt x="525" y="406"/>
                  <a:pt x="524" y="403"/>
                </a:cubicBezTo>
                <a:cubicBezTo>
                  <a:pt x="524" y="401"/>
                  <a:pt x="524" y="400"/>
                  <a:pt x="524" y="399"/>
                </a:cubicBezTo>
                <a:cubicBezTo>
                  <a:pt x="524" y="399"/>
                  <a:pt x="523" y="398"/>
                  <a:pt x="523" y="398"/>
                </a:cubicBezTo>
                <a:cubicBezTo>
                  <a:pt x="522" y="398"/>
                  <a:pt x="520" y="398"/>
                  <a:pt x="519" y="398"/>
                </a:cubicBezTo>
                <a:cubicBezTo>
                  <a:pt x="518" y="398"/>
                  <a:pt x="517" y="397"/>
                  <a:pt x="517" y="396"/>
                </a:cubicBezTo>
                <a:cubicBezTo>
                  <a:pt x="517" y="395"/>
                  <a:pt x="516" y="394"/>
                  <a:pt x="517" y="393"/>
                </a:cubicBezTo>
                <a:cubicBezTo>
                  <a:pt x="517" y="392"/>
                  <a:pt x="518" y="390"/>
                  <a:pt x="518" y="388"/>
                </a:cubicBezTo>
                <a:cubicBezTo>
                  <a:pt x="520" y="381"/>
                  <a:pt x="523" y="375"/>
                  <a:pt x="529" y="370"/>
                </a:cubicBezTo>
                <a:cubicBezTo>
                  <a:pt x="530" y="369"/>
                  <a:pt x="531" y="367"/>
                  <a:pt x="532" y="366"/>
                </a:cubicBezTo>
                <a:cubicBezTo>
                  <a:pt x="535" y="362"/>
                  <a:pt x="538" y="357"/>
                  <a:pt x="543" y="356"/>
                </a:cubicBezTo>
                <a:cubicBezTo>
                  <a:pt x="545" y="353"/>
                  <a:pt x="548" y="352"/>
                  <a:pt x="549" y="348"/>
                </a:cubicBezTo>
                <a:cubicBezTo>
                  <a:pt x="549" y="348"/>
                  <a:pt x="550" y="347"/>
                  <a:pt x="551" y="347"/>
                </a:cubicBezTo>
                <a:cubicBezTo>
                  <a:pt x="552" y="347"/>
                  <a:pt x="553" y="348"/>
                  <a:pt x="554" y="348"/>
                </a:cubicBezTo>
                <a:cubicBezTo>
                  <a:pt x="557" y="348"/>
                  <a:pt x="560" y="346"/>
                  <a:pt x="560" y="343"/>
                </a:cubicBezTo>
                <a:cubicBezTo>
                  <a:pt x="560" y="342"/>
                  <a:pt x="560" y="340"/>
                  <a:pt x="559" y="339"/>
                </a:cubicBezTo>
                <a:cubicBezTo>
                  <a:pt x="559" y="339"/>
                  <a:pt x="559" y="339"/>
                  <a:pt x="559" y="339"/>
                </a:cubicBezTo>
                <a:cubicBezTo>
                  <a:pt x="559" y="339"/>
                  <a:pt x="559" y="339"/>
                  <a:pt x="559" y="339"/>
                </a:cubicBezTo>
                <a:cubicBezTo>
                  <a:pt x="559" y="339"/>
                  <a:pt x="559" y="339"/>
                  <a:pt x="559" y="339"/>
                </a:cubicBezTo>
                <a:cubicBezTo>
                  <a:pt x="559" y="339"/>
                  <a:pt x="559" y="339"/>
                  <a:pt x="559" y="339"/>
                </a:cubicBezTo>
                <a:cubicBezTo>
                  <a:pt x="563" y="339"/>
                  <a:pt x="567" y="338"/>
                  <a:pt x="568" y="334"/>
                </a:cubicBezTo>
                <a:cubicBezTo>
                  <a:pt x="569" y="333"/>
                  <a:pt x="570" y="333"/>
                  <a:pt x="570" y="333"/>
                </a:cubicBezTo>
                <a:cubicBezTo>
                  <a:pt x="572" y="334"/>
                  <a:pt x="573" y="335"/>
                  <a:pt x="574" y="335"/>
                </a:cubicBezTo>
                <a:cubicBezTo>
                  <a:pt x="576" y="335"/>
                  <a:pt x="577" y="336"/>
                  <a:pt x="579" y="334"/>
                </a:cubicBezTo>
                <a:cubicBezTo>
                  <a:pt x="583" y="330"/>
                  <a:pt x="587" y="326"/>
                  <a:pt x="592" y="322"/>
                </a:cubicBezTo>
                <a:cubicBezTo>
                  <a:pt x="592" y="322"/>
                  <a:pt x="592" y="321"/>
                  <a:pt x="592" y="320"/>
                </a:cubicBezTo>
                <a:cubicBezTo>
                  <a:pt x="592" y="319"/>
                  <a:pt x="593" y="318"/>
                  <a:pt x="594" y="317"/>
                </a:cubicBezTo>
                <a:cubicBezTo>
                  <a:pt x="596" y="316"/>
                  <a:pt x="598" y="314"/>
                  <a:pt x="599" y="313"/>
                </a:cubicBezTo>
                <a:cubicBezTo>
                  <a:pt x="600" y="312"/>
                  <a:pt x="601" y="312"/>
                  <a:pt x="601" y="311"/>
                </a:cubicBezTo>
                <a:cubicBezTo>
                  <a:pt x="601" y="311"/>
                  <a:pt x="601" y="311"/>
                  <a:pt x="601" y="311"/>
                </a:cubicBezTo>
                <a:cubicBezTo>
                  <a:pt x="602" y="310"/>
                  <a:pt x="602" y="310"/>
                  <a:pt x="602" y="310"/>
                </a:cubicBezTo>
                <a:cubicBezTo>
                  <a:pt x="605" y="308"/>
                  <a:pt x="605" y="308"/>
                  <a:pt x="603" y="305"/>
                </a:cubicBezTo>
                <a:cubicBezTo>
                  <a:pt x="603" y="304"/>
                  <a:pt x="603" y="304"/>
                  <a:pt x="603" y="304"/>
                </a:cubicBezTo>
                <a:cubicBezTo>
                  <a:pt x="602" y="303"/>
                  <a:pt x="603" y="303"/>
                  <a:pt x="603" y="303"/>
                </a:cubicBezTo>
                <a:cubicBezTo>
                  <a:pt x="606" y="302"/>
                  <a:pt x="609" y="302"/>
                  <a:pt x="610" y="305"/>
                </a:cubicBezTo>
                <a:cubicBezTo>
                  <a:pt x="610" y="305"/>
                  <a:pt x="610" y="306"/>
                  <a:pt x="610" y="306"/>
                </a:cubicBezTo>
                <a:cubicBezTo>
                  <a:pt x="614" y="308"/>
                  <a:pt x="619" y="308"/>
                  <a:pt x="623" y="306"/>
                </a:cubicBezTo>
                <a:cubicBezTo>
                  <a:pt x="626" y="305"/>
                  <a:pt x="629" y="303"/>
                  <a:pt x="631" y="301"/>
                </a:cubicBezTo>
                <a:cubicBezTo>
                  <a:pt x="632" y="300"/>
                  <a:pt x="633" y="299"/>
                  <a:pt x="634" y="299"/>
                </a:cubicBezTo>
                <a:cubicBezTo>
                  <a:pt x="636" y="299"/>
                  <a:pt x="637" y="297"/>
                  <a:pt x="638" y="295"/>
                </a:cubicBezTo>
                <a:cubicBezTo>
                  <a:pt x="639" y="294"/>
                  <a:pt x="639" y="292"/>
                  <a:pt x="639" y="291"/>
                </a:cubicBezTo>
                <a:cubicBezTo>
                  <a:pt x="638" y="290"/>
                  <a:pt x="638" y="289"/>
                  <a:pt x="638" y="288"/>
                </a:cubicBezTo>
                <a:cubicBezTo>
                  <a:pt x="637" y="286"/>
                  <a:pt x="637" y="284"/>
                  <a:pt x="637" y="283"/>
                </a:cubicBezTo>
                <a:cubicBezTo>
                  <a:pt x="638" y="281"/>
                  <a:pt x="638" y="279"/>
                  <a:pt x="638" y="278"/>
                </a:cubicBezTo>
                <a:cubicBezTo>
                  <a:pt x="638" y="278"/>
                  <a:pt x="638" y="277"/>
                  <a:pt x="638" y="277"/>
                </a:cubicBezTo>
                <a:cubicBezTo>
                  <a:pt x="638" y="277"/>
                  <a:pt x="638" y="277"/>
                  <a:pt x="638" y="277"/>
                </a:cubicBezTo>
                <a:cubicBezTo>
                  <a:pt x="638" y="277"/>
                  <a:pt x="638" y="277"/>
                  <a:pt x="638" y="277"/>
                </a:cubicBezTo>
                <a:cubicBezTo>
                  <a:pt x="638" y="277"/>
                  <a:pt x="638" y="277"/>
                  <a:pt x="638" y="278"/>
                </a:cubicBezTo>
                <a:cubicBezTo>
                  <a:pt x="639" y="278"/>
                  <a:pt x="641" y="278"/>
                  <a:pt x="642" y="278"/>
                </a:cubicBezTo>
                <a:cubicBezTo>
                  <a:pt x="645" y="278"/>
                  <a:pt x="646" y="277"/>
                  <a:pt x="646" y="273"/>
                </a:cubicBezTo>
                <a:cubicBezTo>
                  <a:pt x="646" y="272"/>
                  <a:pt x="646" y="271"/>
                  <a:pt x="647" y="270"/>
                </a:cubicBezTo>
                <a:cubicBezTo>
                  <a:pt x="649" y="268"/>
                  <a:pt x="648" y="267"/>
                  <a:pt x="647" y="266"/>
                </a:cubicBezTo>
                <a:cubicBezTo>
                  <a:pt x="645" y="265"/>
                  <a:pt x="643" y="263"/>
                  <a:pt x="643" y="260"/>
                </a:cubicBezTo>
                <a:cubicBezTo>
                  <a:pt x="643" y="259"/>
                  <a:pt x="642" y="257"/>
                  <a:pt x="640" y="258"/>
                </a:cubicBezTo>
                <a:cubicBezTo>
                  <a:pt x="639" y="258"/>
                  <a:pt x="638" y="256"/>
                  <a:pt x="638" y="255"/>
                </a:cubicBezTo>
                <a:cubicBezTo>
                  <a:pt x="636" y="255"/>
                  <a:pt x="634" y="254"/>
                  <a:pt x="633" y="253"/>
                </a:cubicBezTo>
                <a:cubicBezTo>
                  <a:pt x="633" y="253"/>
                  <a:pt x="633" y="253"/>
                  <a:pt x="633" y="253"/>
                </a:cubicBezTo>
                <a:cubicBezTo>
                  <a:pt x="633" y="253"/>
                  <a:pt x="633" y="253"/>
                  <a:pt x="633" y="253"/>
                </a:cubicBezTo>
                <a:cubicBezTo>
                  <a:pt x="633" y="253"/>
                  <a:pt x="633" y="253"/>
                  <a:pt x="633" y="253"/>
                </a:cubicBezTo>
                <a:cubicBezTo>
                  <a:pt x="632" y="253"/>
                  <a:pt x="632" y="254"/>
                  <a:pt x="631" y="254"/>
                </a:cubicBezTo>
                <a:cubicBezTo>
                  <a:pt x="628" y="254"/>
                  <a:pt x="627" y="255"/>
                  <a:pt x="626" y="257"/>
                </a:cubicBezTo>
                <a:cubicBezTo>
                  <a:pt x="626" y="260"/>
                  <a:pt x="624" y="262"/>
                  <a:pt x="625" y="265"/>
                </a:cubicBezTo>
                <a:cubicBezTo>
                  <a:pt x="625" y="266"/>
                  <a:pt x="625" y="266"/>
                  <a:pt x="624" y="267"/>
                </a:cubicBezTo>
                <a:cubicBezTo>
                  <a:pt x="623" y="267"/>
                  <a:pt x="622" y="269"/>
                  <a:pt x="621" y="270"/>
                </a:cubicBezTo>
                <a:cubicBezTo>
                  <a:pt x="619" y="270"/>
                  <a:pt x="618" y="272"/>
                  <a:pt x="617" y="274"/>
                </a:cubicBezTo>
                <a:cubicBezTo>
                  <a:pt x="616" y="275"/>
                  <a:pt x="615" y="276"/>
                  <a:pt x="615" y="278"/>
                </a:cubicBezTo>
                <a:cubicBezTo>
                  <a:pt x="614" y="279"/>
                  <a:pt x="613" y="279"/>
                  <a:pt x="612" y="279"/>
                </a:cubicBezTo>
                <a:cubicBezTo>
                  <a:pt x="612" y="279"/>
                  <a:pt x="612" y="279"/>
                  <a:pt x="612" y="279"/>
                </a:cubicBezTo>
                <a:cubicBezTo>
                  <a:pt x="612" y="279"/>
                  <a:pt x="612" y="280"/>
                  <a:pt x="611" y="280"/>
                </a:cubicBezTo>
                <a:cubicBezTo>
                  <a:pt x="612" y="280"/>
                  <a:pt x="612" y="279"/>
                  <a:pt x="612" y="279"/>
                </a:cubicBezTo>
                <a:cubicBezTo>
                  <a:pt x="612" y="279"/>
                  <a:pt x="612" y="279"/>
                  <a:pt x="612" y="279"/>
                </a:cubicBezTo>
                <a:cubicBezTo>
                  <a:pt x="611" y="278"/>
                  <a:pt x="611" y="277"/>
                  <a:pt x="610" y="277"/>
                </a:cubicBezTo>
                <a:cubicBezTo>
                  <a:pt x="609" y="277"/>
                  <a:pt x="608" y="278"/>
                  <a:pt x="607" y="280"/>
                </a:cubicBezTo>
                <a:cubicBezTo>
                  <a:pt x="607" y="281"/>
                  <a:pt x="607" y="282"/>
                  <a:pt x="608" y="283"/>
                </a:cubicBezTo>
                <a:cubicBezTo>
                  <a:pt x="608" y="285"/>
                  <a:pt x="608" y="286"/>
                  <a:pt x="607" y="287"/>
                </a:cubicBezTo>
                <a:cubicBezTo>
                  <a:pt x="606" y="287"/>
                  <a:pt x="605" y="288"/>
                  <a:pt x="604" y="288"/>
                </a:cubicBezTo>
                <a:cubicBezTo>
                  <a:pt x="603" y="287"/>
                  <a:pt x="602" y="287"/>
                  <a:pt x="602" y="286"/>
                </a:cubicBezTo>
                <a:cubicBezTo>
                  <a:pt x="601" y="284"/>
                  <a:pt x="601" y="283"/>
                  <a:pt x="601" y="281"/>
                </a:cubicBezTo>
                <a:cubicBezTo>
                  <a:pt x="600" y="278"/>
                  <a:pt x="601" y="275"/>
                  <a:pt x="604" y="272"/>
                </a:cubicBezTo>
                <a:cubicBezTo>
                  <a:pt x="605" y="272"/>
                  <a:pt x="605" y="270"/>
                  <a:pt x="605" y="269"/>
                </a:cubicBezTo>
                <a:cubicBezTo>
                  <a:pt x="606" y="265"/>
                  <a:pt x="604" y="262"/>
                  <a:pt x="603" y="258"/>
                </a:cubicBezTo>
                <a:cubicBezTo>
                  <a:pt x="602" y="258"/>
                  <a:pt x="601" y="258"/>
                  <a:pt x="600" y="259"/>
                </a:cubicBezTo>
                <a:cubicBezTo>
                  <a:pt x="599" y="261"/>
                  <a:pt x="597" y="262"/>
                  <a:pt x="596" y="265"/>
                </a:cubicBezTo>
                <a:cubicBezTo>
                  <a:pt x="595" y="266"/>
                  <a:pt x="594" y="267"/>
                  <a:pt x="593" y="268"/>
                </a:cubicBezTo>
                <a:cubicBezTo>
                  <a:pt x="593" y="269"/>
                  <a:pt x="593" y="269"/>
                  <a:pt x="592" y="269"/>
                </a:cubicBezTo>
                <a:cubicBezTo>
                  <a:pt x="592" y="269"/>
                  <a:pt x="591" y="268"/>
                  <a:pt x="592" y="268"/>
                </a:cubicBezTo>
                <a:cubicBezTo>
                  <a:pt x="593" y="265"/>
                  <a:pt x="593" y="262"/>
                  <a:pt x="593" y="259"/>
                </a:cubicBezTo>
                <a:cubicBezTo>
                  <a:pt x="593" y="258"/>
                  <a:pt x="594" y="257"/>
                  <a:pt x="595" y="257"/>
                </a:cubicBezTo>
                <a:cubicBezTo>
                  <a:pt x="597" y="256"/>
                  <a:pt x="597" y="255"/>
                  <a:pt x="596" y="254"/>
                </a:cubicBezTo>
                <a:cubicBezTo>
                  <a:pt x="594" y="253"/>
                  <a:pt x="593" y="251"/>
                  <a:pt x="591" y="251"/>
                </a:cubicBezTo>
                <a:cubicBezTo>
                  <a:pt x="590" y="251"/>
                  <a:pt x="588" y="250"/>
                  <a:pt x="587" y="249"/>
                </a:cubicBezTo>
                <a:cubicBezTo>
                  <a:pt x="587" y="249"/>
                  <a:pt x="586" y="248"/>
                  <a:pt x="587" y="248"/>
                </a:cubicBezTo>
                <a:cubicBezTo>
                  <a:pt x="588" y="246"/>
                  <a:pt x="590" y="244"/>
                  <a:pt x="592" y="243"/>
                </a:cubicBezTo>
                <a:cubicBezTo>
                  <a:pt x="592" y="242"/>
                  <a:pt x="593" y="242"/>
                  <a:pt x="593" y="242"/>
                </a:cubicBezTo>
                <a:cubicBezTo>
                  <a:pt x="595" y="241"/>
                  <a:pt x="596" y="241"/>
                  <a:pt x="595" y="239"/>
                </a:cubicBezTo>
                <a:cubicBezTo>
                  <a:pt x="594" y="234"/>
                  <a:pt x="593" y="229"/>
                  <a:pt x="596" y="223"/>
                </a:cubicBezTo>
                <a:cubicBezTo>
                  <a:pt x="596" y="222"/>
                  <a:pt x="596" y="221"/>
                  <a:pt x="596" y="221"/>
                </a:cubicBezTo>
                <a:cubicBezTo>
                  <a:pt x="594" y="217"/>
                  <a:pt x="595" y="214"/>
                  <a:pt x="593" y="210"/>
                </a:cubicBezTo>
                <a:cubicBezTo>
                  <a:pt x="593" y="209"/>
                  <a:pt x="593" y="208"/>
                  <a:pt x="594" y="208"/>
                </a:cubicBezTo>
                <a:cubicBezTo>
                  <a:pt x="597" y="206"/>
                  <a:pt x="599" y="204"/>
                  <a:pt x="601" y="203"/>
                </a:cubicBezTo>
                <a:cubicBezTo>
                  <a:pt x="602" y="202"/>
                  <a:pt x="603" y="200"/>
                  <a:pt x="603" y="198"/>
                </a:cubicBezTo>
                <a:cubicBezTo>
                  <a:pt x="603" y="198"/>
                  <a:pt x="603" y="197"/>
                  <a:pt x="604" y="197"/>
                </a:cubicBezTo>
                <a:cubicBezTo>
                  <a:pt x="604" y="196"/>
                  <a:pt x="605" y="196"/>
                  <a:pt x="605" y="196"/>
                </a:cubicBezTo>
                <a:cubicBezTo>
                  <a:pt x="607" y="196"/>
                  <a:pt x="608" y="197"/>
                  <a:pt x="609" y="198"/>
                </a:cubicBezTo>
                <a:cubicBezTo>
                  <a:pt x="611" y="199"/>
                  <a:pt x="612" y="198"/>
                  <a:pt x="614" y="197"/>
                </a:cubicBezTo>
                <a:cubicBezTo>
                  <a:pt x="615" y="197"/>
                  <a:pt x="616" y="196"/>
                  <a:pt x="617" y="195"/>
                </a:cubicBezTo>
                <a:cubicBezTo>
                  <a:pt x="621" y="191"/>
                  <a:pt x="625" y="188"/>
                  <a:pt x="629" y="184"/>
                </a:cubicBezTo>
                <a:cubicBezTo>
                  <a:pt x="630" y="183"/>
                  <a:pt x="630" y="182"/>
                  <a:pt x="631" y="181"/>
                </a:cubicBezTo>
                <a:cubicBezTo>
                  <a:pt x="632" y="180"/>
                  <a:pt x="631" y="177"/>
                  <a:pt x="630" y="176"/>
                </a:cubicBezTo>
                <a:cubicBezTo>
                  <a:pt x="629" y="176"/>
                  <a:pt x="629" y="176"/>
                  <a:pt x="629" y="176"/>
                </a:cubicBezTo>
                <a:cubicBezTo>
                  <a:pt x="625" y="176"/>
                  <a:pt x="622" y="174"/>
                  <a:pt x="619" y="172"/>
                </a:cubicBezTo>
                <a:cubicBezTo>
                  <a:pt x="619" y="171"/>
                  <a:pt x="617" y="171"/>
                  <a:pt x="616" y="171"/>
                </a:cubicBezTo>
                <a:cubicBezTo>
                  <a:pt x="614" y="170"/>
                  <a:pt x="611" y="170"/>
                  <a:pt x="608" y="170"/>
                </a:cubicBezTo>
                <a:cubicBezTo>
                  <a:pt x="608" y="171"/>
                  <a:pt x="607" y="171"/>
                  <a:pt x="606" y="172"/>
                </a:cubicBezTo>
                <a:cubicBezTo>
                  <a:pt x="605" y="173"/>
                  <a:pt x="604" y="175"/>
                  <a:pt x="602" y="176"/>
                </a:cubicBezTo>
                <a:cubicBezTo>
                  <a:pt x="601" y="177"/>
                  <a:pt x="600" y="179"/>
                  <a:pt x="599" y="181"/>
                </a:cubicBezTo>
                <a:cubicBezTo>
                  <a:pt x="597" y="184"/>
                  <a:pt x="596" y="186"/>
                  <a:pt x="594" y="189"/>
                </a:cubicBezTo>
                <a:cubicBezTo>
                  <a:pt x="593" y="191"/>
                  <a:pt x="593" y="193"/>
                  <a:pt x="593" y="194"/>
                </a:cubicBezTo>
                <a:cubicBezTo>
                  <a:pt x="593" y="198"/>
                  <a:pt x="591" y="202"/>
                  <a:pt x="590" y="205"/>
                </a:cubicBezTo>
                <a:cubicBezTo>
                  <a:pt x="589" y="206"/>
                  <a:pt x="589" y="207"/>
                  <a:pt x="588" y="207"/>
                </a:cubicBezTo>
                <a:cubicBezTo>
                  <a:pt x="586" y="208"/>
                  <a:pt x="585" y="209"/>
                  <a:pt x="583" y="211"/>
                </a:cubicBezTo>
                <a:cubicBezTo>
                  <a:pt x="582" y="212"/>
                  <a:pt x="582" y="213"/>
                  <a:pt x="582" y="214"/>
                </a:cubicBezTo>
                <a:cubicBezTo>
                  <a:pt x="582" y="214"/>
                  <a:pt x="582" y="214"/>
                  <a:pt x="582" y="214"/>
                </a:cubicBezTo>
                <a:cubicBezTo>
                  <a:pt x="582" y="214"/>
                  <a:pt x="582" y="215"/>
                  <a:pt x="582" y="215"/>
                </a:cubicBezTo>
                <a:cubicBezTo>
                  <a:pt x="582" y="215"/>
                  <a:pt x="582" y="215"/>
                  <a:pt x="582" y="215"/>
                </a:cubicBezTo>
                <a:cubicBezTo>
                  <a:pt x="582" y="215"/>
                  <a:pt x="582" y="215"/>
                  <a:pt x="582" y="215"/>
                </a:cubicBezTo>
                <a:cubicBezTo>
                  <a:pt x="582" y="215"/>
                  <a:pt x="582" y="215"/>
                  <a:pt x="582" y="214"/>
                </a:cubicBezTo>
                <a:cubicBezTo>
                  <a:pt x="582" y="214"/>
                  <a:pt x="582" y="214"/>
                  <a:pt x="582" y="214"/>
                </a:cubicBezTo>
                <a:cubicBezTo>
                  <a:pt x="581" y="215"/>
                  <a:pt x="579" y="215"/>
                  <a:pt x="578" y="216"/>
                </a:cubicBezTo>
                <a:cubicBezTo>
                  <a:pt x="574" y="218"/>
                  <a:pt x="572" y="222"/>
                  <a:pt x="571" y="226"/>
                </a:cubicBezTo>
                <a:cubicBezTo>
                  <a:pt x="571" y="228"/>
                  <a:pt x="571" y="229"/>
                  <a:pt x="569" y="231"/>
                </a:cubicBezTo>
                <a:cubicBezTo>
                  <a:pt x="569" y="231"/>
                  <a:pt x="569" y="231"/>
                  <a:pt x="568" y="232"/>
                </a:cubicBezTo>
                <a:cubicBezTo>
                  <a:pt x="567" y="233"/>
                  <a:pt x="566" y="235"/>
                  <a:pt x="566" y="237"/>
                </a:cubicBezTo>
                <a:cubicBezTo>
                  <a:pt x="567" y="239"/>
                  <a:pt x="567" y="241"/>
                  <a:pt x="568" y="243"/>
                </a:cubicBezTo>
                <a:cubicBezTo>
                  <a:pt x="569" y="244"/>
                  <a:pt x="569" y="245"/>
                  <a:pt x="570" y="246"/>
                </a:cubicBezTo>
                <a:cubicBezTo>
                  <a:pt x="571" y="246"/>
                  <a:pt x="571" y="246"/>
                  <a:pt x="572" y="247"/>
                </a:cubicBezTo>
                <a:cubicBezTo>
                  <a:pt x="574" y="248"/>
                  <a:pt x="575" y="249"/>
                  <a:pt x="577" y="250"/>
                </a:cubicBezTo>
                <a:cubicBezTo>
                  <a:pt x="577" y="250"/>
                  <a:pt x="577" y="250"/>
                  <a:pt x="577" y="251"/>
                </a:cubicBezTo>
                <a:cubicBezTo>
                  <a:pt x="577" y="251"/>
                  <a:pt x="577" y="251"/>
                  <a:pt x="576" y="251"/>
                </a:cubicBezTo>
                <a:cubicBezTo>
                  <a:pt x="576" y="252"/>
                  <a:pt x="575" y="252"/>
                  <a:pt x="574" y="252"/>
                </a:cubicBezTo>
                <a:cubicBezTo>
                  <a:pt x="573" y="254"/>
                  <a:pt x="572" y="255"/>
                  <a:pt x="570" y="257"/>
                </a:cubicBezTo>
                <a:cubicBezTo>
                  <a:pt x="570" y="258"/>
                  <a:pt x="570" y="259"/>
                  <a:pt x="571" y="260"/>
                </a:cubicBezTo>
                <a:cubicBezTo>
                  <a:pt x="572" y="260"/>
                  <a:pt x="572" y="260"/>
                  <a:pt x="573" y="260"/>
                </a:cubicBezTo>
                <a:cubicBezTo>
                  <a:pt x="573" y="260"/>
                  <a:pt x="573" y="260"/>
                  <a:pt x="573" y="260"/>
                </a:cubicBezTo>
                <a:cubicBezTo>
                  <a:pt x="574" y="260"/>
                  <a:pt x="574" y="260"/>
                  <a:pt x="574" y="260"/>
                </a:cubicBezTo>
                <a:cubicBezTo>
                  <a:pt x="573" y="260"/>
                  <a:pt x="573" y="260"/>
                  <a:pt x="573" y="260"/>
                </a:cubicBezTo>
                <a:cubicBezTo>
                  <a:pt x="573" y="260"/>
                  <a:pt x="573" y="260"/>
                  <a:pt x="573" y="260"/>
                </a:cubicBezTo>
                <a:cubicBezTo>
                  <a:pt x="573" y="261"/>
                  <a:pt x="573" y="262"/>
                  <a:pt x="572" y="263"/>
                </a:cubicBezTo>
                <a:cubicBezTo>
                  <a:pt x="571" y="265"/>
                  <a:pt x="569" y="266"/>
                  <a:pt x="568" y="267"/>
                </a:cubicBezTo>
                <a:cubicBezTo>
                  <a:pt x="566" y="269"/>
                  <a:pt x="564" y="270"/>
                  <a:pt x="562" y="270"/>
                </a:cubicBezTo>
                <a:cubicBezTo>
                  <a:pt x="558" y="270"/>
                  <a:pt x="557" y="272"/>
                  <a:pt x="556" y="275"/>
                </a:cubicBezTo>
                <a:cubicBezTo>
                  <a:pt x="556" y="277"/>
                  <a:pt x="556" y="279"/>
                  <a:pt x="555" y="281"/>
                </a:cubicBezTo>
                <a:cubicBezTo>
                  <a:pt x="555" y="281"/>
                  <a:pt x="555" y="282"/>
                  <a:pt x="555" y="282"/>
                </a:cubicBezTo>
                <a:cubicBezTo>
                  <a:pt x="554" y="282"/>
                  <a:pt x="554" y="282"/>
                  <a:pt x="554" y="282"/>
                </a:cubicBezTo>
                <a:cubicBezTo>
                  <a:pt x="553" y="281"/>
                  <a:pt x="553" y="280"/>
                  <a:pt x="552" y="279"/>
                </a:cubicBezTo>
                <a:cubicBezTo>
                  <a:pt x="551" y="277"/>
                  <a:pt x="551" y="276"/>
                  <a:pt x="552" y="275"/>
                </a:cubicBezTo>
                <a:cubicBezTo>
                  <a:pt x="554" y="273"/>
                  <a:pt x="555" y="271"/>
                  <a:pt x="557" y="269"/>
                </a:cubicBezTo>
                <a:cubicBezTo>
                  <a:pt x="557" y="268"/>
                  <a:pt x="557" y="266"/>
                  <a:pt x="556" y="266"/>
                </a:cubicBezTo>
                <a:cubicBezTo>
                  <a:pt x="553" y="266"/>
                  <a:pt x="552" y="264"/>
                  <a:pt x="552" y="262"/>
                </a:cubicBezTo>
                <a:cubicBezTo>
                  <a:pt x="552" y="261"/>
                  <a:pt x="552" y="261"/>
                  <a:pt x="551" y="261"/>
                </a:cubicBezTo>
                <a:cubicBezTo>
                  <a:pt x="552" y="261"/>
                  <a:pt x="552" y="261"/>
                  <a:pt x="552" y="262"/>
                </a:cubicBezTo>
                <a:cubicBezTo>
                  <a:pt x="552" y="262"/>
                  <a:pt x="552" y="262"/>
                  <a:pt x="552" y="262"/>
                </a:cubicBezTo>
                <a:cubicBezTo>
                  <a:pt x="552" y="262"/>
                  <a:pt x="552" y="262"/>
                  <a:pt x="552" y="262"/>
                </a:cubicBezTo>
                <a:cubicBezTo>
                  <a:pt x="552" y="262"/>
                  <a:pt x="552" y="262"/>
                  <a:pt x="552" y="262"/>
                </a:cubicBezTo>
                <a:cubicBezTo>
                  <a:pt x="553" y="262"/>
                  <a:pt x="554" y="262"/>
                  <a:pt x="555" y="263"/>
                </a:cubicBezTo>
                <a:cubicBezTo>
                  <a:pt x="557" y="263"/>
                  <a:pt x="558" y="263"/>
                  <a:pt x="559" y="263"/>
                </a:cubicBezTo>
                <a:cubicBezTo>
                  <a:pt x="561" y="262"/>
                  <a:pt x="562" y="261"/>
                  <a:pt x="564" y="260"/>
                </a:cubicBezTo>
                <a:cubicBezTo>
                  <a:pt x="565" y="260"/>
                  <a:pt x="565" y="259"/>
                  <a:pt x="565" y="259"/>
                </a:cubicBezTo>
                <a:cubicBezTo>
                  <a:pt x="565" y="257"/>
                  <a:pt x="565" y="255"/>
                  <a:pt x="565" y="253"/>
                </a:cubicBezTo>
                <a:cubicBezTo>
                  <a:pt x="565" y="251"/>
                  <a:pt x="565" y="251"/>
                  <a:pt x="567" y="250"/>
                </a:cubicBezTo>
                <a:cubicBezTo>
                  <a:pt x="569" y="250"/>
                  <a:pt x="569" y="248"/>
                  <a:pt x="570" y="246"/>
                </a:cubicBezTo>
                <a:cubicBezTo>
                  <a:pt x="569" y="246"/>
                  <a:pt x="569" y="246"/>
                  <a:pt x="568" y="246"/>
                </a:cubicBezTo>
                <a:cubicBezTo>
                  <a:pt x="564" y="246"/>
                  <a:pt x="561" y="245"/>
                  <a:pt x="560" y="241"/>
                </a:cubicBezTo>
                <a:cubicBezTo>
                  <a:pt x="560" y="241"/>
                  <a:pt x="559" y="240"/>
                  <a:pt x="559" y="240"/>
                </a:cubicBezTo>
                <a:cubicBezTo>
                  <a:pt x="559" y="239"/>
                  <a:pt x="557" y="239"/>
                  <a:pt x="557" y="239"/>
                </a:cubicBezTo>
                <a:cubicBezTo>
                  <a:pt x="556" y="240"/>
                  <a:pt x="555" y="241"/>
                  <a:pt x="554" y="242"/>
                </a:cubicBezTo>
                <a:cubicBezTo>
                  <a:pt x="551" y="245"/>
                  <a:pt x="549" y="248"/>
                  <a:pt x="545" y="248"/>
                </a:cubicBezTo>
                <a:cubicBezTo>
                  <a:pt x="544" y="249"/>
                  <a:pt x="544" y="249"/>
                  <a:pt x="543" y="249"/>
                </a:cubicBezTo>
                <a:cubicBezTo>
                  <a:pt x="543" y="250"/>
                  <a:pt x="543" y="250"/>
                  <a:pt x="543" y="250"/>
                </a:cubicBezTo>
                <a:cubicBezTo>
                  <a:pt x="542" y="250"/>
                  <a:pt x="542" y="252"/>
                  <a:pt x="543" y="252"/>
                </a:cubicBezTo>
                <a:cubicBezTo>
                  <a:pt x="546" y="255"/>
                  <a:pt x="549" y="256"/>
                  <a:pt x="551" y="260"/>
                </a:cubicBezTo>
                <a:cubicBezTo>
                  <a:pt x="550" y="260"/>
                  <a:pt x="550" y="260"/>
                  <a:pt x="550" y="260"/>
                </a:cubicBezTo>
                <a:cubicBezTo>
                  <a:pt x="550" y="260"/>
                  <a:pt x="550" y="260"/>
                  <a:pt x="550" y="260"/>
                </a:cubicBezTo>
                <a:cubicBezTo>
                  <a:pt x="549" y="260"/>
                  <a:pt x="548" y="261"/>
                  <a:pt x="546" y="261"/>
                </a:cubicBezTo>
                <a:cubicBezTo>
                  <a:pt x="545" y="261"/>
                  <a:pt x="544" y="261"/>
                  <a:pt x="543" y="263"/>
                </a:cubicBezTo>
                <a:cubicBezTo>
                  <a:pt x="542" y="264"/>
                  <a:pt x="541" y="264"/>
                  <a:pt x="541" y="265"/>
                </a:cubicBezTo>
                <a:cubicBezTo>
                  <a:pt x="540" y="266"/>
                  <a:pt x="539" y="266"/>
                  <a:pt x="539" y="267"/>
                </a:cubicBezTo>
                <a:cubicBezTo>
                  <a:pt x="539" y="268"/>
                  <a:pt x="539" y="269"/>
                  <a:pt x="538" y="270"/>
                </a:cubicBezTo>
                <a:cubicBezTo>
                  <a:pt x="537" y="270"/>
                  <a:pt x="536" y="270"/>
                  <a:pt x="535" y="270"/>
                </a:cubicBezTo>
                <a:cubicBezTo>
                  <a:pt x="534" y="269"/>
                  <a:pt x="533" y="269"/>
                  <a:pt x="532" y="268"/>
                </a:cubicBezTo>
                <a:cubicBezTo>
                  <a:pt x="530" y="267"/>
                  <a:pt x="528" y="267"/>
                  <a:pt x="526" y="268"/>
                </a:cubicBezTo>
                <a:cubicBezTo>
                  <a:pt x="525" y="268"/>
                  <a:pt x="524" y="268"/>
                  <a:pt x="523" y="269"/>
                </a:cubicBezTo>
                <a:cubicBezTo>
                  <a:pt x="522" y="269"/>
                  <a:pt x="521" y="269"/>
                  <a:pt x="520" y="268"/>
                </a:cubicBezTo>
                <a:cubicBezTo>
                  <a:pt x="518" y="267"/>
                  <a:pt x="516" y="266"/>
                  <a:pt x="516" y="264"/>
                </a:cubicBezTo>
                <a:cubicBezTo>
                  <a:pt x="514" y="262"/>
                  <a:pt x="512" y="260"/>
                  <a:pt x="510" y="260"/>
                </a:cubicBezTo>
                <a:cubicBezTo>
                  <a:pt x="508" y="259"/>
                  <a:pt x="507" y="259"/>
                  <a:pt x="507" y="257"/>
                </a:cubicBezTo>
                <a:cubicBezTo>
                  <a:pt x="506" y="255"/>
                  <a:pt x="505" y="252"/>
                  <a:pt x="505" y="249"/>
                </a:cubicBezTo>
                <a:cubicBezTo>
                  <a:pt x="505" y="248"/>
                  <a:pt x="505" y="247"/>
                  <a:pt x="505" y="246"/>
                </a:cubicBezTo>
                <a:cubicBezTo>
                  <a:pt x="505" y="244"/>
                  <a:pt x="503" y="242"/>
                  <a:pt x="501" y="243"/>
                </a:cubicBezTo>
                <a:cubicBezTo>
                  <a:pt x="497" y="243"/>
                  <a:pt x="493" y="244"/>
                  <a:pt x="489" y="244"/>
                </a:cubicBezTo>
                <a:cubicBezTo>
                  <a:pt x="487" y="244"/>
                  <a:pt x="486" y="246"/>
                  <a:pt x="485" y="248"/>
                </a:cubicBezTo>
                <a:cubicBezTo>
                  <a:pt x="485" y="249"/>
                  <a:pt x="485" y="250"/>
                  <a:pt x="486" y="251"/>
                </a:cubicBezTo>
                <a:cubicBezTo>
                  <a:pt x="487" y="252"/>
                  <a:pt x="488" y="252"/>
                  <a:pt x="489" y="252"/>
                </a:cubicBezTo>
                <a:cubicBezTo>
                  <a:pt x="489" y="251"/>
                  <a:pt x="490" y="251"/>
                  <a:pt x="490" y="251"/>
                </a:cubicBezTo>
                <a:cubicBezTo>
                  <a:pt x="492" y="250"/>
                  <a:pt x="494" y="250"/>
                  <a:pt x="495" y="250"/>
                </a:cubicBezTo>
                <a:cubicBezTo>
                  <a:pt x="497" y="250"/>
                  <a:pt x="499" y="249"/>
                  <a:pt x="500" y="248"/>
                </a:cubicBezTo>
                <a:cubicBezTo>
                  <a:pt x="501" y="248"/>
                  <a:pt x="501" y="249"/>
                  <a:pt x="501" y="249"/>
                </a:cubicBezTo>
                <a:cubicBezTo>
                  <a:pt x="502" y="249"/>
                  <a:pt x="501" y="250"/>
                  <a:pt x="501" y="250"/>
                </a:cubicBezTo>
                <a:cubicBezTo>
                  <a:pt x="499" y="251"/>
                  <a:pt x="498" y="251"/>
                  <a:pt x="496" y="252"/>
                </a:cubicBezTo>
                <a:cubicBezTo>
                  <a:pt x="494" y="253"/>
                  <a:pt x="492" y="254"/>
                  <a:pt x="490" y="255"/>
                </a:cubicBezTo>
                <a:cubicBezTo>
                  <a:pt x="489" y="255"/>
                  <a:pt x="488" y="255"/>
                  <a:pt x="487" y="256"/>
                </a:cubicBezTo>
                <a:cubicBezTo>
                  <a:pt x="485" y="256"/>
                  <a:pt x="484" y="257"/>
                  <a:pt x="483" y="259"/>
                </a:cubicBezTo>
                <a:cubicBezTo>
                  <a:pt x="482" y="262"/>
                  <a:pt x="482" y="265"/>
                  <a:pt x="481" y="268"/>
                </a:cubicBezTo>
                <a:cubicBezTo>
                  <a:pt x="481" y="269"/>
                  <a:pt x="481" y="269"/>
                  <a:pt x="480" y="270"/>
                </a:cubicBezTo>
                <a:cubicBezTo>
                  <a:pt x="479" y="271"/>
                  <a:pt x="478" y="271"/>
                  <a:pt x="478" y="271"/>
                </a:cubicBezTo>
                <a:cubicBezTo>
                  <a:pt x="477" y="271"/>
                  <a:pt x="477" y="270"/>
                  <a:pt x="478" y="269"/>
                </a:cubicBezTo>
                <a:cubicBezTo>
                  <a:pt x="479" y="267"/>
                  <a:pt x="479" y="266"/>
                  <a:pt x="478" y="265"/>
                </a:cubicBezTo>
                <a:cubicBezTo>
                  <a:pt x="477" y="263"/>
                  <a:pt x="476" y="261"/>
                  <a:pt x="475" y="259"/>
                </a:cubicBezTo>
                <a:cubicBezTo>
                  <a:pt x="475" y="258"/>
                  <a:pt x="474" y="256"/>
                  <a:pt x="473" y="254"/>
                </a:cubicBezTo>
                <a:cubicBezTo>
                  <a:pt x="473" y="254"/>
                  <a:pt x="471" y="253"/>
                  <a:pt x="470" y="253"/>
                </a:cubicBezTo>
                <a:cubicBezTo>
                  <a:pt x="469" y="253"/>
                  <a:pt x="468" y="254"/>
                  <a:pt x="467" y="254"/>
                </a:cubicBezTo>
                <a:cubicBezTo>
                  <a:pt x="458" y="256"/>
                  <a:pt x="450" y="254"/>
                  <a:pt x="443" y="248"/>
                </a:cubicBezTo>
                <a:cubicBezTo>
                  <a:pt x="442" y="248"/>
                  <a:pt x="442" y="247"/>
                  <a:pt x="443" y="246"/>
                </a:cubicBezTo>
                <a:cubicBezTo>
                  <a:pt x="444" y="244"/>
                  <a:pt x="445" y="243"/>
                  <a:pt x="447" y="243"/>
                </a:cubicBezTo>
                <a:cubicBezTo>
                  <a:pt x="448" y="243"/>
                  <a:pt x="449" y="243"/>
                  <a:pt x="450" y="243"/>
                </a:cubicBezTo>
                <a:cubicBezTo>
                  <a:pt x="453" y="243"/>
                  <a:pt x="455" y="241"/>
                  <a:pt x="454" y="238"/>
                </a:cubicBezTo>
                <a:cubicBezTo>
                  <a:pt x="454" y="236"/>
                  <a:pt x="453" y="234"/>
                  <a:pt x="452" y="233"/>
                </a:cubicBezTo>
                <a:cubicBezTo>
                  <a:pt x="451" y="231"/>
                  <a:pt x="449" y="229"/>
                  <a:pt x="447" y="229"/>
                </a:cubicBezTo>
                <a:cubicBezTo>
                  <a:pt x="443" y="230"/>
                  <a:pt x="441" y="229"/>
                  <a:pt x="439" y="227"/>
                </a:cubicBezTo>
                <a:cubicBezTo>
                  <a:pt x="435" y="224"/>
                  <a:pt x="432" y="222"/>
                  <a:pt x="429" y="219"/>
                </a:cubicBezTo>
                <a:cubicBezTo>
                  <a:pt x="427" y="218"/>
                  <a:pt x="425" y="216"/>
                  <a:pt x="425" y="213"/>
                </a:cubicBezTo>
                <a:cubicBezTo>
                  <a:pt x="424" y="209"/>
                  <a:pt x="422" y="208"/>
                  <a:pt x="418" y="206"/>
                </a:cubicBezTo>
                <a:cubicBezTo>
                  <a:pt x="416" y="205"/>
                  <a:pt x="413" y="205"/>
                  <a:pt x="411" y="208"/>
                </a:cubicBezTo>
                <a:cubicBezTo>
                  <a:pt x="411" y="209"/>
                  <a:pt x="410" y="210"/>
                  <a:pt x="409" y="210"/>
                </a:cubicBezTo>
                <a:cubicBezTo>
                  <a:pt x="408" y="210"/>
                  <a:pt x="407" y="210"/>
                  <a:pt x="406" y="211"/>
                </a:cubicBezTo>
                <a:cubicBezTo>
                  <a:pt x="405" y="211"/>
                  <a:pt x="404" y="209"/>
                  <a:pt x="405" y="209"/>
                </a:cubicBezTo>
                <a:cubicBezTo>
                  <a:pt x="407" y="206"/>
                  <a:pt x="408" y="203"/>
                  <a:pt x="408" y="199"/>
                </a:cubicBezTo>
                <a:cubicBezTo>
                  <a:pt x="408" y="199"/>
                  <a:pt x="408" y="199"/>
                  <a:pt x="408" y="199"/>
                </a:cubicBezTo>
                <a:cubicBezTo>
                  <a:pt x="408" y="198"/>
                  <a:pt x="407" y="198"/>
                  <a:pt x="407" y="198"/>
                </a:cubicBezTo>
                <a:cubicBezTo>
                  <a:pt x="406" y="199"/>
                  <a:pt x="406" y="199"/>
                  <a:pt x="405" y="200"/>
                </a:cubicBezTo>
                <a:cubicBezTo>
                  <a:pt x="402" y="202"/>
                  <a:pt x="400" y="204"/>
                  <a:pt x="398" y="206"/>
                </a:cubicBezTo>
                <a:cubicBezTo>
                  <a:pt x="397" y="206"/>
                  <a:pt x="396" y="206"/>
                  <a:pt x="396" y="206"/>
                </a:cubicBezTo>
                <a:cubicBezTo>
                  <a:pt x="396" y="206"/>
                  <a:pt x="395" y="205"/>
                  <a:pt x="395" y="205"/>
                </a:cubicBezTo>
                <a:cubicBezTo>
                  <a:pt x="395" y="202"/>
                  <a:pt x="395" y="200"/>
                  <a:pt x="395" y="198"/>
                </a:cubicBezTo>
                <a:cubicBezTo>
                  <a:pt x="396" y="194"/>
                  <a:pt x="397" y="190"/>
                  <a:pt x="396" y="186"/>
                </a:cubicBezTo>
                <a:cubicBezTo>
                  <a:pt x="396" y="185"/>
                  <a:pt x="396" y="184"/>
                  <a:pt x="396" y="183"/>
                </a:cubicBezTo>
                <a:cubicBezTo>
                  <a:pt x="395" y="183"/>
                  <a:pt x="394" y="183"/>
                  <a:pt x="394" y="183"/>
                </a:cubicBezTo>
                <a:cubicBezTo>
                  <a:pt x="393" y="184"/>
                  <a:pt x="392" y="185"/>
                  <a:pt x="392" y="187"/>
                </a:cubicBezTo>
                <a:cubicBezTo>
                  <a:pt x="392" y="188"/>
                  <a:pt x="392" y="190"/>
                  <a:pt x="390" y="190"/>
                </a:cubicBezTo>
                <a:cubicBezTo>
                  <a:pt x="388" y="191"/>
                  <a:pt x="387" y="192"/>
                  <a:pt x="385" y="193"/>
                </a:cubicBezTo>
                <a:cubicBezTo>
                  <a:pt x="384" y="194"/>
                  <a:pt x="383" y="194"/>
                  <a:pt x="382" y="193"/>
                </a:cubicBezTo>
                <a:cubicBezTo>
                  <a:pt x="381" y="192"/>
                  <a:pt x="381" y="192"/>
                  <a:pt x="381" y="192"/>
                </a:cubicBezTo>
                <a:cubicBezTo>
                  <a:pt x="381" y="192"/>
                  <a:pt x="381" y="192"/>
                  <a:pt x="381" y="192"/>
                </a:cubicBezTo>
                <a:cubicBezTo>
                  <a:pt x="380" y="192"/>
                  <a:pt x="380" y="192"/>
                  <a:pt x="380" y="192"/>
                </a:cubicBezTo>
                <a:cubicBezTo>
                  <a:pt x="379" y="192"/>
                  <a:pt x="379" y="193"/>
                  <a:pt x="378" y="193"/>
                </a:cubicBezTo>
                <a:cubicBezTo>
                  <a:pt x="378" y="193"/>
                  <a:pt x="378" y="193"/>
                  <a:pt x="378" y="193"/>
                </a:cubicBezTo>
                <a:cubicBezTo>
                  <a:pt x="377" y="192"/>
                  <a:pt x="377" y="192"/>
                  <a:pt x="378" y="192"/>
                </a:cubicBezTo>
                <a:cubicBezTo>
                  <a:pt x="379" y="192"/>
                  <a:pt x="379" y="192"/>
                  <a:pt x="380" y="192"/>
                </a:cubicBezTo>
                <a:cubicBezTo>
                  <a:pt x="380" y="192"/>
                  <a:pt x="380" y="192"/>
                  <a:pt x="380" y="192"/>
                </a:cubicBezTo>
                <a:cubicBezTo>
                  <a:pt x="380" y="192"/>
                  <a:pt x="381" y="192"/>
                  <a:pt x="381" y="192"/>
                </a:cubicBezTo>
                <a:cubicBezTo>
                  <a:pt x="381" y="191"/>
                  <a:pt x="381" y="190"/>
                  <a:pt x="381" y="189"/>
                </a:cubicBezTo>
                <a:cubicBezTo>
                  <a:pt x="382" y="188"/>
                  <a:pt x="381" y="187"/>
                  <a:pt x="380" y="187"/>
                </a:cubicBezTo>
                <a:cubicBezTo>
                  <a:pt x="378" y="187"/>
                  <a:pt x="376" y="186"/>
                  <a:pt x="374" y="187"/>
                </a:cubicBezTo>
                <a:cubicBezTo>
                  <a:pt x="370" y="189"/>
                  <a:pt x="366" y="190"/>
                  <a:pt x="361" y="190"/>
                </a:cubicBezTo>
                <a:cubicBezTo>
                  <a:pt x="360" y="190"/>
                  <a:pt x="358" y="191"/>
                  <a:pt x="357" y="192"/>
                </a:cubicBezTo>
                <a:cubicBezTo>
                  <a:pt x="354" y="194"/>
                  <a:pt x="352" y="193"/>
                  <a:pt x="349" y="193"/>
                </a:cubicBezTo>
                <a:cubicBezTo>
                  <a:pt x="349" y="193"/>
                  <a:pt x="349" y="193"/>
                  <a:pt x="349" y="193"/>
                </a:cubicBezTo>
                <a:cubicBezTo>
                  <a:pt x="349" y="194"/>
                  <a:pt x="349" y="194"/>
                  <a:pt x="349" y="194"/>
                </a:cubicBezTo>
                <a:cubicBezTo>
                  <a:pt x="349" y="193"/>
                  <a:pt x="349" y="193"/>
                  <a:pt x="349" y="193"/>
                </a:cubicBezTo>
                <a:cubicBezTo>
                  <a:pt x="349" y="193"/>
                  <a:pt x="349" y="193"/>
                  <a:pt x="349" y="193"/>
                </a:cubicBezTo>
                <a:cubicBezTo>
                  <a:pt x="349" y="193"/>
                  <a:pt x="349" y="193"/>
                  <a:pt x="349" y="193"/>
                </a:cubicBezTo>
                <a:cubicBezTo>
                  <a:pt x="350" y="192"/>
                  <a:pt x="350" y="191"/>
                  <a:pt x="350" y="190"/>
                </a:cubicBezTo>
                <a:cubicBezTo>
                  <a:pt x="349" y="189"/>
                  <a:pt x="348" y="188"/>
                  <a:pt x="347" y="189"/>
                </a:cubicBezTo>
                <a:cubicBezTo>
                  <a:pt x="346" y="190"/>
                  <a:pt x="345" y="190"/>
                  <a:pt x="343" y="191"/>
                </a:cubicBezTo>
                <a:cubicBezTo>
                  <a:pt x="342" y="191"/>
                  <a:pt x="340" y="191"/>
                  <a:pt x="338" y="192"/>
                </a:cubicBezTo>
                <a:cubicBezTo>
                  <a:pt x="335" y="193"/>
                  <a:pt x="334" y="194"/>
                  <a:pt x="333" y="197"/>
                </a:cubicBezTo>
                <a:cubicBezTo>
                  <a:pt x="333" y="198"/>
                  <a:pt x="332" y="198"/>
                  <a:pt x="332" y="198"/>
                </a:cubicBezTo>
                <a:cubicBezTo>
                  <a:pt x="330" y="197"/>
                  <a:pt x="329" y="196"/>
                  <a:pt x="328" y="196"/>
                </a:cubicBezTo>
                <a:cubicBezTo>
                  <a:pt x="326" y="194"/>
                  <a:pt x="325" y="193"/>
                  <a:pt x="324" y="191"/>
                </a:cubicBezTo>
                <a:cubicBezTo>
                  <a:pt x="324" y="189"/>
                  <a:pt x="323" y="187"/>
                  <a:pt x="323" y="185"/>
                </a:cubicBezTo>
                <a:cubicBezTo>
                  <a:pt x="322" y="184"/>
                  <a:pt x="321" y="182"/>
                  <a:pt x="321" y="181"/>
                </a:cubicBezTo>
                <a:cubicBezTo>
                  <a:pt x="319" y="179"/>
                  <a:pt x="316" y="178"/>
                  <a:pt x="314" y="176"/>
                </a:cubicBezTo>
                <a:cubicBezTo>
                  <a:pt x="310" y="174"/>
                  <a:pt x="307" y="171"/>
                  <a:pt x="305" y="167"/>
                </a:cubicBezTo>
                <a:cubicBezTo>
                  <a:pt x="305" y="166"/>
                  <a:pt x="305" y="166"/>
                  <a:pt x="304" y="165"/>
                </a:cubicBezTo>
                <a:cubicBezTo>
                  <a:pt x="303" y="164"/>
                  <a:pt x="303" y="164"/>
                  <a:pt x="301" y="164"/>
                </a:cubicBezTo>
                <a:cubicBezTo>
                  <a:pt x="300" y="163"/>
                  <a:pt x="299" y="163"/>
                  <a:pt x="298" y="163"/>
                </a:cubicBezTo>
                <a:cubicBezTo>
                  <a:pt x="295" y="163"/>
                  <a:pt x="293" y="162"/>
                  <a:pt x="291" y="161"/>
                </a:cubicBezTo>
                <a:cubicBezTo>
                  <a:pt x="289" y="159"/>
                  <a:pt x="286" y="156"/>
                  <a:pt x="283" y="155"/>
                </a:cubicBezTo>
                <a:cubicBezTo>
                  <a:pt x="281" y="155"/>
                  <a:pt x="280" y="153"/>
                  <a:pt x="279" y="152"/>
                </a:cubicBezTo>
                <a:cubicBezTo>
                  <a:pt x="277" y="151"/>
                  <a:pt x="276" y="149"/>
                  <a:pt x="275" y="147"/>
                </a:cubicBezTo>
                <a:cubicBezTo>
                  <a:pt x="274" y="145"/>
                  <a:pt x="272" y="144"/>
                  <a:pt x="270" y="145"/>
                </a:cubicBezTo>
                <a:cubicBezTo>
                  <a:pt x="269" y="145"/>
                  <a:pt x="267" y="145"/>
                  <a:pt x="266" y="146"/>
                </a:cubicBezTo>
                <a:cubicBezTo>
                  <a:pt x="265" y="146"/>
                  <a:pt x="264" y="145"/>
                  <a:pt x="264" y="145"/>
                </a:cubicBezTo>
                <a:cubicBezTo>
                  <a:pt x="262" y="142"/>
                  <a:pt x="262" y="140"/>
                  <a:pt x="261" y="137"/>
                </a:cubicBezTo>
                <a:cubicBezTo>
                  <a:pt x="261" y="137"/>
                  <a:pt x="261" y="136"/>
                  <a:pt x="262" y="136"/>
                </a:cubicBezTo>
                <a:cubicBezTo>
                  <a:pt x="262" y="135"/>
                  <a:pt x="262" y="134"/>
                  <a:pt x="262" y="133"/>
                </a:cubicBezTo>
                <a:cubicBezTo>
                  <a:pt x="262" y="133"/>
                  <a:pt x="261" y="132"/>
                  <a:pt x="260" y="132"/>
                </a:cubicBezTo>
                <a:cubicBezTo>
                  <a:pt x="259" y="131"/>
                  <a:pt x="258" y="130"/>
                  <a:pt x="256" y="130"/>
                </a:cubicBezTo>
                <a:cubicBezTo>
                  <a:pt x="256" y="130"/>
                  <a:pt x="255" y="130"/>
                  <a:pt x="254" y="130"/>
                </a:cubicBezTo>
                <a:cubicBezTo>
                  <a:pt x="253" y="129"/>
                  <a:pt x="252" y="129"/>
                  <a:pt x="252" y="127"/>
                </a:cubicBezTo>
                <a:cubicBezTo>
                  <a:pt x="253" y="126"/>
                  <a:pt x="253" y="124"/>
                  <a:pt x="251" y="124"/>
                </a:cubicBezTo>
                <a:cubicBezTo>
                  <a:pt x="251" y="124"/>
                  <a:pt x="251" y="124"/>
                  <a:pt x="251" y="124"/>
                </a:cubicBezTo>
                <a:cubicBezTo>
                  <a:pt x="251" y="124"/>
                  <a:pt x="251" y="124"/>
                  <a:pt x="251" y="124"/>
                </a:cubicBezTo>
                <a:cubicBezTo>
                  <a:pt x="250" y="124"/>
                  <a:pt x="249" y="124"/>
                  <a:pt x="248" y="125"/>
                </a:cubicBezTo>
                <a:cubicBezTo>
                  <a:pt x="248" y="125"/>
                  <a:pt x="247" y="125"/>
                  <a:pt x="247" y="125"/>
                </a:cubicBezTo>
                <a:cubicBezTo>
                  <a:pt x="247" y="125"/>
                  <a:pt x="247" y="125"/>
                  <a:pt x="247" y="125"/>
                </a:cubicBezTo>
                <a:cubicBezTo>
                  <a:pt x="247" y="126"/>
                  <a:pt x="247" y="126"/>
                  <a:pt x="247" y="127"/>
                </a:cubicBezTo>
                <a:cubicBezTo>
                  <a:pt x="246" y="128"/>
                  <a:pt x="245" y="128"/>
                  <a:pt x="244" y="127"/>
                </a:cubicBezTo>
                <a:cubicBezTo>
                  <a:pt x="243" y="127"/>
                  <a:pt x="243" y="127"/>
                  <a:pt x="243" y="126"/>
                </a:cubicBezTo>
                <a:cubicBezTo>
                  <a:pt x="243" y="126"/>
                  <a:pt x="243" y="126"/>
                  <a:pt x="244" y="126"/>
                </a:cubicBezTo>
                <a:cubicBezTo>
                  <a:pt x="245" y="125"/>
                  <a:pt x="246" y="125"/>
                  <a:pt x="247" y="125"/>
                </a:cubicBezTo>
                <a:cubicBezTo>
                  <a:pt x="247" y="125"/>
                  <a:pt x="247" y="125"/>
                  <a:pt x="247" y="125"/>
                </a:cubicBezTo>
                <a:cubicBezTo>
                  <a:pt x="247" y="125"/>
                  <a:pt x="248" y="125"/>
                  <a:pt x="248" y="125"/>
                </a:cubicBezTo>
                <a:cubicBezTo>
                  <a:pt x="249" y="124"/>
                  <a:pt x="250" y="124"/>
                  <a:pt x="251" y="124"/>
                </a:cubicBezTo>
                <a:cubicBezTo>
                  <a:pt x="251" y="124"/>
                  <a:pt x="251" y="124"/>
                  <a:pt x="251" y="124"/>
                </a:cubicBezTo>
                <a:cubicBezTo>
                  <a:pt x="251" y="124"/>
                  <a:pt x="251" y="124"/>
                  <a:pt x="251" y="124"/>
                </a:cubicBezTo>
                <a:cubicBezTo>
                  <a:pt x="250" y="121"/>
                  <a:pt x="249" y="119"/>
                  <a:pt x="248" y="118"/>
                </a:cubicBezTo>
                <a:cubicBezTo>
                  <a:pt x="247" y="117"/>
                  <a:pt x="246" y="117"/>
                  <a:pt x="245" y="117"/>
                </a:cubicBezTo>
                <a:cubicBezTo>
                  <a:pt x="243" y="118"/>
                  <a:pt x="241" y="118"/>
                  <a:pt x="239" y="120"/>
                </a:cubicBezTo>
                <a:cubicBezTo>
                  <a:pt x="236" y="122"/>
                  <a:pt x="234" y="122"/>
                  <a:pt x="231" y="121"/>
                </a:cubicBezTo>
                <a:cubicBezTo>
                  <a:pt x="229" y="120"/>
                  <a:pt x="227" y="120"/>
                  <a:pt x="226" y="119"/>
                </a:cubicBezTo>
                <a:cubicBezTo>
                  <a:pt x="223" y="119"/>
                  <a:pt x="221" y="120"/>
                  <a:pt x="219" y="122"/>
                </a:cubicBezTo>
                <a:cubicBezTo>
                  <a:pt x="218" y="122"/>
                  <a:pt x="218" y="123"/>
                  <a:pt x="217" y="124"/>
                </a:cubicBezTo>
                <a:cubicBezTo>
                  <a:pt x="217" y="125"/>
                  <a:pt x="216" y="125"/>
                  <a:pt x="215" y="126"/>
                </a:cubicBezTo>
                <a:cubicBezTo>
                  <a:pt x="213" y="126"/>
                  <a:pt x="211" y="127"/>
                  <a:pt x="208" y="126"/>
                </a:cubicBezTo>
                <a:cubicBezTo>
                  <a:pt x="205" y="125"/>
                  <a:pt x="202" y="126"/>
                  <a:pt x="199" y="128"/>
                </a:cubicBezTo>
                <a:cubicBezTo>
                  <a:pt x="194" y="131"/>
                  <a:pt x="189" y="134"/>
                  <a:pt x="184" y="139"/>
                </a:cubicBezTo>
                <a:cubicBezTo>
                  <a:pt x="184" y="139"/>
                  <a:pt x="183" y="140"/>
                  <a:pt x="182" y="140"/>
                </a:cubicBezTo>
                <a:cubicBezTo>
                  <a:pt x="177" y="143"/>
                  <a:pt x="171" y="146"/>
                  <a:pt x="164" y="143"/>
                </a:cubicBezTo>
                <a:cubicBezTo>
                  <a:pt x="164" y="143"/>
                  <a:pt x="164" y="142"/>
                  <a:pt x="163" y="142"/>
                </a:cubicBezTo>
                <a:cubicBezTo>
                  <a:pt x="161" y="141"/>
                  <a:pt x="159" y="142"/>
                  <a:pt x="157" y="144"/>
                </a:cubicBezTo>
                <a:cubicBezTo>
                  <a:pt x="156" y="146"/>
                  <a:pt x="155" y="147"/>
                  <a:pt x="153" y="149"/>
                </a:cubicBezTo>
                <a:cubicBezTo>
                  <a:pt x="151" y="151"/>
                  <a:pt x="150" y="153"/>
                  <a:pt x="152" y="156"/>
                </a:cubicBezTo>
                <a:cubicBezTo>
                  <a:pt x="152" y="158"/>
                  <a:pt x="153" y="160"/>
                  <a:pt x="153" y="162"/>
                </a:cubicBezTo>
                <a:cubicBezTo>
                  <a:pt x="155" y="167"/>
                  <a:pt x="156" y="172"/>
                  <a:pt x="153" y="178"/>
                </a:cubicBezTo>
                <a:cubicBezTo>
                  <a:pt x="152" y="179"/>
                  <a:pt x="153" y="181"/>
                  <a:pt x="154" y="181"/>
                </a:cubicBezTo>
                <a:cubicBezTo>
                  <a:pt x="156" y="182"/>
                  <a:pt x="157" y="183"/>
                  <a:pt x="159" y="184"/>
                </a:cubicBezTo>
                <a:cubicBezTo>
                  <a:pt x="159" y="184"/>
                  <a:pt x="159" y="185"/>
                  <a:pt x="159" y="185"/>
                </a:cubicBezTo>
                <a:cubicBezTo>
                  <a:pt x="159" y="186"/>
                  <a:pt x="159" y="186"/>
                  <a:pt x="158" y="186"/>
                </a:cubicBezTo>
                <a:cubicBezTo>
                  <a:pt x="157" y="186"/>
                  <a:pt x="156" y="186"/>
                  <a:pt x="156" y="187"/>
                </a:cubicBezTo>
                <a:cubicBezTo>
                  <a:pt x="156" y="189"/>
                  <a:pt x="156" y="192"/>
                  <a:pt x="156" y="194"/>
                </a:cubicBezTo>
                <a:cubicBezTo>
                  <a:pt x="156" y="194"/>
                  <a:pt x="157" y="195"/>
                  <a:pt x="157" y="195"/>
                </a:cubicBezTo>
                <a:cubicBezTo>
                  <a:pt x="158" y="195"/>
                  <a:pt x="159" y="195"/>
                  <a:pt x="159" y="195"/>
                </a:cubicBezTo>
                <a:cubicBezTo>
                  <a:pt x="159" y="195"/>
                  <a:pt x="159" y="195"/>
                  <a:pt x="159" y="195"/>
                </a:cubicBezTo>
                <a:cubicBezTo>
                  <a:pt x="159" y="195"/>
                  <a:pt x="160" y="195"/>
                  <a:pt x="160" y="195"/>
                </a:cubicBezTo>
                <a:cubicBezTo>
                  <a:pt x="160" y="195"/>
                  <a:pt x="160" y="194"/>
                  <a:pt x="160" y="194"/>
                </a:cubicBezTo>
                <a:cubicBezTo>
                  <a:pt x="160" y="194"/>
                  <a:pt x="160" y="194"/>
                  <a:pt x="160" y="194"/>
                </a:cubicBezTo>
                <a:cubicBezTo>
                  <a:pt x="159" y="193"/>
                  <a:pt x="159" y="193"/>
                  <a:pt x="159" y="193"/>
                </a:cubicBezTo>
                <a:cubicBezTo>
                  <a:pt x="160" y="193"/>
                  <a:pt x="160" y="193"/>
                  <a:pt x="160" y="193"/>
                </a:cubicBezTo>
                <a:cubicBezTo>
                  <a:pt x="160" y="194"/>
                  <a:pt x="160" y="194"/>
                  <a:pt x="160" y="194"/>
                </a:cubicBezTo>
                <a:cubicBezTo>
                  <a:pt x="162" y="193"/>
                  <a:pt x="165" y="193"/>
                  <a:pt x="167" y="194"/>
                </a:cubicBezTo>
                <a:cubicBezTo>
                  <a:pt x="168" y="195"/>
                  <a:pt x="168" y="196"/>
                  <a:pt x="168" y="196"/>
                </a:cubicBezTo>
                <a:cubicBezTo>
                  <a:pt x="167" y="197"/>
                  <a:pt x="167" y="197"/>
                  <a:pt x="167" y="197"/>
                </a:cubicBezTo>
                <a:cubicBezTo>
                  <a:pt x="164" y="197"/>
                  <a:pt x="162" y="196"/>
                  <a:pt x="160" y="195"/>
                </a:cubicBezTo>
                <a:cubicBezTo>
                  <a:pt x="160" y="195"/>
                  <a:pt x="160" y="195"/>
                  <a:pt x="160" y="195"/>
                </a:cubicBezTo>
                <a:cubicBezTo>
                  <a:pt x="159" y="195"/>
                  <a:pt x="159" y="195"/>
                  <a:pt x="159" y="195"/>
                </a:cubicBezTo>
                <a:cubicBezTo>
                  <a:pt x="159" y="196"/>
                  <a:pt x="159" y="198"/>
                  <a:pt x="158" y="198"/>
                </a:cubicBezTo>
                <a:cubicBezTo>
                  <a:pt x="156" y="198"/>
                  <a:pt x="154" y="198"/>
                  <a:pt x="153" y="200"/>
                </a:cubicBezTo>
                <a:cubicBezTo>
                  <a:pt x="151" y="201"/>
                  <a:pt x="150" y="201"/>
                  <a:pt x="148" y="200"/>
                </a:cubicBezTo>
                <a:cubicBezTo>
                  <a:pt x="146" y="199"/>
                  <a:pt x="144" y="198"/>
                  <a:pt x="143" y="197"/>
                </a:cubicBezTo>
                <a:cubicBezTo>
                  <a:pt x="141" y="196"/>
                  <a:pt x="141" y="195"/>
                  <a:pt x="142" y="194"/>
                </a:cubicBezTo>
                <a:cubicBezTo>
                  <a:pt x="142" y="193"/>
                  <a:pt x="143" y="192"/>
                  <a:pt x="144" y="191"/>
                </a:cubicBezTo>
                <a:cubicBezTo>
                  <a:pt x="145" y="189"/>
                  <a:pt x="143" y="187"/>
                  <a:pt x="141" y="187"/>
                </a:cubicBezTo>
                <a:cubicBezTo>
                  <a:pt x="139" y="187"/>
                  <a:pt x="136" y="187"/>
                  <a:pt x="134" y="187"/>
                </a:cubicBezTo>
                <a:cubicBezTo>
                  <a:pt x="133" y="187"/>
                  <a:pt x="131" y="188"/>
                  <a:pt x="130" y="189"/>
                </a:cubicBezTo>
                <a:cubicBezTo>
                  <a:pt x="129" y="190"/>
                  <a:pt x="128" y="190"/>
                  <a:pt x="126" y="190"/>
                </a:cubicBezTo>
                <a:cubicBezTo>
                  <a:pt x="124" y="190"/>
                  <a:pt x="123" y="191"/>
                  <a:pt x="122" y="191"/>
                </a:cubicBezTo>
                <a:cubicBezTo>
                  <a:pt x="117" y="191"/>
                  <a:pt x="114" y="194"/>
                  <a:pt x="110" y="196"/>
                </a:cubicBezTo>
                <a:cubicBezTo>
                  <a:pt x="109" y="196"/>
                  <a:pt x="109" y="198"/>
                  <a:pt x="109" y="199"/>
                </a:cubicBezTo>
                <a:cubicBezTo>
                  <a:pt x="111" y="201"/>
                  <a:pt x="112" y="203"/>
                  <a:pt x="113" y="205"/>
                </a:cubicBezTo>
                <a:cubicBezTo>
                  <a:pt x="114" y="206"/>
                  <a:pt x="114" y="206"/>
                  <a:pt x="112" y="207"/>
                </a:cubicBezTo>
                <a:cubicBezTo>
                  <a:pt x="112" y="207"/>
                  <a:pt x="111" y="207"/>
                  <a:pt x="111" y="207"/>
                </a:cubicBezTo>
                <a:cubicBezTo>
                  <a:pt x="110" y="210"/>
                  <a:pt x="109" y="213"/>
                  <a:pt x="108" y="216"/>
                </a:cubicBezTo>
                <a:cubicBezTo>
                  <a:pt x="108" y="217"/>
                  <a:pt x="108" y="218"/>
                  <a:pt x="108" y="219"/>
                </a:cubicBezTo>
                <a:cubicBezTo>
                  <a:pt x="110" y="222"/>
                  <a:pt x="113" y="224"/>
                  <a:pt x="117" y="224"/>
                </a:cubicBezTo>
                <a:cubicBezTo>
                  <a:pt x="120" y="223"/>
                  <a:pt x="123" y="223"/>
                  <a:pt x="126" y="226"/>
                </a:cubicBezTo>
                <a:cubicBezTo>
                  <a:pt x="127" y="227"/>
                  <a:pt x="129" y="227"/>
                  <a:pt x="131" y="226"/>
                </a:cubicBezTo>
                <a:cubicBezTo>
                  <a:pt x="134" y="225"/>
                  <a:pt x="137" y="223"/>
                  <a:pt x="140" y="222"/>
                </a:cubicBezTo>
                <a:cubicBezTo>
                  <a:pt x="140" y="222"/>
                  <a:pt x="141" y="222"/>
                  <a:pt x="142" y="223"/>
                </a:cubicBezTo>
                <a:cubicBezTo>
                  <a:pt x="142" y="223"/>
                  <a:pt x="143" y="223"/>
                  <a:pt x="143" y="223"/>
                </a:cubicBezTo>
                <a:cubicBezTo>
                  <a:pt x="143" y="223"/>
                  <a:pt x="143" y="224"/>
                  <a:pt x="143" y="224"/>
                </a:cubicBezTo>
                <a:cubicBezTo>
                  <a:pt x="142" y="224"/>
                  <a:pt x="142" y="225"/>
                  <a:pt x="141" y="225"/>
                </a:cubicBezTo>
                <a:cubicBezTo>
                  <a:pt x="140" y="225"/>
                  <a:pt x="138" y="226"/>
                  <a:pt x="139" y="228"/>
                </a:cubicBezTo>
                <a:cubicBezTo>
                  <a:pt x="139" y="229"/>
                  <a:pt x="139" y="230"/>
                  <a:pt x="139" y="230"/>
                </a:cubicBezTo>
                <a:cubicBezTo>
                  <a:pt x="138" y="233"/>
                  <a:pt x="137" y="235"/>
                  <a:pt x="136" y="238"/>
                </a:cubicBezTo>
                <a:cubicBezTo>
                  <a:pt x="136" y="240"/>
                  <a:pt x="131" y="243"/>
                  <a:pt x="128" y="243"/>
                </a:cubicBezTo>
                <a:cubicBezTo>
                  <a:pt x="128" y="243"/>
                  <a:pt x="127" y="243"/>
                  <a:pt x="127" y="243"/>
                </a:cubicBezTo>
                <a:cubicBezTo>
                  <a:pt x="126" y="242"/>
                  <a:pt x="125" y="242"/>
                  <a:pt x="124" y="241"/>
                </a:cubicBezTo>
                <a:cubicBezTo>
                  <a:pt x="123" y="240"/>
                  <a:pt x="123" y="239"/>
                  <a:pt x="122" y="239"/>
                </a:cubicBezTo>
                <a:cubicBezTo>
                  <a:pt x="121" y="239"/>
                  <a:pt x="121" y="240"/>
                  <a:pt x="121" y="241"/>
                </a:cubicBezTo>
                <a:cubicBezTo>
                  <a:pt x="120" y="244"/>
                  <a:pt x="117" y="246"/>
                  <a:pt x="114" y="247"/>
                </a:cubicBezTo>
                <a:cubicBezTo>
                  <a:pt x="113" y="247"/>
                  <a:pt x="113" y="246"/>
                  <a:pt x="112" y="246"/>
                </a:cubicBezTo>
                <a:cubicBezTo>
                  <a:pt x="112" y="246"/>
                  <a:pt x="112" y="245"/>
                  <a:pt x="111" y="245"/>
                </a:cubicBezTo>
                <a:cubicBezTo>
                  <a:pt x="110" y="242"/>
                  <a:pt x="108" y="242"/>
                  <a:pt x="106" y="243"/>
                </a:cubicBezTo>
                <a:cubicBezTo>
                  <a:pt x="103" y="245"/>
                  <a:pt x="99" y="247"/>
                  <a:pt x="98" y="251"/>
                </a:cubicBezTo>
                <a:cubicBezTo>
                  <a:pt x="98" y="251"/>
                  <a:pt x="98" y="252"/>
                  <a:pt x="97" y="252"/>
                </a:cubicBezTo>
                <a:cubicBezTo>
                  <a:pt x="92" y="255"/>
                  <a:pt x="89" y="260"/>
                  <a:pt x="84" y="263"/>
                </a:cubicBezTo>
                <a:cubicBezTo>
                  <a:pt x="81" y="265"/>
                  <a:pt x="80" y="269"/>
                  <a:pt x="81" y="272"/>
                </a:cubicBezTo>
                <a:cubicBezTo>
                  <a:pt x="81" y="274"/>
                  <a:pt x="81" y="275"/>
                  <a:pt x="82" y="277"/>
                </a:cubicBezTo>
                <a:cubicBezTo>
                  <a:pt x="82" y="278"/>
                  <a:pt x="82" y="279"/>
                  <a:pt x="81" y="281"/>
                </a:cubicBezTo>
                <a:cubicBezTo>
                  <a:pt x="78" y="283"/>
                  <a:pt x="78" y="286"/>
                  <a:pt x="79" y="289"/>
                </a:cubicBezTo>
                <a:cubicBezTo>
                  <a:pt x="80" y="291"/>
                  <a:pt x="80" y="293"/>
                  <a:pt x="81" y="295"/>
                </a:cubicBezTo>
                <a:cubicBezTo>
                  <a:pt x="81" y="297"/>
                  <a:pt x="82" y="297"/>
                  <a:pt x="83" y="298"/>
                </a:cubicBezTo>
                <a:cubicBezTo>
                  <a:pt x="84" y="298"/>
                  <a:pt x="85" y="298"/>
                  <a:pt x="87" y="298"/>
                </a:cubicBezTo>
                <a:cubicBezTo>
                  <a:pt x="89" y="298"/>
                  <a:pt x="91" y="297"/>
                  <a:pt x="93" y="297"/>
                </a:cubicBezTo>
                <a:cubicBezTo>
                  <a:pt x="93" y="297"/>
                  <a:pt x="93" y="297"/>
                  <a:pt x="93" y="297"/>
                </a:cubicBezTo>
                <a:cubicBezTo>
                  <a:pt x="93" y="297"/>
                  <a:pt x="93" y="297"/>
                  <a:pt x="93" y="297"/>
                </a:cubicBezTo>
                <a:cubicBezTo>
                  <a:pt x="93" y="296"/>
                  <a:pt x="94" y="295"/>
                  <a:pt x="94" y="295"/>
                </a:cubicBezTo>
                <a:cubicBezTo>
                  <a:pt x="94" y="295"/>
                  <a:pt x="94" y="294"/>
                  <a:pt x="94" y="294"/>
                </a:cubicBezTo>
                <a:cubicBezTo>
                  <a:pt x="94" y="294"/>
                  <a:pt x="94" y="294"/>
                  <a:pt x="94" y="295"/>
                </a:cubicBezTo>
                <a:cubicBezTo>
                  <a:pt x="94" y="295"/>
                  <a:pt x="94" y="296"/>
                  <a:pt x="93" y="297"/>
                </a:cubicBezTo>
                <a:cubicBezTo>
                  <a:pt x="93" y="297"/>
                  <a:pt x="93" y="297"/>
                  <a:pt x="93" y="297"/>
                </a:cubicBezTo>
                <a:cubicBezTo>
                  <a:pt x="93" y="297"/>
                  <a:pt x="93" y="297"/>
                  <a:pt x="93" y="297"/>
                </a:cubicBezTo>
                <a:cubicBezTo>
                  <a:pt x="93" y="299"/>
                  <a:pt x="93" y="300"/>
                  <a:pt x="93" y="301"/>
                </a:cubicBezTo>
                <a:cubicBezTo>
                  <a:pt x="93" y="304"/>
                  <a:pt x="91" y="305"/>
                  <a:pt x="90" y="307"/>
                </a:cubicBezTo>
                <a:cubicBezTo>
                  <a:pt x="89" y="308"/>
                  <a:pt x="89" y="309"/>
                  <a:pt x="89" y="311"/>
                </a:cubicBezTo>
                <a:cubicBezTo>
                  <a:pt x="90" y="312"/>
                  <a:pt x="90" y="313"/>
                  <a:pt x="89" y="314"/>
                </a:cubicBezTo>
                <a:cubicBezTo>
                  <a:pt x="89" y="315"/>
                  <a:pt x="88" y="315"/>
                  <a:pt x="88" y="316"/>
                </a:cubicBezTo>
                <a:cubicBezTo>
                  <a:pt x="87" y="317"/>
                  <a:pt x="87" y="318"/>
                  <a:pt x="88" y="318"/>
                </a:cubicBezTo>
                <a:cubicBezTo>
                  <a:pt x="91" y="319"/>
                  <a:pt x="93" y="320"/>
                  <a:pt x="95" y="316"/>
                </a:cubicBezTo>
                <a:cubicBezTo>
                  <a:pt x="95" y="316"/>
                  <a:pt x="96" y="316"/>
                  <a:pt x="96" y="316"/>
                </a:cubicBezTo>
                <a:cubicBezTo>
                  <a:pt x="98" y="318"/>
                  <a:pt x="101" y="320"/>
                  <a:pt x="102" y="323"/>
                </a:cubicBezTo>
                <a:cubicBezTo>
                  <a:pt x="102" y="324"/>
                  <a:pt x="103" y="324"/>
                  <a:pt x="104" y="323"/>
                </a:cubicBezTo>
                <a:cubicBezTo>
                  <a:pt x="104" y="323"/>
                  <a:pt x="104" y="323"/>
                  <a:pt x="104" y="323"/>
                </a:cubicBezTo>
                <a:cubicBezTo>
                  <a:pt x="106" y="321"/>
                  <a:pt x="106" y="321"/>
                  <a:pt x="108" y="322"/>
                </a:cubicBezTo>
                <a:cubicBezTo>
                  <a:pt x="109" y="322"/>
                  <a:pt x="110" y="323"/>
                  <a:pt x="111" y="322"/>
                </a:cubicBezTo>
                <a:cubicBezTo>
                  <a:pt x="112" y="322"/>
                  <a:pt x="112" y="322"/>
                  <a:pt x="113" y="322"/>
                </a:cubicBezTo>
                <a:cubicBezTo>
                  <a:pt x="114" y="322"/>
                  <a:pt x="114" y="322"/>
                  <a:pt x="114" y="322"/>
                </a:cubicBezTo>
                <a:cubicBezTo>
                  <a:pt x="115" y="323"/>
                  <a:pt x="115" y="323"/>
                  <a:pt x="114" y="324"/>
                </a:cubicBezTo>
                <a:cubicBezTo>
                  <a:pt x="112" y="325"/>
                  <a:pt x="110" y="328"/>
                  <a:pt x="109" y="330"/>
                </a:cubicBezTo>
                <a:cubicBezTo>
                  <a:pt x="106" y="336"/>
                  <a:pt x="102" y="342"/>
                  <a:pt x="95" y="345"/>
                </a:cubicBezTo>
                <a:cubicBezTo>
                  <a:pt x="93" y="346"/>
                  <a:pt x="92" y="347"/>
                  <a:pt x="89" y="348"/>
                </a:cubicBezTo>
                <a:cubicBezTo>
                  <a:pt x="86" y="350"/>
                  <a:pt x="83" y="352"/>
                  <a:pt x="79" y="354"/>
                </a:cubicBezTo>
                <a:cubicBezTo>
                  <a:pt x="77" y="355"/>
                  <a:pt x="75" y="356"/>
                  <a:pt x="74" y="358"/>
                </a:cubicBezTo>
                <a:cubicBezTo>
                  <a:pt x="73" y="359"/>
                  <a:pt x="72" y="359"/>
                  <a:pt x="71" y="359"/>
                </a:cubicBezTo>
                <a:cubicBezTo>
                  <a:pt x="68" y="358"/>
                  <a:pt x="66" y="359"/>
                  <a:pt x="64" y="360"/>
                </a:cubicBezTo>
                <a:cubicBezTo>
                  <a:pt x="62" y="361"/>
                  <a:pt x="60" y="363"/>
                  <a:pt x="58" y="364"/>
                </a:cubicBezTo>
                <a:cubicBezTo>
                  <a:pt x="55" y="367"/>
                  <a:pt x="52" y="368"/>
                  <a:pt x="48" y="369"/>
                </a:cubicBezTo>
                <a:cubicBezTo>
                  <a:pt x="46" y="369"/>
                  <a:pt x="45" y="369"/>
                  <a:pt x="43" y="369"/>
                </a:cubicBezTo>
                <a:cubicBezTo>
                  <a:pt x="40" y="369"/>
                  <a:pt x="39" y="371"/>
                  <a:pt x="37" y="373"/>
                </a:cubicBezTo>
                <a:cubicBezTo>
                  <a:pt x="37" y="374"/>
                  <a:pt x="37" y="375"/>
                  <a:pt x="37" y="375"/>
                </a:cubicBezTo>
                <a:cubicBezTo>
                  <a:pt x="38" y="375"/>
                  <a:pt x="38" y="376"/>
                  <a:pt x="39" y="376"/>
                </a:cubicBezTo>
                <a:cubicBezTo>
                  <a:pt x="40" y="376"/>
                  <a:pt x="40" y="376"/>
                  <a:pt x="41" y="375"/>
                </a:cubicBezTo>
                <a:cubicBezTo>
                  <a:pt x="43" y="375"/>
                  <a:pt x="45" y="375"/>
                  <a:pt x="46" y="375"/>
                </a:cubicBezTo>
                <a:cubicBezTo>
                  <a:pt x="48" y="375"/>
                  <a:pt x="49" y="374"/>
                  <a:pt x="50" y="374"/>
                </a:cubicBezTo>
                <a:cubicBezTo>
                  <a:pt x="52" y="371"/>
                  <a:pt x="54" y="371"/>
                  <a:pt x="57" y="371"/>
                </a:cubicBezTo>
                <a:cubicBezTo>
                  <a:pt x="60" y="371"/>
                  <a:pt x="63" y="369"/>
                  <a:pt x="65" y="365"/>
                </a:cubicBezTo>
                <a:cubicBezTo>
                  <a:pt x="65" y="365"/>
                  <a:pt x="65" y="365"/>
                  <a:pt x="65" y="365"/>
                </a:cubicBezTo>
                <a:cubicBezTo>
                  <a:pt x="65" y="365"/>
                  <a:pt x="65" y="365"/>
                  <a:pt x="65" y="365"/>
                </a:cubicBezTo>
                <a:cubicBezTo>
                  <a:pt x="65" y="365"/>
                  <a:pt x="65" y="365"/>
                  <a:pt x="65" y="365"/>
                </a:cubicBezTo>
                <a:cubicBezTo>
                  <a:pt x="65" y="365"/>
                  <a:pt x="65" y="365"/>
                  <a:pt x="65" y="365"/>
                </a:cubicBezTo>
                <a:cubicBezTo>
                  <a:pt x="66" y="367"/>
                  <a:pt x="66" y="368"/>
                  <a:pt x="67" y="369"/>
                </a:cubicBezTo>
                <a:cubicBezTo>
                  <a:pt x="68" y="370"/>
                  <a:pt x="68" y="370"/>
                  <a:pt x="68" y="368"/>
                </a:cubicBezTo>
                <a:cubicBezTo>
                  <a:pt x="69" y="368"/>
                  <a:pt x="69" y="367"/>
                  <a:pt x="69" y="367"/>
                </a:cubicBezTo>
                <a:cubicBezTo>
                  <a:pt x="72" y="366"/>
                  <a:pt x="74" y="365"/>
                  <a:pt x="77" y="365"/>
                </a:cubicBezTo>
                <a:cubicBezTo>
                  <a:pt x="78" y="365"/>
                  <a:pt x="79" y="366"/>
                  <a:pt x="80" y="365"/>
                </a:cubicBezTo>
                <a:cubicBezTo>
                  <a:pt x="81" y="364"/>
                  <a:pt x="83" y="363"/>
                  <a:pt x="85" y="363"/>
                </a:cubicBezTo>
                <a:cubicBezTo>
                  <a:pt x="87" y="361"/>
                  <a:pt x="90" y="361"/>
                  <a:pt x="91" y="358"/>
                </a:cubicBezTo>
                <a:cubicBezTo>
                  <a:pt x="93" y="357"/>
                  <a:pt x="95" y="355"/>
                  <a:pt x="97" y="354"/>
                </a:cubicBezTo>
                <a:cubicBezTo>
                  <a:pt x="98" y="354"/>
                  <a:pt x="99" y="354"/>
                  <a:pt x="100" y="355"/>
                </a:cubicBezTo>
                <a:cubicBezTo>
                  <a:pt x="100" y="354"/>
                  <a:pt x="101" y="353"/>
                  <a:pt x="101" y="353"/>
                </a:cubicBezTo>
                <a:cubicBezTo>
                  <a:pt x="103" y="352"/>
                  <a:pt x="105" y="351"/>
                  <a:pt x="107" y="350"/>
                </a:cubicBezTo>
                <a:cubicBezTo>
                  <a:pt x="109" y="349"/>
                  <a:pt x="110" y="348"/>
                  <a:pt x="111" y="346"/>
                </a:cubicBezTo>
                <a:cubicBezTo>
                  <a:pt x="111" y="345"/>
                  <a:pt x="112" y="345"/>
                  <a:pt x="113" y="344"/>
                </a:cubicBezTo>
                <a:cubicBezTo>
                  <a:pt x="117" y="342"/>
                  <a:pt x="121" y="339"/>
                  <a:pt x="125" y="338"/>
                </a:cubicBezTo>
                <a:cubicBezTo>
                  <a:pt x="129" y="337"/>
                  <a:pt x="131" y="336"/>
                  <a:pt x="133" y="333"/>
                </a:cubicBezTo>
                <a:cubicBezTo>
                  <a:pt x="134" y="332"/>
                  <a:pt x="135" y="331"/>
                  <a:pt x="136" y="331"/>
                </a:cubicBezTo>
                <a:cubicBezTo>
                  <a:pt x="137" y="330"/>
                  <a:pt x="138" y="329"/>
                  <a:pt x="139" y="329"/>
                </a:cubicBezTo>
                <a:cubicBezTo>
                  <a:pt x="141" y="328"/>
                  <a:pt x="142" y="326"/>
                  <a:pt x="141" y="324"/>
                </a:cubicBezTo>
                <a:cubicBezTo>
                  <a:pt x="140" y="324"/>
                  <a:pt x="140" y="323"/>
                  <a:pt x="140" y="322"/>
                </a:cubicBezTo>
                <a:cubicBezTo>
                  <a:pt x="139" y="321"/>
                  <a:pt x="139" y="320"/>
                  <a:pt x="140" y="319"/>
                </a:cubicBezTo>
                <a:cubicBezTo>
                  <a:pt x="142" y="317"/>
                  <a:pt x="144" y="316"/>
                  <a:pt x="146" y="317"/>
                </a:cubicBezTo>
                <a:cubicBezTo>
                  <a:pt x="148" y="317"/>
                  <a:pt x="149" y="317"/>
                  <a:pt x="150" y="316"/>
                </a:cubicBezTo>
                <a:cubicBezTo>
                  <a:pt x="152" y="314"/>
                  <a:pt x="154" y="313"/>
                  <a:pt x="155" y="311"/>
                </a:cubicBezTo>
                <a:cubicBezTo>
                  <a:pt x="155" y="309"/>
                  <a:pt x="156" y="308"/>
                  <a:pt x="158" y="308"/>
                </a:cubicBezTo>
                <a:cubicBezTo>
                  <a:pt x="159" y="308"/>
                  <a:pt x="160" y="308"/>
                  <a:pt x="161" y="307"/>
                </a:cubicBezTo>
                <a:cubicBezTo>
                  <a:pt x="164" y="301"/>
                  <a:pt x="169" y="300"/>
                  <a:pt x="174" y="297"/>
                </a:cubicBezTo>
                <a:cubicBezTo>
                  <a:pt x="176" y="296"/>
                  <a:pt x="178" y="298"/>
                  <a:pt x="178" y="300"/>
                </a:cubicBezTo>
                <a:cubicBezTo>
                  <a:pt x="178" y="301"/>
                  <a:pt x="178" y="302"/>
                  <a:pt x="178" y="302"/>
                </a:cubicBezTo>
                <a:cubicBezTo>
                  <a:pt x="178" y="303"/>
                  <a:pt x="177" y="303"/>
                  <a:pt x="176" y="303"/>
                </a:cubicBezTo>
                <a:cubicBezTo>
                  <a:pt x="173" y="301"/>
                  <a:pt x="170" y="302"/>
                  <a:pt x="167" y="304"/>
                </a:cubicBezTo>
                <a:cubicBezTo>
                  <a:pt x="166" y="304"/>
                  <a:pt x="165" y="305"/>
                  <a:pt x="165" y="306"/>
                </a:cubicBezTo>
                <a:cubicBezTo>
                  <a:pt x="163" y="310"/>
                  <a:pt x="160" y="313"/>
                  <a:pt x="157" y="316"/>
                </a:cubicBezTo>
                <a:cubicBezTo>
                  <a:pt x="156" y="317"/>
                  <a:pt x="156" y="319"/>
                  <a:pt x="157" y="320"/>
                </a:cubicBezTo>
                <a:cubicBezTo>
                  <a:pt x="158" y="320"/>
                  <a:pt x="158" y="321"/>
                  <a:pt x="157" y="321"/>
                </a:cubicBezTo>
                <a:cubicBezTo>
                  <a:pt x="156" y="322"/>
                  <a:pt x="154" y="323"/>
                  <a:pt x="152" y="324"/>
                </a:cubicBezTo>
                <a:cubicBezTo>
                  <a:pt x="152" y="324"/>
                  <a:pt x="151" y="325"/>
                  <a:pt x="152" y="326"/>
                </a:cubicBezTo>
                <a:cubicBezTo>
                  <a:pt x="152" y="327"/>
                  <a:pt x="153" y="327"/>
                  <a:pt x="154" y="327"/>
                </a:cubicBezTo>
                <a:cubicBezTo>
                  <a:pt x="155" y="327"/>
                  <a:pt x="157" y="327"/>
                  <a:pt x="158" y="326"/>
                </a:cubicBezTo>
                <a:cubicBezTo>
                  <a:pt x="161" y="325"/>
                  <a:pt x="163" y="324"/>
                  <a:pt x="166" y="323"/>
                </a:cubicBezTo>
                <a:cubicBezTo>
                  <a:pt x="167" y="323"/>
                  <a:pt x="168" y="322"/>
                  <a:pt x="169" y="322"/>
                </a:cubicBezTo>
                <a:cubicBezTo>
                  <a:pt x="172" y="321"/>
                  <a:pt x="174" y="319"/>
                  <a:pt x="178" y="320"/>
                </a:cubicBezTo>
                <a:cubicBezTo>
                  <a:pt x="178" y="320"/>
                  <a:pt x="179" y="319"/>
                  <a:pt x="180" y="319"/>
                </a:cubicBezTo>
                <a:cubicBezTo>
                  <a:pt x="181" y="318"/>
                  <a:pt x="182" y="317"/>
                  <a:pt x="183" y="316"/>
                </a:cubicBezTo>
                <a:cubicBezTo>
                  <a:pt x="184" y="315"/>
                  <a:pt x="185" y="315"/>
                  <a:pt x="186" y="316"/>
                </a:cubicBezTo>
                <a:cubicBezTo>
                  <a:pt x="186" y="316"/>
                  <a:pt x="187" y="316"/>
                  <a:pt x="188" y="316"/>
                </a:cubicBezTo>
                <a:cubicBezTo>
                  <a:pt x="188" y="315"/>
                  <a:pt x="189" y="314"/>
                  <a:pt x="187" y="313"/>
                </a:cubicBezTo>
                <a:cubicBezTo>
                  <a:pt x="186" y="312"/>
                  <a:pt x="186" y="311"/>
                  <a:pt x="185" y="310"/>
                </a:cubicBezTo>
                <a:cubicBezTo>
                  <a:pt x="184" y="308"/>
                  <a:pt x="185" y="306"/>
                  <a:pt x="186" y="305"/>
                </a:cubicBezTo>
                <a:cubicBezTo>
                  <a:pt x="187" y="305"/>
                  <a:pt x="188" y="304"/>
                  <a:pt x="189" y="305"/>
                </a:cubicBezTo>
                <a:cubicBezTo>
                  <a:pt x="189" y="307"/>
                  <a:pt x="190" y="308"/>
                  <a:pt x="192" y="308"/>
                </a:cubicBezTo>
                <a:cubicBezTo>
                  <a:pt x="194" y="308"/>
                  <a:pt x="195" y="308"/>
                  <a:pt x="196" y="308"/>
                </a:cubicBezTo>
                <a:cubicBezTo>
                  <a:pt x="196" y="308"/>
                  <a:pt x="196" y="308"/>
                  <a:pt x="196" y="307"/>
                </a:cubicBezTo>
                <a:cubicBezTo>
                  <a:pt x="197" y="307"/>
                  <a:pt x="197" y="307"/>
                  <a:pt x="197" y="307"/>
                </a:cubicBezTo>
                <a:cubicBezTo>
                  <a:pt x="196" y="308"/>
                  <a:pt x="196" y="308"/>
                  <a:pt x="196" y="308"/>
                </a:cubicBezTo>
                <a:cubicBezTo>
                  <a:pt x="196" y="308"/>
                  <a:pt x="196" y="308"/>
                  <a:pt x="196" y="308"/>
                </a:cubicBezTo>
                <a:cubicBezTo>
                  <a:pt x="196" y="308"/>
                  <a:pt x="196" y="309"/>
                  <a:pt x="196" y="310"/>
                </a:cubicBezTo>
                <a:cubicBezTo>
                  <a:pt x="197" y="313"/>
                  <a:pt x="198" y="316"/>
                  <a:pt x="202" y="317"/>
                </a:cubicBezTo>
                <a:cubicBezTo>
                  <a:pt x="204" y="318"/>
                  <a:pt x="205" y="320"/>
                  <a:pt x="206" y="321"/>
                </a:cubicBezTo>
                <a:cubicBezTo>
                  <a:pt x="207" y="322"/>
                  <a:pt x="207" y="323"/>
                  <a:pt x="207" y="324"/>
                </a:cubicBezTo>
                <a:cubicBezTo>
                  <a:pt x="208" y="325"/>
                  <a:pt x="209" y="326"/>
                  <a:pt x="210" y="326"/>
                </a:cubicBezTo>
                <a:cubicBezTo>
                  <a:pt x="211" y="326"/>
                  <a:pt x="212" y="326"/>
                  <a:pt x="213" y="326"/>
                </a:cubicBezTo>
                <a:cubicBezTo>
                  <a:pt x="216" y="326"/>
                  <a:pt x="218" y="327"/>
                  <a:pt x="220" y="329"/>
                </a:cubicBezTo>
                <a:cubicBezTo>
                  <a:pt x="221" y="330"/>
                  <a:pt x="222" y="330"/>
                  <a:pt x="223" y="330"/>
                </a:cubicBezTo>
                <a:cubicBezTo>
                  <a:pt x="223" y="330"/>
                  <a:pt x="223" y="330"/>
                  <a:pt x="223" y="330"/>
                </a:cubicBezTo>
                <a:cubicBezTo>
                  <a:pt x="223" y="330"/>
                  <a:pt x="223" y="330"/>
                  <a:pt x="223" y="330"/>
                </a:cubicBezTo>
                <a:cubicBezTo>
                  <a:pt x="223" y="330"/>
                  <a:pt x="223" y="330"/>
                  <a:pt x="223" y="330"/>
                </a:cubicBezTo>
                <a:cubicBezTo>
                  <a:pt x="223" y="330"/>
                  <a:pt x="223" y="330"/>
                  <a:pt x="223" y="330"/>
                </a:cubicBezTo>
                <a:cubicBezTo>
                  <a:pt x="223" y="331"/>
                  <a:pt x="224" y="332"/>
                  <a:pt x="224" y="332"/>
                </a:cubicBezTo>
                <a:cubicBezTo>
                  <a:pt x="226" y="334"/>
                  <a:pt x="228" y="336"/>
                  <a:pt x="231" y="335"/>
                </a:cubicBezTo>
                <a:cubicBezTo>
                  <a:pt x="231" y="335"/>
                  <a:pt x="232" y="335"/>
                  <a:pt x="232" y="335"/>
                </a:cubicBezTo>
                <a:cubicBezTo>
                  <a:pt x="233" y="335"/>
                  <a:pt x="233" y="336"/>
                  <a:pt x="232" y="336"/>
                </a:cubicBezTo>
                <a:cubicBezTo>
                  <a:pt x="231" y="338"/>
                  <a:pt x="231" y="340"/>
                  <a:pt x="233" y="342"/>
                </a:cubicBezTo>
                <a:cubicBezTo>
                  <a:pt x="233" y="342"/>
                  <a:pt x="234" y="344"/>
                  <a:pt x="235" y="344"/>
                </a:cubicBezTo>
                <a:cubicBezTo>
                  <a:pt x="236" y="345"/>
                  <a:pt x="237" y="345"/>
                  <a:pt x="237" y="347"/>
                </a:cubicBezTo>
                <a:cubicBezTo>
                  <a:pt x="237" y="348"/>
                  <a:pt x="237" y="350"/>
                  <a:pt x="238" y="351"/>
                </a:cubicBezTo>
                <a:cubicBezTo>
                  <a:pt x="238" y="353"/>
                  <a:pt x="239" y="356"/>
                  <a:pt x="241" y="358"/>
                </a:cubicBezTo>
                <a:cubicBezTo>
                  <a:pt x="242" y="359"/>
                  <a:pt x="243" y="359"/>
                  <a:pt x="245" y="359"/>
                </a:cubicBezTo>
                <a:cubicBezTo>
                  <a:pt x="246" y="359"/>
                  <a:pt x="247" y="358"/>
                  <a:pt x="247" y="357"/>
                </a:cubicBezTo>
                <a:cubicBezTo>
                  <a:pt x="247" y="356"/>
                  <a:pt x="246" y="355"/>
                  <a:pt x="246" y="354"/>
                </a:cubicBezTo>
                <a:cubicBezTo>
                  <a:pt x="246" y="354"/>
                  <a:pt x="246" y="354"/>
                  <a:pt x="246" y="353"/>
                </a:cubicBezTo>
                <a:cubicBezTo>
                  <a:pt x="247" y="353"/>
                  <a:pt x="247" y="353"/>
                  <a:pt x="247" y="354"/>
                </a:cubicBezTo>
                <a:cubicBezTo>
                  <a:pt x="248" y="355"/>
                  <a:pt x="248" y="356"/>
                  <a:pt x="248" y="357"/>
                </a:cubicBezTo>
                <a:cubicBezTo>
                  <a:pt x="249" y="359"/>
                  <a:pt x="250" y="360"/>
                  <a:pt x="251" y="361"/>
                </a:cubicBezTo>
                <a:cubicBezTo>
                  <a:pt x="251" y="362"/>
                  <a:pt x="251" y="362"/>
                  <a:pt x="251" y="362"/>
                </a:cubicBezTo>
                <a:cubicBezTo>
                  <a:pt x="251" y="363"/>
                  <a:pt x="250" y="363"/>
                  <a:pt x="250" y="362"/>
                </a:cubicBezTo>
                <a:cubicBezTo>
                  <a:pt x="249" y="362"/>
                  <a:pt x="249" y="362"/>
                  <a:pt x="248" y="362"/>
                </a:cubicBezTo>
                <a:cubicBezTo>
                  <a:pt x="246" y="361"/>
                  <a:pt x="244" y="362"/>
                  <a:pt x="244" y="364"/>
                </a:cubicBezTo>
                <a:cubicBezTo>
                  <a:pt x="243" y="365"/>
                  <a:pt x="242" y="367"/>
                  <a:pt x="243" y="369"/>
                </a:cubicBezTo>
                <a:cubicBezTo>
                  <a:pt x="243" y="370"/>
                  <a:pt x="243" y="372"/>
                  <a:pt x="244" y="374"/>
                </a:cubicBezTo>
                <a:cubicBezTo>
                  <a:pt x="243" y="374"/>
                  <a:pt x="243" y="374"/>
                  <a:pt x="243" y="374"/>
                </a:cubicBezTo>
                <a:cubicBezTo>
                  <a:pt x="243" y="374"/>
                  <a:pt x="243" y="374"/>
                  <a:pt x="243" y="374"/>
                </a:cubicBezTo>
                <a:cubicBezTo>
                  <a:pt x="244" y="374"/>
                  <a:pt x="244" y="374"/>
                  <a:pt x="244" y="374"/>
                </a:cubicBezTo>
                <a:cubicBezTo>
                  <a:pt x="245" y="375"/>
                  <a:pt x="245" y="377"/>
                  <a:pt x="245" y="378"/>
                </a:cubicBezTo>
                <a:cubicBezTo>
                  <a:pt x="244" y="381"/>
                  <a:pt x="243" y="384"/>
                  <a:pt x="244" y="387"/>
                </a:cubicBezTo>
                <a:cubicBezTo>
                  <a:pt x="244" y="387"/>
                  <a:pt x="244" y="388"/>
                  <a:pt x="244" y="388"/>
                </a:cubicBezTo>
                <a:cubicBezTo>
                  <a:pt x="245" y="388"/>
                  <a:pt x="246" y="388"/>
                  <a:pt x="246" y="387"/>
                </a:cubicBezTo>
                <a:cubicBezTo>
                  <a:pt x="247" y="385"/>
                  <a:pt x="248" y="383"/>
                  <a:pt x="249" y="382"/>
                </a:cubicBezTo>
                <a:cubicBezTo>
                  <a:pt x="249" y="381"/>
                  <a:pt x="249" y="381"/>
                  <a:pt x="249" y="381"/>
                </a:cubicBezTo>
                <a:cubicBezTo>
                  <a:pt x="249" y="381"/>
                  <a:pt x="249" y="381"/>
                  <a:pt x="249" y="381"/>
                </a:cubicBezTo>
                <a:cubicBezTo>
                  <a:pt x="250" y="380"/>
                  <a:pt x="251" y="379"/>
                  <a:pt x="252" y="379"/>
                </a:cubicBezTo>
                <a:cubicBezTo>
                  <a:pt x="252" y="379"/>
                  <a:pt x="253" y="379"/>
                  <a:pt x="253" y="379"/>
                </a:cubicBezTo>
                <a:cubicBezTo>
                  <a:pt x="253" y="379"/>
                  <a:pt x="253" y="379"/>
                  <a:pt x="253" y="379"/>
                </a:cubicBezTo>
                <a:cubicBezTo>
                  <a:pt x="253" y="379"/>
                  <a:pt x="253" y="379"/>
                  <a:pt x="253" y="379"/>
                </a:cubicBezTo>
                <a:cubicBezTo>
                  <a:pt x="255" y="375"/>
                  <a:pt x="258" y="372"/>
                  <a:pt x="259" y="368"/>
                </a:cubicBezTo>
                <a:cubicBezTo>
                  <a:pt x="259" y="368"/>
                  <a:pt x="260" y="368"/>
                  <a:pt x="260" y="368"/>
                </a:cubicBezTo>
                <a:cubicBezTo>
                  <a:pt x="261" y="368"/>
                  <a:pt x="261" y="369"/>
                  <a:pt x="261" y="369"/>
                </a:cubicBezTo>
                <a:cubicBezTo>
                  <a:pt x="261" y="370"/>
                  <a:pt x="261" y="371"/>
                  <a:pt x="261" y="371"/>
                </a:cubicBezTo>
                <a:cubicBezTo>
                  <a:pt x="260" y="373"/>
                  <a:pt x="259" y="375"/>
                  <a:pt x="259" y="377"/>
                </a:cubicBezTo>
                <a:cubicBezTo>
                  <a:pt x="258" y="378"/>
                  <a:pt x="259" y="379"/>
                  <a:pt x="259" y="381"/>
                </a:cubicBezTo>
                <a:cubicBezTo>
                  <a:pt x="260" y="381"/>
                  <a:pt x="260" y="381"/>
                  <a:pt x="260" y="381"/>
                </a:cubicBezTo>
                <a:cubicBezTo>
                  <a:pt x="260" y="381"/>
                  <a:pt x="260" y="381"/>
                  <a:pt x="260" y="381"/>
                </a:cubicBezTo>
                <a:cubicBezTo>
                  <a:pt x="260" y="382"/>
                  <a:pt x="261" y="383"/>
                  <a:pt x="261" y="384"/>
                </a:cubicBezTo>
                <a:cubicBezTo>
                  <a:pt x="261" y="384"/>
                  <a:pt x="261" y="384"/>
                  <a:pt x="261" y="384"/>
                </a:cubicBezTo>
                <a:cubicBezTo>
                  <a:pt x="261" y="385"/>
                  <a:pt x="261" y="385"/>
                  <a:pt x="261" y="385"/>
                </a:cubicBezTo>
                <a:cubicBezTo>
                  <a:pt x="261" y="384"/>
                  <a:pt x="261" y="384"/>
                  <a:pt x="261" y="384"/>
                </a:cubicBezTo>
                <a:cubicBezTo>
                  <a:pt x="261" y="384"/>
                  <a:pt x="261" y="384"/>
                  <a:pt x="261" y="384"/>
                </a:cubicBezTo>
                <a:cubicBezTo>
                  <a:pt x="260" y="383"/>
                  <a:pt x="260" y="382"/>
                  <a:pt x="260" y="381"/>
                </a:cubicBezTo>
                <a:cubicBezTo>
                  <a:pt x="260" y="381"/>
                  <a:pt x="260" y="381"/>
                  <a:pt x="260" y="381"/>
                </a:cubicBezTo>
                <a:cubicBezTo>
                  <a:pt x="260" y="381"/>
                  <a:pt x="260" y="381"/>
                  <a:pt x="259" y="381"/>
                </a:cubicBezTo>
                <a:cubicBezTo>
                  <a:pt x="258" y="380"/>
                  <a:pt x="257" y="380"/>
                  <a:pt x="257" y="380"/>
                </a:cubicBezTo>
                <a:cubicBezTo>
                  <a:pt x="255" y="379"/>
                  <a:pt x="254" y="379"/>
                  <a:pt x="253" y="379"/>
                </a:cubicBezTo>
                <a:cubicBezTo>
                  <a:pt x="253" y="379"/>
                  <a:pt x="253" y="379"/>
                  <a:pt x="253" y="379"/>
                </a:cubicBezTo>
                <a:cubicBezTo>
                  <a:pt x="253" y="379"/>
                  <a:pt x="253" y="379"/>
                  <a:pt x="252" y="379"/>
                </a:cubicBezTo>
                <a:cubicBezTo>
                  <a:pt x="252" y="381"/>
                  <a:pt x="250" y="381"/>
                  <a:pt x="249" y="381"/>
                </a:cubicBezTo>
                <a:cubicBezTo>
                  <a:pt x="249" y="381"/>
                  <a:pt x="249" y="381"/>
                  <a:pt x="249" y="381"/>
                </a:cubicBezTo>
                <a:cubicBezTo>
                  <a:pt x="249" y="381"/>
                  <a:pt x="249" y="381"/>
                  <a:pt x="249" y="382"/>
                </a:cubicBezTo>
                <a:cubicBezTo>
                  <a:pt x="248" y="384"/>
                  <a:pt x="249" y="387"/>
                  <a:pt x="248" y="389"/>
                </a:cubicBezTo>
                <a:cubicBezTo>
                  <a:pt x="247" y="390"/>
                  <a:pt x="248" y="391"/>
                  <a:pt x="249" y="392"/>
                </a:cubicBezTo>
                <a:cubicBezTo>
                  <a:pt x="250" y="392"/>
                  <a:pt x="250" y="392"/>
                  <a:pt x="251" y="392"/>
                </a:cubicBezTo>
                <a:cubicBezTo>
                  <a:pt x="251" y="392"/>
                  <a:pt x="251" y="392"/>
                  <a:pt x="251" y="392"/>
                </a:cubicBezTo>
                <a:cubicBezTo>
                  <a:pt x="251" y="391"/>
                  <a:pt x="251" y="391"/>
                  <a:pt x="251" y="391"/>
                </a:cubicBezTo>
                <a:cubicBezTo>
                  <a:pt x="251" y="391"/>
                  <a:pt x="251" y="390"/>
                  <a:pt x="252" y="390"/>
                </a:cubicBezTo>
                <a:cubicBezTo>
                  <a:pt x="252" y="390"/>
                  <a:pt x="252" y="390"/>
                  <a:pt x="252" y="390"/>
                </a:cubicBezTo>
                <a:cubicBezTo>
                  <a:pt x="252" y="391"/>
                  <a:pt x="251" y="391"/>
                  <a:pt x="251" y="391"/>
                </a:cubicBezTo>
                <a:cubicBezTo>
                  <a:pt x="251" y="391"/>
                  <a:pt x="251" y="392"/>
                  <a:pt x="251" y="392"/>
                </a:cubicBezTo>
                <a:cubicBezTo>
                  <a:pt x="251" y="392"/>
                  <a:pt x="251" y="392"/>
                  <a:pt x="251" y="392"/>
                </a:cubicBezTo>
                <a:cubicBezTo>
                  <a:pt x="250" y="393"/>
                  <a:pt x="250" y="394"/>
                  <a:pt x="250" y="394"/>
                </a:cubicBezTo>
                <a:cubicBezTo>
                  <a:pt x="251" y="395"/>
                  <a:pt x="252" y="396"/>
                  <a:pt x="251" y="398"/>
                </a:cubicBezTo>
                <a:cubicBezTo>
                  <a:pt x="251" y="399"/>
                  <a:pt x="251" y="400"/>
                  <a:pt x="250" y="401"/>
                </a:cubicBezTo>
                <a:cubicBezTo>
                  <a:pt x="250" y="402"/>
                  <a:pt x="250" y="403"/>
                  <a:pt x="250" y="404"/>
                </a:cubicBezTo>
                <a:cubicBezTo>
                  <a:pt x="252" y="406"/>
                  <a:pt x="252" y="408"/>
                  <a:pt x="253" y="410"/>
                </a:cubicBezTo>
                <a:cubicBezTo>
                  <a:pt x="253" y="411"/>
                  <a:pt x="254" y="411"/>
                  <a:pt x="254" y="411"/>
                </a:cubicBezTo>
                <a:cubicBezTo>
                  <a:pt x="254" y="411"/>
                  <a:pt x="255" y="411"/>
                  <a:pt x="255" y="410"/>
                </a:cubicBezTo>
                <a:cubicBezTo>
                  <a:pt x="256" y="408"/>
                  <a:pt x="258" y="405"/>
                  <a:pt x="258" y="402"/>
                </a:cubicBezTo>
                <a:cubicBezTo>
                  <a:pt x="258" y="402"/>
                  <a:pt x="258" y="402"/>
                  <a:pt x="258" y="402"/>
                </a:cubicBezTo>
                <a:cubicBezTo>
                  <a:pt x="258" y="402"/>
                  <a:pt x="258" y="402"/>
                  <a:pt x="258" y="402"/>
                </a:cubicBezTo>
                <a:cubicBezTo>
                  <a:pt x="257" y="402"/>
                  <a:pt x="257" y="401"/>
                  <a:pt x="257" y="401"/>
                </a:cubicBezTo>
                <a:cubicBezTo>
                  <a:pt x="257" y="401"/>
                  <a:pt x="258" y="401"/>
                  <a:pt x="258" y="401"/>
                </a:cubicBezTo>
                <a:cubicBezTo>
                  <a:pt x="258" y="402"/>
                  <a:pt x="258" y="402"/>
                  <a:pt x="258" y="402"/>
                </a:cubicBezTo>
                <a:cubicBezTo>
                  <a:pt x="258" y="402"/>
                  <a:pt x="258" y="402"/>
                  <a:pt x="258" y="402"/>
                </a:cubicBezTo>
                <a:cubicBezTo>
                  <a:pt x="258" y="402"/>
                  <a:pt x="258" y="402"/>
                  <a:pt x="258" y="402"/>
                </a:cubicBezTo>
                <a:cubicBezTo>
                  <a:pt x="258" y="402"/>
                  <a:pt x="259" y="402"/>
                  <a:pt x="259" y="402"/>
                </a:cubicBezTo>
                <a:cubicBezTo>
                  <a:pt x="259" y="402"/>
                  <a:pt x="259" y="402"/>
                  <a:pt x="259" y="402"/>
                </a:cubicBezTo>
                <a:cubicBezTo>
                  <a:pt x="259" y="402"/>
                  <a:pt x="260" y="402"/>
                  <a:pt x="260" y="402"/>
                </a:cubicBezTo>
                <a:cubicBezTo>
                  <a:pt x="260" y="402"/>
                  <a:pt x="260" y="402"/>
                  <a:pt x="260" y="402"/>
                </a:cubicBezTo>
                <a:cubicBezTo>
                  <a:pt x="260" y="402"/>
                  <a:pt x="260" y="402"/>
                  <a:pt x="259" y="402"/>
                </a:cubicBezTo>
                <a:cubicBezTo>
                  <a:pt x="260" y="403"/>
                  <a:pt x="261" y="404"/>
                  <a:pt x="261" y="405"/>
                </a:cubicBezTo>
                <a:cubicBezTo>
                  <a:pt x="261" y="405"/>
                  <a:pt x="261" y="405"/>
                  <a:pt x="262" y="405"/>
                </a:cubicBezTo>
                <a:cubicBezTo>
                  <a:pt x="262" y="405"/>
                  <a:pt x="262" y="406"/>
                  <a:pt x="262" y="406"/>
                </a:cubicBezTo>
                <a:cubicBezTo>
                  <a:pt x="262" y="406"/>
                  <a:pt x="262" y="406"/>
                  <a:pt x="262" y="407"/>
                </a:cubicBezTo>
                <a:cubicBezTo>
                  <a:pt x="262" y="408"/>
                  <a:pt x="262" y="408"/>
                  <a:pt x="262" y="407"/>
                </a:cubicBezTo>
                <a:cubicBezTo>
                  <a:pt x="262" y="407"/>
                  <a:pt x="262" y="406"/>
                  <a:pt x="262" y="406"/>
                </a:cubicBezTo>
                <a:cubicBezTo>
                  <a:pt x="262" y="406"/>
                  <a:pt x="262" y="406"/>
                  <a:pt x="262" y="406"/>
                </a:cubicBezTo>
                <a:cubicBezTo>
                  <a:pt x="262" y="406"/>
                  <a:pt x="261" y="405"/>
                  <a:pt x="261" y="405"/>
                </a:cubicBezTo>
                <a:cubicBezTo>
                  <a:pt x="261" y="405"/>
                  <a:pt x="261" y="405"/>
                  <a:pt x="261" y="405"/>
                </a:cubicBezTo>
                <a:cubicBezTo>
                  <a:pt x="260" y="406"/>
                  <a:pt x="260" y="407"/>
                  <a:pt x="260" y="409"/>
                </a:cubicBezTo>
                <a:cubicBezTo>
                  <a:pt x="260" y="410"/>
                  <a:pt x="261" y="411"/>
                  <a:pt x="262" y="411"/>
                </a:cubicBezTo>
                <a:cubicBezTo>
                  <a:pt x="263" y="412"/>
                  <a:pt x="264" y="412"/>
                  <a:pt x="264" y="412"/>
                </a:cubicBezTo>
                <a:cubicBezTo>
                  <a:pt x="266" y="412"/>
                  <a:pt x="266" y="413"/>
                  <a:pt x="265" y="414"/>
                </a:cubicBezTo>
                <a:cubicBezTo>
                  <a:pt x="264" y="415"/>
                  <a:pt x="262" y="417"/>
                  <a:pt x="262" y="420"/>
                </a:cubicBezTo>
                <a:cubicBezTo>
                  <a:pt x="262" y="421"/>
                  <a:pt x="261" y="421"/>
                  <a:pt x="260" y="421"/>
                </a:cubicBezTo>
                <a:cubicBezTo>
                  <a:pt x="259" y="422"/>
                  <a:pt x="259" y="422"/>
                  <a:pt x="260" y="423"/>
                </a:cubicBezTo>
                <a:cubicBezTo>
                  <a:pt x="262" y="425"/>
                  <a:pt x="262" y="426"/>
                  <a:pt x="259" y="427"/>
                </a:cubicBezTo>
                <a:cubicBezTo>
                  <a:pt x="259" y="428"/>
                  <a:pt x="258" y="428"/>
                  <a:pt x="258" y="428"/>
                </a:cubicBezTo>
                <a:cubicBezTo>
                  <a:pt x="259" y="430"/>
                  <a:pt x="260" y="432"/>
                  <a:pt x="262" y="431"/>
                </a:cubicBezTo>
                <a:cubicBezTo>
                  <a:pt x="264" y="431"/>
                  <a:pt x="266" y="430"/>
                  <a:pt x="268" y="430"/>
                </a:cubicBezTo>
                <a:cubicBezTo>
                  <a:pt x="268" y="430"/>
                  <a:pt x="269" y="430"/>
                  <a:pt x="269" y="430"/>
                </a:cubicBezTo>
                <a:cubicBezTo>
                  <a:pt x="269" y="431"/>
                  <a:pt x="269" y="431"/>
                  <a:pt x="268" y="432"/>
                </a:cubicBezTo>
                <a:cubicBezTo>
                  <a:pt x="268" y="432"/>
                  <a:pt x="267" y="433"/>
                  <a:pt x="266" y="434"/>
                </a:cubicBezTo>
                <a:cubicBezTo>
                  <a:pt x="264" y="435"/>
                  <a:pt x="264" y="437"/>
                  <a:pt x="264" y="439"/>
                </a:cubicBezTo>
                <a:cubicBezTo>
                  <a:pt x="264" y="440"/>
                  <a:pt x="264" y="440"/>
                  <a:pt x="265" y="441"/>
                </a:cubicBezTo>
                <a:cubicBezTo>
                  <a:pt x="265" y="441"/>
                  <a:pt x="265" y="441"/>
                  <a:pt x="265" y="441"/>
                </a:cubicBezTo>
                <a:cubicBezTo>
                  <a:pt x="265" y="441"/>
                  <a:pt x="265" y="440"/>
                  <a:pt x="265" y="440"/>
                </a:cubicBezTo>
                <a:cubicBezTo>
                  <a:pt x="265" y="440"/>
                  <a:pt x="265" y="440"/>
                  <a:pt x="265" y="440"/>
                </a:cubicBezTo>
                <a:cubicBezTo>
                  <a:pt x="265" y="440"/>
                  <a:pt x="265" y="440"/>
                  <a:pt x="265" y="440"/>
                </a:cubicBezTo>
                <a:cubicBezTo>
                  <a:pt x="266" y="440"/>
                  <a:pt x="265" y="440"/>
                  <a:pt x="265" y="440"/>
                </a:cubicBezTo>
                <a:cubicBezTo>
                  <a:pt x="265" y="440"/>
                  <a:pt x="265" y="441"/>
                  <a:pt x="265" y="441"/>
                </a:cubicBezTo>
                <a:cubicBezTo>
                  <a:pt x="266" y="442"/>
                  <a:pt x="268" y="444"/>
                  <a:pt x="269" y="445"/>
                </a:cubicBezTo>
                <a:cubicBezTo>
                  <a:pt x="270" y="446"/>
                  <a:pt x="270" y="447"/>
                  <a:pt x="270" y="448"/>
                </a:cubicBezTo>
                <a:cubicBezTo>
                  <a:pt x="269" y="449"/>
                  <a:pt x="269" y="450"/>
                  <a:pt x="268" y="451"/>
                </a:cubicBezTo>
                <a:cubicBezTo>
                  <a:pt x="268" y="451"/>
                  <a:pt x="268" y="451"/>
                  <a:pt x="268" y="451"/>
                </a:cubicBezTo>
                <a:cubicBezTo>
                  <a:pt x="268" y="451"/>
                  <a:pt x="268" y="451"/>
                  <a:pt x="268" y="451"/>
                </a:cubicBezTo>
                <a:cubicBezTo>
                  <a:pt x="268" y="451"/>
                  <a:pt x="268" y="451"/>
                  <a:pt x="268" y="451"/>
                </a:cubicBezTo>
                <a:cubicBezTo>
                  <a:pt x="268" y="452"/>
                  <a:pt x="268" y="453"/>
                  <a:pt x="268" y="454"/>
                </a:cubicBezTo>
                <a:cubicBezTo>
                  <a:pt x="269" y="455"/>
                  <a:pt x="269" y="456"/>
                  <a:pt x="268" y="458"/>
                </a:cubicBezTo>
                <a:cubicBezTo>
                  <a:pt x="268" y="458"/>
                  <a:pt x="267" y="458"/>
                  <a:pt x="267" y="458"/>
                </a:cubicBezTo>
                <a:cubicBezTo>
                  <a:pt x="270" y="464"/>
                  <a:pt x="270" y="464"/>
                  <a:pt x="270" y="464"/>
                </a:cubicBezTo>
                <a:cubicBezTo>
                  <a:pt x="271" y="464"/>
                  <a:pt x="273" y="465"/>
                  <a:pt x="274" y="467"/>
                </a:cubicBezTo>
                <a:cubicBezTo>
                  <a:pt x="275" y="468"/>
                  <a:pt x="276" y="469"/>
                  <a:pt x="278" y="470"/>
                </a:cubicBezTo>
                <a:cubicBezTo>
                  <a:pt x="279" y="470"/>
                  <a:pt x="281" y="471"/>
                  <a:pt x="282" y="472"/>
                </a:cubicBezTo>
                <a:cubicBezTo>
                  <a:pt x="283" y="472"/>
                  <a:pt x="283" y="473"/>
                  <a:pt x="283" y="474"/>
                </a:cubicBezTo>
                <a:cubicBezTo>
                  <a:pt x="282" y="475"/>
                  <a:pt x="282" y="477"/>
                  <a:pt x="283" y="479"/>
                </a:cubicBezTo>
                <a:cubicBezTo>
                  <a:pt x="283" y="480"/>
                  <a:pt x="283" y="480"/>
                  <a:pt x="284" y="481"/>
                </a:cubicBezTo>
                <a:cubicBezTo>
                  <a:pt x="284" y="481"/>
                  <a:pt x="284" y="481"/>
                  <a:pt x="284" y="481"/>
                </a:cubicBezTo>
                <a:cubicBezTo>
                  <a:pt x="284" y="481"/>
                  <a:pt x="284" y="481"/>
                  <a:pt x="284" y="481"/>
                </a:cubicBezTo>
                <a:cubicBezTo>
                  <a:pt x="284" y="481"/>
                  <a:pt x="284" y="481"/>
                  <a:pt x="284" y="481"/>
                </a:cubicBezTo>
                <a:cubicBezTo>
                  <a:pt x="284" y="481"/>
                  <a:pt x="284" y="481"/>
                  <a:pt x="284" y="481"/>
                </a:cubicBezTo>
                <a:cubicBezTo>
                  <a:pt x="284" y="481"/>
                  <a:pt x="284" y="482"/>
                  <a:pt x="284" y="483"/>
                </a:cubicBezTo>
                <a:cubicBezTo>
                  <a:pt x="285" y="483"/>
                  <a:pt x="286" y="483"/>
                  <a:pt x="286" y="483"/>
                </a:cubicBezTo>
                <a:cubicBezTo>
                  <a:pt x="288" y="483"/>
                  <a:pt x="289" y="484"/>
                  <a:pt x="289" y="485"/>
                </a:cubicBezTo>
                <a:cubicBezTo>
                  <a:pt x="290" y="487"/>
                  <a:pt x="290" y="489"/>
                  <a:pt x="291" y="491"/>
                </a:cubicBezTo>
                <a:cubicBezTo>
                  <a:pt x="292" y="492"/>
                  <a:pt x="291" y="494"/>
                  <a:pt x="291" y="496"/>
                </a:cubicBezTo>
                <a:cubicBezTo>
                  <a:pt x="290" y="496"/>
                  <a:pt x="290" y="497"/>
                  <a:pt x="290" y="497"/>
                </a:cubicBezTo>
                <a:cubicBezTo>
                  <a:pt x="289" y="497"/>
                  <a:pt x="288" y="498"/>
                  <a:pt x="287" y="498"/>
                </a:cubicBezTo>
                <a:cubicBezTo>
                  <a:pt x="285" y="497"/>
                  <a:pt x="282" y="497"/>
                  <a:pt x="280" y="495"/>
                </a:cubicBezTo>
                <a:cubicBezTo>
                  <a:pt x="281" y="495"/>
                  <a:pt x="281" y="495"/>
                  <a:pt x="281" y="495"/>
                </a:cubicBezTo>
                <a:cubicBezTo>
                  <a:pt x="281" y="495"/>
                  <a:pt x="281" y="495"/>
                  <a:pt x="280" y="495"/>
                </a:cubicBezTo>
                <a:cubicBezTo>
                  <a:pt x="281" y="495"/>
                  <a:pt x="282" y="495"/>
                  <a:pt x="283" y="495"/>
                </a:cubicBezTo>
                <a:cubicBezTo>
                  <a:pt x="285" y="495"/>
                  <a:pt x="286" y="494"/>
                  <a:pt x="286" y="493"/>
                </a:cubicBezTo>
                <a:cubicBezTo>
                  <a:pt x="286" y="489"/>
                  <a:pt x="285" y="486"/>
                  <a:pt x="284" y="483"/>
                </a:cubicBezTo>
                <a:cubicBezTo>
                  <a:pt x="283" y="482"/>
                  <a:pt x="281" y="482"/>
                  <a:pt x="281" y="480"/>
                </a:cubicBezTo>
                <a:cubicBezTo>
                  <a:pt x="281" y="479"/>
                  <a:pt x="280" y="477"/>
                  <a:pt x="280" y="476"/>
                </a:cubicBezTo>
                <a:cubicBezTo>
                  <a:pt x="279" y="473"/>
                  <a:pt x="277" y="471"/>
                  <a:pt x="274" y="470"/>
                </a:cubicBezTo>
                <a:cubicBezTo>
                  <a:pt x="272" y="469"/>
                  <a:pt x="270" y="468"/>
                  <a:pt x="268" y="466"/>
                </a:cubicBezTo>
                <a:cubicBezTo>
                  <a:pt x="267" y="466"/>
                  <a:pt x="266" y="465"/>
                  <a:pt x="265" y="464"/>
                </a:cubicBezTo>
                <a:cubicBezTo>
                  <a:pt x="264" y="463"/>
                  <a:pt x="263" y="463"/>
                  <a:pt x="262" y="463"/>
                </a:cubicBezTo>
                <a:cubicBezTo>
                  <a:pt x="261" y="463"/>
                  <a:pt x="260" y="464"/>
                  <a:pt x="260" y="465"/>
                </a:cubicBezTo>
                <a:cubicBezTo>
                  <a:pt x="261" y="466"/>
                  <a:pt x="261" y="468"/>
                  <a:pt x="261" y="470"/>
                </a:cubicBezTo>
                <a:cubicBezTo>
                  <a:pt x="261" y="471"/>
                  <a:pt x="261" y="472"/>
                  <a:pt x="262" y="472"/>
                </a:cubicBezTo>
                <a:cubicBezTo>
                  <a:pt x="263" y="474"/>
                  <a:pt x="265" y="475"/>
                  <a:pt x="266" y="477"/>
                </a:cubicBezTo>
                <a:cubicBezTo>
                  <a:pt x="269" y="482"/>
                  <a:pt x="274" y="486"/>
                  <a:pt x="277" y="491"/>
                </a:cubicBezTo>
                <a:cubicBezTo>
                  <a:pt x="277" y="492"/>
                  <a:pt x="278" y="493"/>
                  <a:pt x="279" y="493"/>
                </a:cubicBezTo>
                <a:cubicBezTo>
                  <a:pt x="279" y="493"/>
                  <a:pt x="279" y="493"/>
                  <a:pt x="279" y="493"/>
                </a:cubicBezTo>
                <a:cubicBezTo>
                  <a:pt x="279" y="493"/>
                  <a:pt x="279" y="493"/>
                  <a:pt x="279" y="493"/>
                </a:cubicBezTo>
                <a:cubicBezTo>
                  <a:pt x="277" y="494"/>
                  <a:pt x="275" y="496"/>
                  <a:pt x="275" y="498"/>
                </a:cubicBezTo>
                <a:cubicBezTo>
                  <a:pt x="275" y="502"/>
                  <a:pt x="275" y="506"/>
                  <a:pt x="275" y="510"/>
                </a:cubicBezTo>
                <a:cubicBezTo>
                  <a:pt x="275" y="515"/>
                  <a:pt x="274" y="519"/>
                  <a:pt x="273" y="523"/>
                </a:cubicBezTo>
                <a:cubicBezTo>
                  <a:pt x="271" y="528"/>
                  <a:pt x="269" y="532"/>
                  <a:pt x="268" y="537"/>
                </a:cubicBezTo>
                <a:cubicBezTo>
                  <a:pt x="267" y="542"/>
                  <a:pt x="265" y="546"/>
                  <a:pt x="262" y="550"/>
                </a:cubicBezTo>
                <a:cubicBezTo>
                  <a:pt x="260" y="554"/>
                  <a:pt x="259" y="558"/>
                  <a:pt x="259" y="562"/>
                </a:cubicBezTo>
                <a:cubicBezTo>
                  <a:pt x="259" y="563"/>
                  <a:pt x="259" y="564"/>
                  <a:pt x="259" y="564"/>
                </a:cubicBezTo>
                <a:cubicBezTo>
                  <a:pt x="260" y="569"/>
                  <a:pt x="259" y="574"/>
                  <a:pt x="256" y="578"/>
                </a:cubicBezTo>
                <a:cubicBezTo>
                  <a:pt x="255" y="579"/>
                  <a:pt x="255" y="581"/>
                  <a:pt x="256" y="582"/>
                </a:cubicBezTo>
                <a:cubicBezTo>
                  <a:pt x="257" y="585"/>
                  <a:pt x="258" y="588"/>
                  <a:pt x="257" y="591"/>
                </a:cubicBezTo>
                <a:cubicBezTo>
                  <a:pt x="256" y="593"/>
                  <a:pt x="257" y="594"/>
                  <a:pt x="257" y="596"/>
                </a:cubicBezTo>
                <a:cubicBezTo>
                  <a:pt x="257" y="596"/>
                  <a:pt x="257" y="597"/>
                  <a:pt x="257" y="598"/>
                </a:cubicBezTo>
                <a:cubicBezTo>
                  <a:pt x="258" y="601"/>
                  <a:pt x="259" y="603"/>
                  <a:pt x="260" y="605"/>
                </a:cubicBezTo>
                <a:cubicBezTo>
                  <a:pt x="261" y="606"/>
                  <a:pt x="261" y="606"/>
                  <a:pt x="262" y="607"/>
                </a:cubicBezTo>
                <a:cubicBezTo>
                  <a:pt x="264" y="608"/>
                  <a:pt x="264" y="608"/>
                  <a:pt x="263" y="609"/>
                </a:cubicBezTo>
                <a:cubicBezTo>
                  <a:pt x="263" y="610"/>
                  <a:pt x="262" y="611"/>
                  <a:pt x="262" y="612"/>
                </a:cubicBezTo>
                <a:cubicBezTo>
                  <a:pt x="262" y="613"/>
                  <a:pt x="262" y="613"/>
                  <a:pt x="262" y="614"/>
                </a:cubicBezTo>
                <a:cubicBezTo>
                  <a:pt x="263" y="617"/>
                  <a:pt x="264" y="619"/>
                  <a:pt x="263" y="622"/>
                </a:cubicBezTo>
                <a:cubicBezTo>
                  <a:pt x="263" y="622"/>
                  <a:pt x="264" y="623"/>
                  <a:pt x="264" y="624"/>
                </a:cubicBezTo>
                <a:cubicBezTo>
                  <a:pt x="265" y="627"/>
                  <a:pt x="267" y="631"/>
                  <a:pt x="268" y="634"/>
                </a:cubicBezTo>
                <a:cubicBezTo>
                  <a:pt x="269" y="635"/>
                  <a:pt x="269" y="637"/>
                  <a:pt x="269" y="639"/>
                </a:cubicBezTo>
                <a:cubicBezTo>
                  <a:pt x="269" y="641"/>
                  <a:pt x="270" y="642"/>
                  <a:pt x="271" y="642"/>
                </a:cubicBezTo>
                <a:cubicBezTo>
                  <a:pt x="276" y="643"/>
                  <a:pt x="280" y="646"/>
                  <a:pt x="284" y="649"/>
                </a:cubicBezTo>
                <a:cubicBezTo>
                  <a:pt x="288" y="651"/>
                  <a:pt x="290" y="654"/>
                  <a:pt x="290" y="658"/>
                </a:cubicBezTo>
                <a:cubicBezTo>
                  <a:pt x="290" y="661"/>
                  <a:pt x="291" y="664"/>
                  <a:pt x="292" y="667"/>
                </a:cubicBezTo>
                <a:cubicBezTo>
                  <a:pt x="293" y="673"/>
                  <a:pt x="296" y="678"/>
                  <a:pt x="297" y="683"/>
                </a:cubicBezTo>
                <a:cubicBezTo>
                  <a:pt x="297" y="685"/>
                  <a:pt x="298" y="686"/>
                  <a:pt x="299" y="688"/>
                </a:cubicBezTo>
                <a:cubicBezTo>
                  <a:pt x="302" y="690"/>
                  <a:pt x="304" y="693"/>
                  <a:pt x="306" y="696"/>
                </a:cubicBezTo>
                <a:cubicBezTo>
                  <a:pt x="307" y="698"/>
                  <a:pt x="306" y="699"/>
                  <a:pt x="305" y="701"/>
                </a:cubicBezTo>
                <a:cubicBezTo>
                  <a:pt x="305" y="702"/>
                  <a:pt x="304" y="702"/>
                  <a:pt x="302" y="702"/>
                </a:cubicBezTo>
                <a:cubicBezTo>
                  <a:pt x="302" y="702"/>
                  <a:pt x="302" y="702"/>
                  <a:pt x="302" y="702"/>
                </a:cubicBezTo>
                <a:cubicBezTo>
                  <a:pt x="301" y="703"/>
                  <a:pt x="300" y="704"/>
                  <a:pt x="301" y="705"/>
                </a:cubicBezTo>
                <a:cubicBezTo>
                  <a:pt x="302" y="707"/>
                  <a:pt x="304" y="709"/>
                  <a:pt x="307" y="711"/>
                </a:cubicBezTo>
                <a:cubicBezTo>
                  <a:pt x="310" y="712"/>
                  <a:pt x="313" y="715"/>
                  <a:pt x="315" y="718"/>
                </a:cubicBezTo>
                <a:cubicBezTo>
                  <a:pt x="317" y="719"/>
                  <a:pt x="317" y="720"/>
                  <a:pt x="317" y="722"/>
                </a:cubicBezTo>
                <a:cubicBezTo>
                  <a:pt x="317" y="723"/>
                  <a:pt x="317" y="724"/>
                  <a:pt x="317" y="726"/>
                </a:cubicBezTo>
                <a:cubicBezTo>
                  <a:pt x="316" y="728"/>
                  <a:pt x="317" y="729"/>
                  <a:pt x="318" y="731"/>
                </a:cubicBezTo>
                <a:cubicBezTo>
                  <a:pt x="322" y="735"/>
                  <a:pt x="328" y="738"/>
                  <a:pt x="330" y="744"/>
                </a:cubicBezTo>
                <a:cubicBezTo>
                  <a:pt x="331" y="745"/>
                  <a:pt x="332" y="745"/>
                  <a:pt x="333" y="744"/>
                </a:cubicBezTo>
                <a:cubicBezTo>
                  <a:pt x="335" y="743"/>
                  <a:pt x="335" y="742"/>
                  <a:pt x="335" y="740"/>
                </a:cubicBezTo>
                <a:cubicBezTo>
                  <a:pt x="334" y="738"/>
                  <a:pt x="333" y="737"/>
                  <a:pt x="332" y="735"/>
                </a:cubicBezTo>
                <a:cubicBezTo>
                  <a:pt x="331" y="734"/>
                  <a:pt x="327" y="728"/>
                  <a:pt x="327" y="726"/>
                </a:cubicBezTo>
                <a:cubicBezTo>
                  <a:pt x="326" y="725"/>
                  <a:pt x="326" y="723"/>
                  <a:pt x="325" y="722"/>
                </a:cubicBezTo>
                <a:cubicBezTo>
                  <a:pt x="325" y="720"/>
                  <a:pt x="325" y="717"/>
                  <a:pt x="324" y="715"/>
                </a:cubicBezTo>
                <a:cubicBezTo>
                  <a:pt x="324" y="712"/>
                  <a:pt x="321" y="711"/>
                  <a:pt x="320" y="708"/>
                </a:cubicBezTo>
                <a:cubicBezTo>
                  <a:pt x="319" y="705"/>
                  <a:pt x="317" y="701"/>
                  <a:pt x="315" y="697"/>
                </a:cubicBezTo>
                <a:cubicBezTo>
                  <a:pt x="313" y="694"/>
                  <a:pt x="311" y="690"/>
                  <a:pt x="308" y="686"/>
                </a:cubicBezTo>
                <a:cubicBezTo>
                  <a:pt x="308" y="686"/>
                  <a:pt x="307" y="685"/>
                  <a:pt x="307" y="684"/>
                </a:cubicBezTo>
                <a:cubicBezTo>
                  <a:pt x="307" y="680"/>
                  <a:pt x="306" y="675"/>
                  <a:pt x="307" y="671"/>
                </a:cubicBezTo>
                <a:cubicBezTo>
                  <a:pt x="307" y="670"/>
                  <a:pt x="308" y="670"/>
                  <a:pt x="308" y="670"/>
                </a:cubicBezTo>
                <a:cubicBezTo>
                  <a:pt x="310" y="671"/>
                  <a:pt x="312" y="672"/>
                  <a:pt x="313" y="672"/>
                </a:cubicBezTo>
                <a:cubicBezTo>
                  <a:pt x="315" y="673"/>
                  <a:pt x="316" y="674"/>
                  <a:pt x="316" y="676"/>
                </a:cubicBezTo>
                <a:cubicBezTo>
                  <a:pt x="317" y="680"/>
                  <a:pt x="317" y="684"/>
                  <a:pt x="319" y="687"/>
                </a:cubicBezTo>
                <a:cubicBezTo>
                  <a:pt x="321" y="693"/>
                  <a:pt x="324" y="698"/>
                  <a:pt x="327" y="702"/>
                </a:cubicBezTo>
                <a:cubicBezTo>
                  <a:pt x="328" y="703"/>
                  <a:pt x="329" y="704"/>
                  <a:pt x="329" y="705"/>
                </a:cubicBezTo>
                <a:cubicBezTo>
                  <a:pt x="330" y="708"/>
                  <a:pt x="332" y="710"/>
                  <a:pt x="334" y="711"/>
                </a:cubicBezTo>
                <a:cubicBezTo>
                  <a:pt x="335" y="712"/>
                  <a:pt x="337" y="713"/>
                  <a:pt x="338" y="715"/>
                </a:cubicBezTo>
                <a:cubicBezTo>
                  <a:pt x="339" y="715"/>
                  <a:pt x="339" y="716"/>
                  <a:pt x="338" y="717"/>
                </a:cubicBezTo>
                <a:cubicBezTo>
                  <a:pt x="338" y="718"/>
                  <a:pt x="338" y="718"/>
                  <a:pt x="337" y="719"/>
                </a:cubicBezTo>
                <a:cubicBezTo>
                  <a:pt x="336" y="720"/>
                  <a:pt x="337" y="722"/>
                  <a:pt x="338" y="723"/>
                </a:cubicBezTo>
                <a:cubicBezTo>
                  <a:pt x="339" y="724"/>
                  <a:pt x="341" y="725"/>
                  <a:pt x="343" y="726"/>
                </a:cubicBezTo>
                <a:cubicBezTo>
                  <a:pt x="345" y="727"/>
                  <a:pt x="346" y="728"/>
                  <a:pt x="346" y="731"/>
                </a:cubicBezTo>
                <a:cubicBezTo>
                  <a:pt x="346" y="732"/>
                  <a:pt x="347" y="733"/>
                  <a:pt x="348" y="733"/>
                </a:cubicBezTo>
                <a:cubicBezTo>
                  <a:pt x="357" y="743"/>
                  <a:pt x="360" y="747"/>
                  <a:pt x="362" y="758"/>
                </a:cubicBezTo>
                <a:cubicBezTo>
                  <a:pt x="362" y="759"/>
                  <a:pt x="362" y="760"/>
                  <a:pt x="362" y="761"/>
                </a:cubicBezTo>
                <a:cubicBezTo>
                  <a:pt x="362" y="762"/>
                  <a:pt x="361" y="763"/>
                  <a:pt x="361" y="764"/>
                </a:cubicBezTo>
                <a:cubicBezTo>
                  <a:pt x="359" y="767"/>
                  <a:pt x="360" y="769"/>
                  <a:pt x="361" y="772"/>
                </a:cubicBezTo>
                <a:cubicBezTo>
                  <a:pt x="362" y="774"/>
                  <a:pt x="364" y="776"/>
                  <a:pt x="367" y="777"/>
                </a:cubicBezTo>
                <a:cubicBezTo>
                  <a:pt x="369" y="778"/>
                  <a:pt x="371" y="779"/>
                  <a:pt x="373" y="782"/>
                </a:cubicBezTo>
                <a:cubicBezTo>
                  <a:pt x="374" y="784"/>
                  <a:pt x="377" y="785"/>
                  <a:pt x="379" y="786"/>
                </a:cubicBezTo>
                <a:cubicBezTo>
                  <a:pt x="380" y="786"/>
                  <a:pt x="382" y="786"/>
                  <a:pt x="383" y="786"/>
                </a:cubicBezTo>
                <a:cubicBezTo>
                  <a:pt x="384" y="787"/>
                  <a:pt x="385" y="787"/>
                  <a:pt x="386" y="788"/>
                </a:cubicBezTo>
                <a:cubicBezTo>
                  <a:pt x="390" y="791"/>
                  <a:pt x="394" y="794"/>
                  <a:pt x="399" y="795"/>
                </a:cubicBezTo>
                <a:cubicBezTo>
                  <a:pt x="401" y="796"/>
                  <a:pt x="404" y="797"/>
                  <a:pt x="406" y="798"/>
                </a:cubicBezTo>
                <a:cubicBezTo>
                  <a:pt x="408" y="800"/>
                  <a:pt x="411" y="801"/>
                  <a:pt x="414" y="801"/>
                </a:cubicBezTo>
                <a:cubicBezTo>
                  <a:pt x="424" y="804"/>
                  <a:pt x="424" y="804"/>
                  <a:pt x="433" y="801"/>
                </a:cubicBezTo>
                <a:cubicBezTo>
                  <a:pt x="436" y="800"/>
                  <a:pt x="439" y="800"/>
                  <a:pt x="441" y="802"/>
                </a:cubicBezTo>
                <a:cubicBezTo>
                  <a:pt x="445" y="806"/>
                  <a:pt x="450" y="809"/>
                  <a:pt x="454" y="814"/>
                </a:cubicBezTo>
                <a:cubicBezTo>
                  <a:pt x="456" y="816"/>
                  <a:pt x="458" y="818"/>
                  <a:pt x="461" y="818"/>
                </a:cubicBezTo>
                <a:cubicBezTo>
                  <a:pt x="465" y="818"/>
                  <a:pt x="468" y="819"/>
                  <a:pt x="472" y="821"/>
                </a:cubicBezTo>
                <a:cubicBezTo>
                  <a:pt x="476" y="822"/>
                  <a:pt x="480" y="824"/>
                  <a:pt x="485" y="823"/>
                </a:cubicBezTo>
                <a:cubicBezTo>
                  <a:pt x="486" y="823"/>
                  <a:pt x="486" y="824"/>
                  <a:pt x="487" y="825"/>
                </a:cubicBezTo>
                <a:cubicBezTo>
                  <a:pt x="488" y="827"/>
                  <a:pt x="490" y="829"/>
                  <a:pt x="491" y="831"/>
                </a:cubicBezTo>
                <a:cubicBezTo>
                  <a:pt x="493" y="833"/>
                  <a:pt x="495" y="835"/>
                  <a:pt x="497" y="838"/>
                </a:cubicBezTo>
                <a:cubicBezTo>
                  <a:pt x="498" y="839"/>
                  <a:pt x="499" y="841"/>
                  <a:pt x="498" y="843"/>
                </a:cubicBezTo>
                <a:cubicBezTo>
                  <a:pt x="497" y="845"/>
                  <a:pt x="499" y="847"/>
                  <a:pt x="501" y="848"/>
                </a:cubicBezTo>
                <a:cubicBezTo>
                  <a:pt x="503" y="848"/>
                  <a:pt x="504" y="848"/>
                  <a:pt x="505" y="848"/>
                </a:cubicBezTo>
                <a:cubicBezTo>
                  <a:pt x="506" y="848"/>
                  <a:pt x="507" y="848"/>
                  <a:pt x="507" y="849"/>
                </a:cubicBezTo>
                <a:cubicBezTo>
                  <a:pt x="509" y="851"/>
                  <a:pt x="512" y="852"/>
                  <a:pt x="512" y="855"/>
                </a:cubicBezTo>
                <a:cubicBezTo>
                  <a:pt x="513" y="858"/>
                  <a:pt x="515" y="859"/>
                  <a:pt x="518" y="859"/>
                </a:cubicBezTo>
                <a:cubicBezTo>
                  <a:pt x="519" y="859"/>
                  <a:pt x="520" y="859"/>
                  <a:pt x="521" y="859"/>
                </a:cubicBezTo>
                <a:cubicBezTo>
                  <a:pt x="523" y="858"/>
                  <a:pt x="526" y="859"/>
                  <a:pt x="528" y="861"/>
                </a:cubicBezTo>
                <a:cubicBezTo>
                  <a:pt x="529" y="863"/>
                  <a:pt x="532" y="864"/>
                  <a:pt x="533" y="865"/>
                </a:cubicBezTo>
                <a:cubicBezTo>
                  <a:pt x="535" y="867"/>
                  <a:pt x="536" y="867"/>
                  <a:pt x="539" y="865"/>
                </a:cubicBezTo>
                <a:cubicBezTo>
                  <a:pt x="540" y="864"/>
                  <a:pt x="540" y="863"/>
                  <a:pt x="539" y="862"/>
                </a:cubicBezTo>
                <a:cubicBezTo>
                  <a:pt x="539" y="861"/>
                  <a:pt x="539" y="860"/>
                  <a:pt x="539" y="859"/>
                </a:cubicBezTo>
                <a:cubicBezTo>
                  <a:pt x="542" y="858"/>
                  <a:pt x="543" y="856"/>
                  <a:pt x="545" y="854"/>
                </a:cubicBezTo>
                <a:cubicBezTo>
                  <a:pt x="545" y="853"/>
                  <a:pt x="546" y="853"/>
                  <a:pt x="547" y="854"/>
                </a:cubicBezTo>
                <a:cubicBezTo>
                  <a:pt x="550" y="855"/>
                  <a:pt x="551" y="857"/>
                  <a:pt x="552" y="859"/>
                </a:cubicBezTo>
                <a:cubicBezTo>
                  <a:pt x="552" y="862"/>
                  <a:pt x="552" y="863"/>
                  <a:pt x="554" y="865"/>
                </a:cubicBezTo>
                <a:cubicBezTo>
                  <a:pt x="555" y="867"/>
                  <a:pt x="556" y="870"/>
                  <a:pt x="558" y="872"/>
                </a:cubicBezTo>
                <a:cubicBezTo>
                  <a:pt x="558" y="872"/>
                  <a:pt x="558" y="873"/>
                  <a:pt x="558" y="874"/>
                </a:cubicBezTo>
                <a:cubicBezTo>
                  <a:pt x="558" y="878"/>
                  <a:pt x="558" y="882"/>
                  <a:pt x="558" y="886"/>
                </a:cubicBezTo>
                <a:cubicBezTo>
                  <a:pt x="558" y="888"/>
                  <a:pt x="558" y="890"/>
                  <a:pt x="559" y="891"/>
                </a:cubicBezTo>
                <a:cubicBezTo>
                  <a:pt x="560" y="892"/>
                  <a:pt x="560" y="893"/>
                  <a:pt x="559" y="894"/>
                </a:cubicBezTo>
                <a:cubicBezTo>
                  <a:pt x="557" y="896"/>
                  <a:pt x="556" y="899"/>
                  <a:pt x="553" y="901"/>
                </a:cubicBezTo>
                <a:cubicBezTo>
                  <a:pt x="549" y="902"/>
                  <a:pt x="548" y="904"/>
                  <a:pt x="547" y="908"/>
                </a:cubicBezTo>
                <a:cubicBezTo>
                  <a:pt x="546" y="909"/>
                  <a:pt x="545" y="911"/>
                  <a:pt x="544" y="912"/>
                </a:cubicBezTo>
                <a:cubicBezTo>
                  <a:pt x="542" y="912"/>
                  <a:pt x="540" y="913"/>
                  <a:pt x="539" y="914"/>
                </a:cubicBezTo>
                <a:cubicBezTo>
                  <a:pt x="539" y="914"/>
                  <a:pt x="538" y="915"/>
                  <a:pt x="538" y="916"/>
                </a:cubicBezTo>
                <a:cubicBezTo>
                  <a:pt x="536" y="923"/>
                  <a:pt x="536" y="923"/>
                  <a:pt x="534" y="928"/>
                </a:cubicBezTo>
                <a:cubicBezTo>
                  <a:pt x="533" y="928"/>
                  <a:pt x="533" y="929"/>
                  <a:pt x="533" y="929"/>
                </a:cubicBezTo>
                <a:cubicBezTo>
                  <a:pt x="533" y="932"/>
                  <a:pt x="532" y="935"/>
                  <a:pt x="533" y="938"/>
                </a:cubicBezTo>
                <a:cubicBezTo>
                  <a:pt x="533" y="940"/>
                  <a:pt x="535" y="941"/>
                  <a:pt x="537" y="942"/>
                </a:cubicBezTo>
                <a:cubicBezTo>
                  <a:pt x="537" y="942"/>
                  <a:pt x="538" y="942"/>
                  <a:pt x="538" y="942"/>
                </a:cubicBezTo>
                <a:cubicBezTo>
                  <a:pt x="538" y="941"/>
                  <a:pt x="539" y="941"/>
                  <a:pt x="539" y="940"/>
                </a:cubicBezTo>
                <a:cubicBezTo>
                  <a:pt x="539" y="941"/>
                  <a:pt x="539" y="941"/>
                  <a:pt x="539" y="942"/>
                </a:cubicBezTo>
                <a:cubicBezTo>
                  <a:pt x="539" y="943"/>
                  <a:pt x="539" y="945"/>
                  <a:pt x="538" y="946"/>
                </a:cubicBezTo>
                <a:cubicBezTo>
                  <a:pt x="536" y="947"/>
                  <a:pt x="534" y="948"/>
                  <a:pt x="533" y="949"/>
                </a:cubicBezTo>
                <a:cubicBezTo>
                  <a:pt x="530" y="951"/>
                  <a:pt x="529" y="954"/>
                  <a:pt x="530" y="957"/>
                </a:cubicBezTo>
                <a:cubicBezTo>
                  <a:pt x="530" y="958"/>
                  <a:pt x="531" y="960"/>
                  <a:pt x="531" y="961"/>
                </a:cubicBezTo>
                <a:cubicBezTo>
                  <a:pt x="531" y="962"/>
                  <a:pt x="531" y="963"/>
                  <a:pt x="531" y="964"/>
                </a:cubicBezTo>
                <a:cubicBezTo>
                  <a:pt x="530" y="965"/>
                  <a:pt x="531" y="967"/>
                  <a:pt x="532" y="967"/>
                </a:cubicBezTo>
                <a:cubicBezTo>
                  <a:pt x="534" y="968"/>
                  <a:pt x="536" y="969"/>
                  <a:pt x="537" y="970"/>
                </a:cubicBezTo>
                <a:cubicBezTo>
                  <a:pt x="539" y="971"/>
                  <a:pt x="541" y="973"/>
                  <a:pt x="542" y="975"/>
                </a:cubicBezTo>
                <a:cubicBezTo>
                  <a:pt x="543" y="977"/>
                  <a:pt x="544" y="979"/>
                  <a:pt x="546" y="980"/>
                </a:cubicBezTo>
                <a:cubicBezTo>
                  <a:pt x="547" y="981"/>
                  <a:pt x="547" y="982"/>
                  <a:pt x="548" y="983"/>
                </a:cubicBezTo>
                <a:cubicBezTo>
                  <a:pt x="549" y="987"/>
                  <a:pt x="551" y="990"/>
                  <a:pt x="552" y="993"/>
                </a:cubicBezTo>
                <a:cubicBezTo>
                  <a:pt x="554" y="998"/>
                  <a:pt x="557" y="1002"/>
                  <a:pt x="559" y="1006"/>
                </a:cubicBezTo>
                <a:cubicBezTo>
                  <a:pt x="562" y="1010"/>
                  <a:pt x="565" y="1015"/>
                  <a:pt x="568" y="1020"/>
                </a:cubicBezTo>
                <a:cubicBezTo>
                  <a:pt x="568" y="1020"/>
                  <a:pt x="568" y="1021"/>
                  <a:pt x="568" y="1022"/>
                </a:cubicBezTo>
                <a:cubicBezTo>
                  <a:pt x="568" y="1025"/>
                  <a:pt x="569" y="1026"/>
                  <a:pt x="571" y="1028"/>
                </a:cubicBezTo>
                <a:cubicBezTo>
                  <a:pt x="576" y="1034"/>
                  <a:pt x="582" y="1037"/>
                  <a:pt x="588" y="1041"/>
                </a:cubicBezTo>
                <a:cubicBezTo>
                  <a:pt x="589" y="1042"/>
                  <a:pt x="591" y="1042"/>
                  <a:pt x="592" y="1043"/>
                </a:cubicBezTo>
                <a:cubicBezTo>
                  <a:pt x="595" y="1044"/>
                  <a:pt x="599" y="1046"/>
                  <a:pt x="601" y="1048"/>
                </a:cubicBezTo>
                <a:cubicBezTo>
                  <a:pt x="604" y="1052"/>
                  <a:pt x="608" y="1055"/>
                  <a:pt x="611" y="1058"/>
                </a:cubicBezTo>
                <a:cubicBezTo>
                  <a:pt x="612" y="1058"/>
                  <a:pt x="613" y="1060"/>
                  <a:pt x="613" y="1061"/>
                </a:cubicBezTo>
                <a:cubicBezTo>
                  <a:pt x="613" y="1062"/>
                  <a:pt x="613" y="1064"/>
                  <a:pt x="613" y="1065"/>
                </a:cubicBezTo>
                <a:cubicBezTo>
                  <a:pt x="614" y="1068"/>
                  <a:pt x="615" y="1071"/>
                  <a:pt x="614" y="1074"/>
                </a:cubicBezTo>
                <a:cubicBezTo>
                  <a:pt x="613" y="1075"/>
                  <a:pt x="614" y="1076"/>
                  <a:pt x="614" y="1077"/>
                </a:cubicBezTo>
                <a:cubicBezTo>
                  <a:pt x="616" y="1083"/>
                  <a:pt x="615" y="1089"/>
                  <a:pt x="614" y="1094"/>
                </a:cubicBezTo>
                <a:cubicBezTo>
                  <a:pt x="614" y="1095"/>
                  <a:pt x="614" y="1096"/>
                  <a:pt x="614" y="1097"/>
                </a:cubicBezTo>
                <a:cubicBezTo>
                  <a:pt x="616" y="1105"/>
                  <a:pt x="615" y="1114"/>
                  <a:pt x="615" y="1123"/>
                </a:cubicBezTo>
                <a:cubicBezTo>
                  <a:pt x="615" y="1125"/>
                  <a:pt x="615" y="1128"/>
                  <a:pt x="614" y="1130"/>
                </a:cubicBezTo>
                <a:cubicBezTo>
                  <a:pt x="614" y="1133"/>
                  <a:pt x="613" y="1136"/>
                  <a:pt x="612" y="1138"/>
                </a:cubicBezTo>
                <a:cubicBezTo>
                  <a:pt x="612" y="1140"/>
                  <a:pt x="612" y="1142"/>
                  <a:pt x="613" y="1143"/>
                </a:cubicBezTo>
                <a:cubicBezTo>
                  <a:pt x="613" y="1146"/>
                  <a:pt x="613" y="1149"/>
                  <a:pt x="612" y="1151"/>
                </a:cubicBezTo>
                <a:cubicBezTo>
                  <a:pt x="611" y="1154"/>
                  <a:pt x="611" y="1156"/>
                  <a:pt x="612" y="1159"/>
                </a:cubicBezTo>
                <a:cubicBezTo>
                  <a:pt x="614" y="1162"/>
                  <a:pt x="613" y="1166"/>
                  <a:pt x="614" y="1169"/>
                </a:cubicBezTo>
                <a:cubicBezTo>
                  <a:pt x="615" y="1171"/>
                  <a:pt x="614" y="1173"/>
                  <a:pt x="614" y="1174"/>
                </a:cubicBezTo>
                <a:cubicBezTo>
                  <a:pt x="614" y="1176"/>
                  <a:pt x="614" y="1177"/>
                  <a:pt x="615" y="1179"/>
                </a:cubicBezTo>
                <a:cubicBezTo>
                  <a:pt x="615" y="1180"/>
                  <a:pt x="615" y="1181"/>
                  <a:pt x="615" y="1183"/>
                </a:cubicBezTo>
                <a:cubicBezTo>
                  <a:pt x="614" y="1185"/>
                  <a:pt x="613" y="1187"/>
                  <a:pt x="613" y="1189"/>
                </a:cubicBezTo>
                <a:cubicBezTo>
                  <a:pt x="611" y="1195"/>
                  <a:pt x="610" y="1202"/>
                  <a:pt x="608" y="1208"/>
                </a:cubicBezTo>
                <a:cubicBezTo>
                  <a:pt x="608" y="1210"/>
                  <a:pt x="608" y="1211"/>
                  <a:pt x="607" y="1211"/>
                </a:cubicBezTo>
                <a:cubicBezTo>
                  <a:pt x="605" y="1213"/>
                  <a:pt x="605" y="1215"/>
                  <a:pt x="606" y="1217"/>
                </a:cubicBezTo>
                <a:cubicBezTo>
                  <a:pt x="608" y="1220"/>
                  <a:pt x="608" y="1224"/>
                  <a:pt x="610" y="1227"/>
                </a:cubicBezTo>
                <a:cubicBezTo>
                  <a:pt x="612" y="1229"/>
                  <a:pt x="612" y="1232"/>
                  <a:pt x="610" y="1235"/>
                </a:cubicBezTo>
                <a:cubicBezTo>
                  <a:pt x="609" y="1237"/>
                  <a:pt x="609" y="1238"/>
                  <a:pt x="609" y="1240"/>
                </a:cubicBezTo>
                <a:cubicBezTo>
                  <a:pt x="609" y="1242"/>
                  <a:pt x="609" y="1243"/>
                  <a:pt x="609" y="1245"/>
                </a:cubicBezTo>
                <a:cubicBezTo>
                  <a:pt x="609" y="1247"/>
                  <a:pt x="610" y="1249"/>
                  <a:pt x="611" y="1251"/>
                </a:cubicBezTo>
                <a:cubicBezTo>
                  <a:pt x="612" y="1252"/>
                  <a:pt x="613" y="1253"/>
                  <a:pt x="613" y="1254"/>
                </a:cubicBezTo>
                <a:cubicBezTo>
                  <a:pt x="610" y="1253"/>
                  <a:pt x="610" y="1254"/>
                  <a:pt x="609" y="1256"/>
                </a:cubicBezTo>
                <a:cubicBezTo>
                  <a:pt x="609" y="1257"/>
                  <a:pt x="609" y="1258"/>
                  <a:pt x="609" y="1259"/>
                </a:cubicBezTo>
                <a:cubicBezTo>
                  <a:pt x="609" y="1262"/>
                  <a:pt x="610" y="1264"/>
                  <a:pt x="610" y="1267"/>
                </a:cubicBezTo>
                <a:cubicBezTo>
                  <a:pt x="610" y="1268"/>
                  <a:pt x="612" y="1269"/>
                  <a:pt x="613" y="1268"/>
                </a:cubicBezTo>
                <a:cubicBezTo>
                  <a:pt x="614" y="1267"/>
                  <a:pt x="615" y="1266"/>
                  <a:pt x="615" y="1264"/>
                </a:cubicBezTo>
                <a:cubicBezTo>
                  <a:pt x="615" y="1262"/>
                  <a:pt x="615" y="1260"/>
                  <a:pt x="615" y="1258"/>
                </a:cubicBezTo>
                <a:cubicBezTo>
                  <a:pt x="615" y="1257"/>
                  <a:pt x="615" y="1255"/>
                  <a:pt x="614" y="1254"/>
                </a:cubicBezTo>
                <a:cubicBezTo>
                  <a:pt x="615" y="1254"/>
                  <a:pt x="616" y="1254"/>
                  <a:pt x="618" y="1253"/>
                </a:cubicBezTo>
                <a:cubicBezTo>
                  <a:pt x="619" y="1252"/>
                  <a:pt x="619" y="1253"/>
                  <a:pt x="619" y="1254"/>
                </a:cubicBezTo>
                <a:cubicBezTo>
                  <a:pt x="619" y="1255"/>
                  <a:pt x="620" y="1256"/>
                  <a:pt x="620" y="1256"/>
                </a:cubicBezTo>
                <a:cubicBezTo>
                  <a:pt x="620" y="1260"/>
                  <a:pt x="619" y="1264"/>
                  <a:pt x="619" y="1268"/>
                </a:cubicBezTo>
                <a:cubicBezTo>
                  <a:pt x="619" y="1271"/>
                  <a:pt x="619" y="1275"/>
                  <a:pt x="618" y="1279"/>
                </a:cubicBezTo>
                <a:cubicBezTo>
                  <a:pt x="618" y="1280"/>
                  <a:pt x="618" y="1281"/>
                  <a:pt x="619" y="1282"/>
                </a:cubicBezTo>
                <a:cubicBezTo>
                  <a:pt x="621" y="1285"/>
                  <a:pt x="620" y="1289"/>
                  <a:pt x="618" y="1292"/>
                </a:cubicBezTo>
                <a:cubicBezTo>
                  <a:pt x="618" y="1293"/>
                  <a:pt x="618" y="1293"/>
                  <a:pt x="617" y="1292"/>
                </a:cubicBezTo>
                <a:cubicBezTo>
                  <a:pt x="617" y="1292"/>
                  <a:pt x="616" y="1292"/>
                  <a:pt x="616" y="1292"/>
                </a:cubicBezTo>
                <a:cubicBezTo>
                  <a:pt x="616" y="1291"/>
                  <a:pt x="616" y="1290"/>
                  <a:pt x="615" y="1289"/>
                </a:cubicBezTo>
                <a:cubicBezTo>
                  <a:pt x="613" y="1289"/>
                  <a:pt x="611" y="1290"/>
                  <a:pt x="610" y="1292"/>
                </a:cubicBezTo>
                <a:cubicBezTo>
                  <a:pt x="610" y="1295"/>
                  <a:pt x="608" y="1298"/>
                  <a:pt x="607" y="1300"/>
                </a:cubicBezTo>
                <a:cubicBezTo>
                  <a:pt x="607" y="1301"/>
                  <a:pt x="607" y="1301"/>
                  <a:pt x="607" y="1302"/>
                </a:cubicBezTo>
                <a:cubicBezTo>
                  <a:pt x="608" y="1302"/>
                  <a:pt x="608" y="1302"/>
                  <a:pt x="609" y="1302"/>
                </a:cubicBezTo>
                <a:cubicBezTo>
                  <a:pt x="610" y="1302"/>
                  <a:pt x="610" y="1301"/>
                  <a:pt x="611" y="1301"/>
                </a:cubicBezTo>
                <a:cubicBezTo>
                  <a:pt x="613" y="1301"/>
                  <a:pt x="614" y="1301"/>
                  <a:pt x="616" y="1302"/>
                </a:cubicBezTo>
                <a:cubicBezTo>
                  <a:pt x="617" y="1302"/>
                  <a:pt x="618" y="1304"/>
                  <a:pt x="617" y="1305"/>
                </a:cubicBezTo>
                <a:cubicBezTo>
                  <a:pt x="617" y="1307"/>
                  <a:pt x="616" y="1309"/>
                  <a:pt x="617" y="1311"/>
                </a:cubicBezTo>
                <a:cubicBezTo>
                  <a:pt x="617" y="1311"/>
                  <a:pt x="617" y="1311"/>
                  <a:pt x="617" y="1311"/>
                </a:cubicBezTo>
                <a:cubicBezTo>
                  <a:pt x="617" y="1311"/>
                  <a:pt x="617" y="1311"/>
                  <a:pt x="617" y="1312"/>
                </a:cubicBezTo>
                <a:cubicBezTo>
                  <a:pt x="617" y="1312"/>
                  <a:pt x="618" y="1312"/>
                  <a:pt x="617" y="1312"/>
                </a:cubicBezTo>
                <a:cubicBezTo>
                  <a:pt x="617" y="1312"/>
                  <a:pt x="617" y="1312"/>
                  <a:pt x="617" y="1312"/>
                </a:cubicBezTo>
                <a:cubicBezTo>
                  <a:pt x="617" y="1312"/>
                  <a:pt x="617" y="1312"/>
                  <a:pt x="617" y="1311"/>
                </a:cubicBezTo>
                <a:cubicBezTo>
                  <a:pt x="617" y="1311"/>
                  <a:pt x="617" y="1311"/>
                  <a:pt x="617" y="1311"/>
                </a:cubicBezTo>
                <a:cubicBezTo>
                  <a:pt x="615" y="1312"/>
                  <a:pt x="614" y="1312"/>
                  <a:pt x="612" y="1313"/>
                </a:cubicBezTo>
                <a:cubicBezTo>
                  <a:pt x="611" y="1314"/>
                  <a:pt x="611" y="1315"/>
                  <a:pt x="611" y="1316"/>
                </a:cubicBezTo>
                <a:cubicBezTo>
                  <a:pt x="611" y="1317"/>
                  <a:pt x="612" y="1318"/>
                  <a:pt x="612" y="1319"/>
                </a:cubicBezTo>
                <a:cubicBezTo>
                  <a:pt x="612" y="1320"/>
                  <a:pt x="613" y="1321"/>
                  <a:pt x="613" y="1321"/>
                </a:cubicBezTo>
                <a:cubicBezTo>
                  <a:pt x="613" y="1322"/>
                  <a:pt x="613" y="1324"/>
                  <a:pt x="614" y="1325"/>
                </a:cubicBezTo>
                <a:cubicBezTo>
                  <a:pt x="614" y="1325"/>
                  <a:pt x="615" y="1325"/>
                  <a:pt x="615" y="1325"/>
                </a:cubicBezTo>
                <a:cubicBezTo>
                  <a:pt x="615" y="1325"/>
                  <a:pt x="615" y="1325"/>
                  <a:pt x="615" y="1325"/>
                </a:cubicBezTo>
                <a:cubicBezTo>
                  <a:pt x="615" y="1325"/>
                  <a:pt x="615" y="1325"/>
                  <a:pt x="615" y="1325"/>
                </a:cubicBezTo>
                <a:cubicBezTo>
                  <a:pt x="615" y="1326"/>
                  <a:pt x="615" y="1326"/>
                  <a:pt x="615" y="1326"/>
                </a:cubicBezTo>
                <a:cubicBezTo>
                  <a:pt x="615" y="1326"/>
                  <a:pt x="615" y="1326"/>
                  <a:pt x="615" y="1325"/>
                </a:cubicBezTo>
                <a:cubicBezTo>
                  <a:pt x="615" y="1326"/>
                  <a:pt x="615" y="1327"/>
                  <a:pt x="615" y="1328"/>
                </a:cubicBezTo>
                <a:cubicBezTo>
                  <a:pt x="614" y="1330"/>
                  <a:pt x="614" y="1330"/>
                  <a:pt x="617" y="1332"/>
                </a:cubicBezTo>
                <a:cubicBezTo>
                  <a:pt x="618" y="1332"/>
                  <a:pt x="619" y="1333"/>
                  <a:pt x="620" y="1334"/>
                </a:cubicBezTo>
                <a:cubicBezTo>
                  <a:pt x="620" y="1334"/>
                  <a:pt x="620" y="1334"/>
                  <a:pt x="620" y="1334"/>
                </a:cubicBezTo>
                <a:cubicBezTo>
                  <a:pt x="620" y="1334"/>
                  <a:pt x="620" y="1334"/>
                  <a:pt x="621" y="1334"/>
                </a:cubicBezTo>
                <a:cubicBezTo>
                  <a:pt x="622" y="1336"/>
                  <a:pt x="622" y="1336"/>
                  <a:pt x="621" y="1338"/>
                </a:cubicBezTo>
                <a:cubicBezTo>
                  <a:pt x="621" y="1338"/>
                  <a:pt x="620" y="1338"/>
                  <a:pt x="620" y="1338"/>
                </a:cubicBezTo>
                <a:cubicBezTo>
                  <a:pt x="620" y="1338"/>
                  <a:pt x="620" y="1338"/>
                  <a:pt x="620" y="1338"/>
                </a:cubicBezTo>
                <a:cubicBezTo>
                  <a:pt x="621" y="1338"/>
                  <a:pt x="621" y="1338"/>
                  <a:pt x="621" y="1338"/>
                </a:cubicBezTo>
                <a:cubicBezTo>
                  <a:pt x="621" y="1340"/>
                  <a:pt x="622" y="1343"/>
                  <a:pt x="621" y="1346"/>
                </a:cubicBezTo>
                <a:cubicBezTo>
                  <a:pt x="620" y="1347"/>
                  <a:pt x="621" y="1348"/>
                  <a:pt x="623" y="1348"/>
                </a:cubicBezTo>
                <a:cubicBezTo>
                  <a:pt x="624" y="1348"/>
                  <a:pt x="625" y="1348"/>
                  <a:pt x="625" y="1346"/>
                </a:cubicBezTo>
                <a:cubicBezTo>
                  <a:pt x="625" y="1344"/>
                  <a:pt x="625" y="1342"/>
                  <a:pt x="626" y="1340"/>
                </a:cubicBezTo>
                <a:cubicBezTo>
                  <a:pt x="626" y="1340"/>
                  <a:pt x="626" y="1340"/>
                  <a:pt x="626" y="1340"/>
                </a:cubicBezTo>
                <a:cubicBezTo>
                  <a:pt x="625" y="1339"/>
                  <a:pt x="625" y="1339"/>
                  <a:pt x="625" y="1339"/>
                </a:cubicBezTo>
                <a:cubicBezTo>
                  <a:pt x="626" y="1339"/>
                  <a:pt x="626" y="1339"/>
                  <a:pt x="626" y="1339"/>
                </a:cubicBezTo>
                <a:cubicBezTo>
                  <a:pt x="626" y="1340"/>
                  <a:pt x="626" y="1340"/>
                  <a:pt x="626" y="1340"/>
                </a:cubicBezTo>
                <a:cubicBezTo>
                  <a:pt x="627" y="1341"/>
                  <a:pt x="627" y="1342"/>
                  <a:pt x="627" y="1343"/>
                </a:cubicBezTo>
                <a:cubicBezTo>
                  <a:pt x="627" y="1344"/>
                  <a:pt x="628" y="1345"/>
                  <a:pt x="628" y="1346"/>
                </a:cubicBezTo>
                <a:cubicBezTo>
                  <a:pt x="629" y="1347"/>
                  <a:pt x="630" y="1348"/>
                  <a:pt x="629" y="1349"/>
                </a:cubicBezTo>
                <a:cubicBezTo>
                  <a:pt x="628" y="1350"/>
                  <a:pt x="627" y="1351"/>
                  <a:pt x="626" y="1351"/>
                </a:cubicBezTo>
                <a:cubicBezTo>
                  <a:pt x="625" y="1351"/>
                  <a:pt x="625" y="1351"/>
                  <a:pt x="624" y="1351"/>
                </a:cubicBezTo>
                <a:cubicBezTo>
                  <a:pt x="624" y="1351"/>
                  <a:pt x="623" y="1351"/>
                  <a:pt x="623" y="1352"/>
                </a:cubicBezTo>
                <a:cubicBezTo>
                  <a:pt x="623" y="1352"/>
                  <a:pt x="623" y="1353"/>
                  <a:pt x="624" y="1353"/>
                </a:cubicBezTo>
                <a:cubicBezTo>
                  <a:pt x="624" y="1353"/>
                  <a:pt x="625" y="1354"/>
                  <a:pt x="626" y="1354"/>
                </a:cubicBezTo>
                <a:cubicBezTo>
                  <a:pt x="629" y="1354"/>
                  <a:pt x="630" y="1356"/>
                  <a:pt x="631" y="1358"/>
                </a:cubicBezTo>
                <a:cubicBezTo>
                  <a:pt x="630" y="1360"/>
                  <a:pt x="631" y="1361"/>
                  <a:pt x="632" y="1362"/>
                </a:cubicBezTo>
                <a:cubicBezTo>
                  <a:pt x="634" y="1363"/>
                  <a:pt x="636" y="1364"/>
                  <a:pt x="638" y="1366"/>
                </a:cubicBezTo>
                <a:cubicBezTo>
                  <a:pt x="638" y="1366"/>
                  <a:pt x="638" y="1366"/>
                  <a:pt x="638" y="1366"/>
                </a:cubicBezTo>
                <a:cubicBezTo>
                  <a:pt x="638" y="1366"/>
                  <a:pt x="638" y="1366"/>
                  <a:pt x="638" y="1366"/>
                </a:cubicBezTo>
                <a:cubicBezTo>
                  <a:pt x="639" y="1366"/>
                  <a:pt x="639" y="1367"/>
                  <a:pt x="639" y="1367"/>
                </a:cubicBezTo>
                <a:cubicBezTo>
                  <a:pt x="640" y="1367"/>
                  <a:pt x="640" y="1367"/>
                  <a:pt x="640" y="1367"/>
                </a:cubicBezTo>
                <a:cubicBezTo>
                  <a:pt x="640" y="1368"/>
                  <a:pt x="640" y="1368"/>
                  <a:pt x="640" y="1368"/>
                </a:cubicBezTo>
                <a:cubicBezTo>
                  <a:pt x="640" y="1367"/>
                  <a:pt x="640" y="1367"/>
                  <a:pt x="640" y="1367"/>
                </a:cubicBezTo>
                <a:cubicBezTo>
                  <a:pt x="640" y="1367"/>
                  <a:pt x="639" y="1367"/>
                  <a:pt x="639" y="1367"/>
                </a:cubicBezTo>
                <a:cubicBezTo>
                  <a:pt x="639" y="1367"/>
                  <a:pt x="638" y="1367"/>
                  <a:pt x="638" y="1366"/>
                </a:cubicBezTo>
                <a:cubicBezTo>
                  <a:pt x="638" y="1366"/>
                  <a:pt x="638" y="1366"/>
                  <a:pt x="638" y="1366"/>
                </a:cubicBezTo>
                <a:cubicBezTo>
                  <a:pt x="638" y="1366"/>
                  <a:pt x="638" y="1366"/>
                  <a:pt x="638" y="1366"/>
                </a:cubicBezTo>
                <a:cubicBezTo>
                  <a:pt x="635" y="1366"/>
                  <a:pt x="633" y="1365"/>
                  <a:pt x="631" y="1364"/>
                </a:cubicBezTo>
                <a:cubicBezTo>
                  <a:pt x="630" y="1364"/>
                  <a:pt x="630" y="1364"/>
                  <a:pt x="629" y="1364"/>
                </a:cubicBezTo>
                <a:cubicBezTo>
                  <a:pt x="629" y="1364"/>
                  <a:pt x="628" y="1364"/>
                  <a:pt x="628" y="1364"/>
                </a:cubicBezTo>
                <a:cubicBezTo>
                  <a:pt x="628" y="1365"/>
                  <a:pt x="629" y="1366"/>
                  <a:pt x="629" y="1366"/>
                </a:cubicBezTo>
                <a:cubicBezTo>
                  <a:pt x="632" y="1368"/>
                  <a:pt x="636" y="1371"/>
                  <a:pt x="639" y="1374"/>
                </a:cubicBezTo>
                <a:cubicBezTo>
                  <a:pt x="640" y="1375"/>
                  <a:pt x="642" y="1376"/>
                  <a:pt x="643" y="1376"/>
                </a:cubicBezTo>
                <a:cubicBezTo>
                  <a:pt x="644" y="1376"/>
                  <a:pt x="646" y="1376"/>
                  <a:pt x="647" y="1376"/>
                </a:cubicBezTo>
                <a:cubicBezTo>
                  <a:pt x="647" y="1376"/>
                  <a:pt x="647" y="1375"/>
                  <a:pt x="648" y="1374"/>
                </a:cubicBezTo>
                <a:cubicBezTo>
                  <a:pt x="648" y="1374"/>
                  <a:pt x="648" y="1374"/>
                  <a:pt x="648" y="1374"/>
                </a:cubicBezTo>
                <a:cubicBezTo>
                  <a:pt x="649" y="1374"/>
                  <a:pt x="649" y="1374"/>
                  <a:pt x="649" y="1375"/>
                </a:cubicBezTo>
                <a:cubicBezTo>
                  <a:pt x="649" y="1375"/>
                  <a:pt x="649" y="1376"/>
                  <a:pt x="649" y="1376"/>
                </a:cubicBezTo>
                <a:cubicBezTo>
                  <a:pt x="649" y="1376"/>
                  <a:pt x="650" y="1377"/>
                  <a:pt x="650" y="1377"/>
                </a:cubicBezTo>
                <a:cubicBezTo>
                  <a:pt x="652" y="1377"/>
                  <a:pt x="653" y="1378"/>
                  <a:pt x="653" y="1380"/>
                </a:cubicBezTo>
                <a:cubicBezTo>
                  <a:pt x="653" y="1381"/>
                  <a:pt x="653" y="1381"/>
                  <a:pt x="654" y="1381"/>
                </a:cubicBezTo>
                <a:cubicBezTo>
                  <a:pt x="656" y="1382"/>
                  <a:pt x="657" y="1383"/>
                  <a:pt x="658" y="1385"/>
                </a:cubicBezTo>
                <a:cubicBezTo>
                  <a:pt x="658" y="1386"/>
                  <a:pt x="660" y="1387"/>
                  <a:pt x="661" y="1387"/>
                </a:cubicBezTo>
                <a:cubicBezTo>
                  <a:pt x="662" y="1385"/>
                  <a:pt x="662" y="1384"/>
                  <a:pt x="664" y="1383"/>
                </a:cubicBezTo>
                <a:cubicBezTo>
                  <a:pt x="665" y="1383"/>
                  <a:pt x="665" y="1383"/>
                  <a:pt x="665" y="1384"/>
                </a:cubicBezTo>
                <a:cubicBezTo>
                  <a:pt x="666" y="1384"/>
                  <a:pt x="666" y="1385"/>
                  <a:pt x="666" y="1385"/>
                </a:cubicBezTo>
                <a:cubicBezTo>
                  <a:pt x="665" y="1386"/>
                  <a:pt x="665" y="1388"/>
                  <a:pt x="666" y="1388"/>
                </a:cubicBezTo>
                <a:cubicBezTo>
                  <a:pt x="667" y="1389"/>
                  <a:pt x="668" y="1389"/>
                  <a:pt x="669" y="1390"/>
                </a:cubicBezTo>
                <a:cubicBezTo>
                  <a:pt x="670" y="1390"/>
                  <a:pt x="671" y="1389"/>
                  <a:pt x="672" y="1389"/>
                </a:cubicBezTo>
                <a:cubicBezTo>
                  <a:pt x="673" y="1389"/>
                  <a:pt x="674" y="1389"/>
                  <a:pt x="675" y="1389"/>
                </a:cubicBezTo>
                <a:cubicBezTo>
                  <a:pt x="677" y="1390"/>
                  <a:pt x="677" y="1390"/>
                  <a:pt x="677" y="1387"/>
                </a:cubicBezTo>
                <a:cubicBezTo>
                  <a:pt x="677" y="1387"/>
                  <a:pt x="676" y="1387"/>
                  <a:pt x="676" y="1387"/>
                </a:cubicBezTo>
                <a:cubicBezTo>
                  <a:pt x="676" y="1387"/>
                  <a:pt x="676" y="1387"/>
                  <a:pt x="676" y="1387"/>
                </a:cubicBezTo>
                <a:cubicBezTo>
                  <a:pt x="676" y="1387"/>
                  <a:pt x="676" y="1386"/>
                  <a:pt x="676" y="1386"/>
                </a:cubicBezTo>
                <a:cubicBezTo>
                  <a:pt x="676" y="1386"/>
                  <a:pt x="676" y="1386"/>
                  <a:pt x="676" y="1387"/>
                </a:cubicBezTo>
                <a:cubicBezTo>
                  <a:pt x="676" y="1387"/>
                  <a:pt x="677" y="1387"/>
                  <a:pt x="677" y="1387"/>
                </a:cubicBezTo>
                <a:cubicBezTo>
                  <a:pt x="677" y="1387"/>
                  <a:pt x="677" y="1387"/>
                  <a:pt x="677" y="1387"/>
                </a:cubicBezTo>
                <a:cubicBezTo>
                  <a:pt x="678" y="1387"/>
                  <a:pt x="680" y="1386"/>
                  <a:pt x="681" y="1386"/>
                </a:cubicBezTo>
                <a:cubicBezTo>
                  <a:pt x="683" y="1385"/>
                  <a:pt x="683" y="1384"/>
                  <a:pt x="683" y="1383"/>
                </a:cubicBezTo>
                <a:cubicBezTo>
                  <a:pt x="684" y="1382"/>
                  <a:pt x="684" y="1382"/>
                  <a:pt x="685" y="1382"/>
                </a:cubicBezTo>
                <a:cubicBezTo>
                  <a:pt x="686" y="1383"/>
                  <a:pt x="687" y="1383"/>
                  <a:pt x="688" y="1383"/>
                </a:cubicBezTo>
                <a:cubicBezTo>
                  <a:pt x="690" y="1382"/>
                  <a:pt x="692" y="1380"/>
                  <a:pt x="694" y="1379"/>
                </a:cubicBezTo>
                <a:cubicBezTo>
                  <a:pt x="694" y="1379"/>
                  <a:pt x="694" y="1378"/>
                  <a:pt x="693" y="1378"/>
                </a:cubicBezTo>
                <a:cubicBezTo>
                  <a:pt x="693" y="1377"/>
                  <a:pt x="691" y="1378"/>
                  <a:pt x="690" y="1377"/>
                </a:cubicBezTo>
                <a:cubicBezTo>
                  <a:pt x="687" y="1376"/>
                  <a:pt x="683" y="1374"/>
                  <a:pt x="679" y="1372"/>
                </a:cubicBezTo>
                <a:cubicBezTo>
                  <a:pt x="679" y="1372"/>
                  <a:pt x="678" y="1372"/>
                  <a:pt x="678" y="1371"/>
                </a:cubicBezTo>
                <a:cubicBezTo>
                  <a:pt x="676" y="1369"/>
                  <a:pt x="674" y="1368"/>
                  <a:pt x="672" y="1366"/>
                </a:cubicBezTo>
                <a:cubicBezTo>
                  <a:pt x="671" y="1365"/>
                  <a:pt x="671" y="1364"/>
                  <a:pt x="671" y="1362"/>
                </a:cubicBezTo>
                <a:cubicBezTo>
                  <a:pt x="670" y="1358"/>
                  <a:pt x="668" y="1357"/>
                  <a:pt x="664" y="1357"/>
                </a:cubicBezTo>
                <a:cubicBezTo>
                  <a:pt x="663" y="1357"/>
                  <a:pt x="662" y="1357"/>
                  <a:pt x="661" y="1357"/>
                </a:cubicBezTo>
                <a:cubicBezTo>
                  <a:pt x="661" y="1357"/>
                  <a:pt x="661" y="1357"/>
                  <a:pt x="661" y="1357"/>
                </a:cubicBezTo>
                <a:cubicBezTo>
                  <a:pt x="661" y="1357"/>
                  <a:pt x="661" y="1357"/>
                  <a:pt x="661" y="1357"/>
                </a:cubicBezTo>
                <a:cubicBezTo>
                  <a:pt x="660" y="1358"/>
                  <a:pt x="660" y="1359"/>
                  <a:pt x="660" y="1359"/>
                </a:cubicBezTo>
                <a:cubicBezTo>
                  <a:pt x="657" y="1361"/>
                  <a:pt x="657" y="1363"/>
                  <a:pt x="657" y="1366"/>
                </a:cubicBezTo>
                <a:cubicBezTo>
                  <a:pt x="657" y="1366"/>
                  <a:pt x="657" y="1366"/>
                  <a:pt x="657" y="1367"/>
                </a:cubicBezTo>
                <a:cubicBezTo>
                  <a:pt x="657" y="1367"/>
                  <a:pt x="656" y="1367"/>
                  <a:pt x="656" y="1367"/>
                </a:cubicBezTo>
                <a:cubicBezTo>
                  <a:pt x="656" y="1367"/>
                  <a:pt x="656" y="1367"/>
                  <a:pt x="656" y="1366"/>
                </a:cubicBezTo>
                <a:cubicBezTo>
                  <a:pt x="656" y="1365"/>
                  <a:pt x="655" y="1364"/>
                  <a:pt x="656" y="1363"/>
                </a:cubicBezTo>
                <a:cubicBezTo>
                  <a:pt x="656" y="1360"/>
                  <a:pt x="658" y="1358"/>
                  <a:pt x="661" y="1357"/>
                </a:cubicBezTo>
                <a:cubicBezTo>
                  <a:pt x="661" y="1357"/>
                  <a:pt x="661" y="1357"/>
                  <a:pt x="661" y="1357"/>
                </a:cubicBezTo>
                <a:cubicBezTo>
                  <a:pt x="661" y="1357"/>
                  <a:pt x="661" y="1357"/>
                  <a:pt x="661" y="1357"/>
                </a:cubicBezTo>
                <a:cubicBezTo>
                  <a:pt x="662" y="1355"/>
                  <a:pt x="663" y="1354"/>
                  <a:pt x="665" y="1354"/>
                </a:cubicBezTo>
                <a:cubicBezTo>
                  <a:pt x="665" y="1355"/>
                  <a:pt x="665" y="1355"/>
                  <a:pt x="666" y="1355"/>
                </a:cubicBezTo>
                <a:cubicBezTo>
                  <a:pt x="666" y="1354"/>
                  <a:pt x="667" y="1354"/>
                  <a:pt x="667" y="1354"/>
                </a:cubicBezTo>
                <a:cubicBezTo>
                  <a:pt x="667" y="1353"/>
                  <a:pt x="667" y="1353"/>
                  <a:pt x="667" y="1352"/>
                </a:cubicBezTo>
                <a:cubicBezTo>
                  <a:pt x="666" y="1350"/>
                  <a:pt x="664" y="1349"/>
                  <a:pt x="663" y="1347"/>
                </a:cubicBezTo>
                <a:cubicBezTo>
                  <a:pt x="662" y="1345"/>
                  <a:pt x="662" y="1342"/>
                  <a:pt x="661" y="1340"/>
                </a:cubicBezTo>
                <a:cubicBezTo>
                  <a:pt x="660" y="1338"/>
                  <a:pt x="661" y="1335"/>
                  <a:pt x="662" y="1334"/>
                </a:cubicBezTo>
                <a:cubicBezTo>
                  <a:pt x="663" y="1333"/>
                  <a:pt x="664" y="1332"/>
                  <a:pt x="665" y="1331"/>
                </a:cubicBezTo>
                <a:cubicBezTo>
                  <a:pt x="667" y="1329"/>
                  <a:pt x="668" y="1327"/>
                  <a:pt x="668" y="1324"/>
                </a:cubicBezTo>
                <a:cubicBezTo>
                  <a:pt x="668" y="1322"/>
                  <a:pt x="668" y="1320"/>
                  <a:pt x="670" y="1318"/>
                </a:cubicBezTo>
                <a:cubicBezTo>
                  <a:pt x="672" y="1316"/>
                  <a:pt x="674" y="1314"/>
                  <a:pt x="675" y="1312"/>
                </a:cubicBezTo>
                <a:cubicBezTo>
                  <a:pt x="676" y="1311"/>
                  <a:pt x="677" y="1309"/>
                  <a:pt x="676" y="1308"/>
                </a:cubicBezTo>
                <a:cubicBezTo>
                  <a:pt x="676" y="1307"/>
                  <a:pt x="676" y="1306"/>
                  <a:pt x="676" y="1305"/>
                </a:cubicBezTo>
                <a:cubicBezTo>
                  <a:pt x="675" y="1303"/>
                  <a:pt x="675" y="1301"/>
                  <a:pt x="672" y="1301"/>
                </a:cubicBezTo>
                <a:cubicBezTo>
                  <a:pt x="670" y="1301"/>
                  <a:pt x="669" y="1300"/>
                  <a:pt x="668" y="1299"/>
                </a:cubicBezTo>
                <a:cubicBezTo>
                  <a:pt x="666" y="1298"/>
                  <a:pt x="665" y="1297"/>
                  <a:pt x="664" y="1296"/>
                </a:cubicBezTo>
                <a:cubicBezTo>
                  <a:pt x="661" y="1293"/>
                  <a:pt x="661" y="1290"/>
                  <a:pt x="663" y="1287"/>
                </a:cubicBezTo>
                <a:cubicBezTo>
                  <a:pt x="664" y="1286"/>
                  <a:pt x="665" y="1285"/>
                  <a:pt x="666" y="1284"/>
                </a:cubicBezTo>
                <a:cubicBezTo>
                  <a:pt x="668" y="1283"/>
                  <a:pt x="670" y="1283"/>
                  <a:pt x="671" y="1282"/>
                </a:cubicBezTo>
                <a:cubicBezTo>
                  <a:pt x="672" y="1282"/>
                  <a:pt x="673" y="1281"/>
                  <a:pt x="673" y="1281"/>
                </a:cubicBezTo>
                <a:cubicBezTo>
                  <a:pt x="673" y="1278"/>
                  <a:pt x="675" y="1276"/>
                  <a:pt x="674" y="1273"/>
                </a:cubicBezTo>
                <a:cubicBezTo>
                  <a:pt x="673" y="1273"/>
                  <a:pt x="673" y="1272"/>
                  <a:pt x="673" y="1271"/>
                </a:cubicBezTo>
                <a:cubicBezTo>
                  <a:pt x="673" y="1268"/>
                  <a:pt x="674" y="1266"/>
                  <a:pt x="675" y="1264"/>
                </a:cubicBezTo>
                <a:cubicBezTo>
                  <a:pt x="677" y="1263"/>
                  <a:pt x="677" y="1262"/>
                  <a:pt x="678" y="1261"/>
                </a:cubicBezTo>
                <a:cubicBezTo>
                  <a:pt x="678" y="1261"/>
                  <a:pt x="678" y="1261"/>
                  <a:pt x="678" y="1261"/>
                </a:cubicBezTo>
                <a:cubicBezTo>
                  <a:pt x="678" y="1261"/>
                  <a:pt x="678" y="1260"/>
                  <a:pt x="678" y="1260"/>
                </a:cubicBezTo>
                <a:cubicBezTo>
                  <a:pt x="677" y="1260"/>
                  <a:pt x="677" y="1260"/>
                  <a:pt x="676" y="1260"/>
                </a:cubicBezTo>
                <a:cubicBezTo>
                  <a:pt x="676" y="1260"/>
                  <a:pt x="676" y="1259"/>
                  <a:pt x="676" y="1259"/>
                </a:cubicBezTo>
                <a:cubicBezTo>
                  <a:pt x="676" y="1259"/>
                  <a:pt x="677" y="1259"/>
                  <a:pt x="677" y="1259"/>
                </a:cubicBezTo>
                <a:cubicBezTo>
                  <a:pt x="677" y="1259"/>
                  <a:pt x="678" y="1260"/>
                  <a:pt x="678" y="1260"/>
                </a:cubicBezTo>
                <a:cubicBezTo>
                  <a:pt x="678" y="1260"/>
                  <a:pt x="678" y="1260"/>
                  <a:pt x="679" y="1260"/>
                </a:cubicBezTo>
                <a:cubicBezTo>
                  <a:pt x="679" y="1260"/>
                  <a:pt x="678" y="1261"/>
                  <a:pt x="678" y="1261"/>
                </a:cubicBezTo>
                <a:cubicBezTo>
                  <a:pt x="679" y="1261"/>
                  <a:pt x="680" y="1261"/>
                  <a:pt x="680" y="1261"/>
                </a:cubicBezTo>
                <a:cubicBezTo>
                  <a:pt x="682" y="1261"/>
                  <a:pt x="684" y="1259"/>
                  <a:pt x="683" y="1258"/>
                </a:cubicBezTo>
                <a:cubicBezTo>
                  <a:pt x="683" y="1256"/>
                  <a:pt x="682" y="1255"/>
                  <a:pt x="682" y="1253"/>
                </a:cubicBezTo>
                <a:cubicBezTo>
                  <a:pt x="682" y="1253"/>
                  <a:pt x="681" y="1252"/>
                  <a:pt x="680" y="1253"/>
                </a:cubicBezTo>
                <a:cubicBezTo>
                  <a:pt x="679" y="1253"/>
                  <a:pt x="679" y="1253"/>
                  <a:pt x="678" y="1253"/>
                </a:cubicBezTo>
                <a:cubicBezTo>
                  <a:pt x="676" y="1255"/>
                  <a:pt x="673" y="1253"/>
                  <a:pt x="672" y="1251"/>
                </a:cubicBezTo>
                <a:cubicBezTo>
                  <a:pt x="672" y="1249"/>
                  <a:pt x="671" y="1247"/>
                  <a:pt x="671" y="1245"/>
                </a:cubicBezTo>
                <a:cubicBezTo>
                  <a:pt x="671" y="1245"/>
                  <a:pt x="671" y="1244"/>
                  <a:pt x="671" y="1244"/>
                </a:cubicBezTo>
                <a:cubicBezTo>
                  <a:pt x="670" y="1243"/>
                  <a:pt x="672" y="1242"/>
                  <a:pt x="673" y="1242"/>
                </a:cubicBezTo>
                <a:cubicBezTo>
                  <a:pt x="675" y="1243"/>
                  <a:pt x="676" y="1243"/>
                  <a:pt x="678" y="1244"/>
                </a:cubicBezTo>
                <a:cubicBezTo>
                  <a:pt x="680" y="1245"/>
                  <a:pt x="682" y="1245"/>
                  <a:pt x="685" y="1245"/>
                </a:cubicBezTo>
                <a:cubicBezTo>
                  <a:pt x="687" y="1245"/>
                  <a:pt x="690" y="1242"/>
                  <a:pt x="690" y="1240"/>
                </a:cubicBezTo>
                <a:cubicBezTo>
                  <a:pt x="690" y="1238"/>
                  <a:pt x="689" y="1236"/>
                  <a:pt x="689" y="1235"/>
                </a:cubicBezTo>
                <a:cubicBezTo>
                  <a:pt x="689" y="1233"/>
                  <a:pt x="690" y="1231"/>
                  <a:pt x="690" y="1229"/>
                </a:cubicBezTo>
                <a:cubicBezTo>
                  <a:pt x="690" y="1228"/>
                  <a:pt x="690" y="1228"/>
                  <a:pt x="690" y="1228"/>
                </a:cubicBezTo>
                <a:cubicBezTo>
                  <a:pt x="689" y="1227"/>
                  <a:pt x="689" y="1227"/>
                  <a:pt x="689" y="1226"/>
                </a:cubicBezTo>
                <a:cubicBezTo>
                  <a:pt x="689" y="1224"/>
                  <a:pt x="690" y="1223"/>
                  <a:pt x="691" y="1224"/>
                </a:cubicBezTo>
                <a:cubicBezTo>
                  <a:pt x="698" y="1225"/>
                  <a:pt x="704" y="1224"/>
                  <a:pt x="710" y="1222"/>
                </a:cubicBezTo>
                <a:cubicBezTo>
                  <a:pt x="712" y="1221"/>
                  <a:pt x="714" y="1221"/>
                  <a:pt x="715" y="1220"/>
                </a:cubicBezTo>
                <a:cubicBezTo>
                  <a:pt x="718" y="1219"/>
                  <a:pt x="720" y="1217"/>
                  <a:pt x="721" y="1214"/>
                </a:cubicBezTo>
                <a:cubicBezTo>
                  <a:pt x="721" y="1212"/>
                  <a:pt x="722" y="1210"/>
                  <a:pt x="723" y="1208"/>
                </a:cubicBezTo>
                <a:cubicBezTo>
                  <a:pt x="724" y="1207"/>
                  <a:pt x="724" y="1206"/>
                  <a:pt x="724" y="1205"/>
                </a:cubicBezTo>
                <a:cubicBezTo>
                  <a:pt x="724" y="1204"/>
                  <a:pt x="724" y="1202"/>
                  <a:pt x="723" y="1201"/>
                </a:cubicBezTo>
                <a:cubicBezTo>
                  <a:pt x="722" y="1201"/>
                  <a:pt x="721" y="1201"/>
                  <a:pt x="720" y="1200"/>
                </a:cubicBezTo>
                <a:cubicBezTo>
                  <a:pt x="719" y="1200"/>
                  <a:pt x="719" y="1199"/>
                  <a:pt x="719" y="1198"/>
                </a:cubicBezTo>
                <a:cubicBezTo>
                  <a:pt x="719" y="1197"/>
                  <a:pt x="719" y="1196"/>
                  <a:pt x="720" y="1195"/>
                </a:cubicBezTo>
                <a:cubicBezTo>
                  <a:pt x="721" y="1193"/>
                  <a:pt x="719" y="1191"/>
                  <a:pt x="718" y="1190"/>
                </a:cubicBezTo>
                <a:cubicBezTo>
                  <a:pt x="716" y="1188"/>
                  <a:pt x="714" y="1187"/>
                  <a:pt x="712" y="1186"/>
                </a:cubicBezTo>
                <a:cubicBezTo>
                  <a:pt x="712" y="1186"/>
                  <a:pt x="712" y="1185"/>
                  <a:pt x="711" y="1185"/>
                </a:cubicBezTo>
                <a:cubicBezTo>
                  <a:pt x="711" y="1185"/>
                  <a:pt x="711" y="1185"/>
                  <a:pt x="711" y="1185"/>
                </a:cubicBezTo>
                <a:cubicBezTo>
                  <a:pt x="711" y="1185"/>
                  <a:pt x="711" y="1185"/>
                  <a:pt x="711" y="1185"/>
                </a:cubicBezTo>
                <a:cubicBezTo>
                  <a:pt x="711" y="1185"/>
                  <a:pt x="711" y="1185"/>
                  <a:pt x="711" y="1185"/>
                </a:cubicBezTo>
                <a:cubicBezTo>
                  <a:pt x="711" y="1185"/>
                  <a:pt x="711" y="1185"/>
                  <a:pt x="711" y="1185"/>
                </a:cubicBezTo>
                <a:cubicBezTo>
                  <a:pt x="712" y="1185"/>
                  <a:pt x="712" y="1185"/>
                  <a:pt x="712" y="1185"/>
                </a:cubicBezTo>
                <a:cubicBezTo>
                  <a:pt x="712" y="1185"/>
                  <a:pt x="712" y="1185"/>
                  <a:pt x="712" y="1186"/>
                </a:cubicBezTo>
                <a:cubicBezTo>
                  <a:pt x="716" y="1186"/>
                  <a:pt x="720" y="1186"/>
                  <a:pt x="724" y="1188"/>
                </a:cubicBezTo>
                <a:cubicBezTo>
                  <a:pt x="725" y="1189"/>
                  <a:pt x="726" y="1189"/>
                  <a:pt x="727" y="1189"/>
                </a:cubicBezTo>
                <a:cubicBezTo>
                  <a:pt x="728" y="1189"/>
                  <a:pt x="730" y="1189"/>
                  <a:pt x="732" y="1189"/>
                </a:cubicBezTo>
                <a:cubicBezTo>
                  <a:pt x="736" y="1189"/>
                  <a:pt x="740" y="1187"/>
                  <a:pt x="742" y="1183"/>
                </a:cubicBezTo>
                <a:cubicBezTo>
                  <a:pt x="743" y="1181"/>
                  <a:pt x="744" y="1179"/>
                  <a:pt x="746" y="1178"/>
                </a:cubicBezTo>
                <a:cubicBezTo>
                  <a:pt x="748" y="1176"/>
                  <a:pt x="749" y="1173"/>
                  <a:pt x="750" y="1171"/>
                </a:cubicBezTo>
                <a:cubicBezTo>
                  <a:pt x="750" y="1168"/>
                  <a:pt x="751" y="1165"/>
                  <a:pt x="752" y="1162"/>
                </a:cubicBezTo>
                <a:cubicBezTo>
                  <a:pt x="752" y="1163"/>
                  <a:pt x="752" y="1163"/>
                  <a:pt x="752" y="1163"/>
                </a:cubicBezTo>
                <a:cubicBezTo>
                  <a:pt x="752" y="1163"/>
                  <a:pt x="752" y="1162"/>
                  <a:pt x="752" y="1162"/>
                </a:cubicBezTo>
                <a:cubicBezTo>
                  <a:pt x="752" y="1162"/>
                  <a:pt x="752" y="1162"/>
                  <a:pt x="752" y="1162"/>
                </a:cubicBezTo>
                <a:cubicBezTo>
                  <a:pt x="751" y="1160"/>
                  <a:pt x="751" y="1159"/>
                  <a:pt x="753" y="1158"/>
                </a:cubicBezTo>
                <a:cubicBezTo>
                  <a:pt x="754" y="1157"/>
                  <a:pt x="755" y="1157"/>
                  <a:pt x="755" y="1157"/>
                </a:cubicBezTo>
                <a:cubicBezTo>
                  <a:pt x="756" y="1155"/>
                  <a:pt x="757" y="1153"/>
                  <a:pt x="758" y="1151"/>
                </a:cubicBezTo>
                <a:cubicBezTo>
                  <a:pt x="758" y="1151"/>
                  <a:pt x="759" y="1150"/>
                  <a:pt x="759" y="1150"/>
                </a:cubicBezTo>
                <a:cubicBezTo>
                  <a:pt x="760" y="1150"/>
                  <a:pt x="760" y="1151"/>
                  <a:pt x="760" y="1151"/>
                </a:cubicBezTo>
                <a:cubicBezTo>
                  <a:pt x="760" y="1152"/>
                  <a:pt x="761" y="1153"/>
                  <a:pt x="761" y="1154"/>
                </a:cubicBezTo>
                <a:cubicBezTo>
                  <a:pt x="762" y="1153"/>
                  <a:pt x="763" y="1152"/>
                  <a:pt x="764" y="1151"/>
                </a:cubicBezTo>
                <a:cubicBezTo>
                  <a:pt x="766" y="1145"/>
                  <a:pt x="769" y="1140"/>
                  <a:pt x="772" y="1135"/>
                </a:cubicBezTo>
                <a:cubicBezTo>
                  <a:pt x="775" y="1131"/>
                  <a:pt x="776" y="1127"/>
                  <a:pt x="774" y="1123"/>
                </a:cubicBezTo>
                <a:cubicBezTo>
                  <a:pt x="773" y="1123"/>
                  <a:pt x="773" y="1122"/>
                  <a:pt x="773" y="1121"/>
                </a:cubicBezTo>
                <a:cubicBezTo>
                  <a:pt x="772" y="1116"/>
                  <a:pt x="773" y="1112"/>
                  <a:pt x="778" y="1108"/>
                </a:cubicBezTo>
                <a:cubicBezTo>
                  <a:pt x="779" y="1107"/>
                  <a:pt x="781" y="1105"/>
                  <a:pt x="783" y="1103"/>
                </a:cubicBezTo>
                <a:cubicBezTo>
                  <a:pt x="785" y="1101"/>
                  <a:pt x="789" y="1099"/>
                  <a:pt x="792" y="1097"/>
                </a:cubicBezTo>
                <a:cubicBezTo>
                  <a:pt x="794" y="1097"/>
                  <a:pt x="796" y="1096"/>
                  <a:pt x="797" y="1094"/>
                </a:cubicBezTo>
                <a:cubicBezTo>
                  <a:pt x="799" y="1093"/>
                  <a:pt x="800" y="1092"/>
                  <a:pt x="801" y="1091"/>
                </a:cubicBezTo>
                <a:cubicBezTo>
                  <a:pt x="801" y="1090"/>
                  <a:pt x="802" y="1090"/>
                  <a:pt x="802" y="1090"/>
                </a:cubicBezTo>
                <a:cubicBezTo>
                  <a:pt x="804" y="1090"/>
                  <a:pt x="806" y="1090"/>
                  <a:pt x="807" y="1090"/>
                </a:cubicBezTo>
                <a:cubicBezTo>
                  <a:pt x="809" y="1089"/>
                  <a:pt x="811" y="1090"/>
                  <a:pt x="812" y="1090"/>
                </a:cubicBezTo>
                <a:cubicBezTo>
                  <a:pt x="816" y="1090"/>
                  <a:pt x="819" y="1089"/>
                  <a:pt x="821" y="1086"/>
                </a:cubicBezTo>
                <a:cubicBezTo>
                  <a:pt x="822" y="1085"/>
                  <a:pt x="824" y="1084"/>
                  <a:pt x="825" y="1083"/>
                </a:cubicBezTo>
                <a:cubicBezTo>
                  <a:pt x="826" y="1083"/>
                  <a:pt x="827" y="1082"/>
                  <a:pt x="826" y="1080"/>
                </a:cubicBezTo>
                <a:cubicBezTo>
                  <a:pt x="826" y="1079"/>
                  <a:pt x="826" y="1077"/>
                  <a:pt x="827" y="1076"/>
                </a:cubicBezTo>
                <a:cubicBezTo>
                  <a:pt x="829" y="1073"/>
                  <a:pt x="830" y="1070"/>
                  <a:pt x="832" y="1067"/>
                </a:cubicBezTo>
                <a:cubicBezTo>
                  <a:pt x="834" y="1065"/>
                  <a:pt x="834" y="1062"/>
                  <a:pt x="834" y="1060"/>
                </a:cubicBezTo>
                <a:cubicBezTo>
                  <a:pt x="834" y="1057"/>
                  <a:pt x="834" y="1055"/>
                  <a:pt x="835" y="1054"/>
                </a:cubicBezTo>
                <a:cubicBezTo>
                  <a:pt x="837" y="1050"/>
                  <a:pt x="838" y="1047"/>
                  <a:pt x="838" y="1043"/>
                </a:cubicBezTo>
                <a:cubicBezTo>
                  <a:pt x="838" y="1038"/>
                  <a:pt x="838" y="1033"/>
                  <a:pt x="838" y="1029"/>
                </a:cubicBezTo>
                <a:cubicBezTo>
                  <a:pt x="838" y="1026"/>
                  <a:pt x="838" y="1022"/>
                  <a:pt x="838" y="1019"/>
                </a:cubicBezTo>
                <a:cubicBezTo>
                  <a:pt x="838" y="1018"/>
                  <a:pt x="838" y="1016"/>
                  <a:pt x="840" y="1015"/>
                </a:cubicBezTo>
                <a:cubicBezTo>
                  <a:pt x="844" y="1014"/>
                  <a:pt x="846" y="1010"/>
                  <a:pt x="847" y="1006"/>
                </a:cubicBezTo>
                <a:cubicBezTo>
                  <a:pt x="848" y="1006"/>
                  <a:pt x="848" y="1005"/>
                  <a:pt x="849" y="1004"/>
                </a:cubicBezTo>
                <a:cubicBezTo>
                  <a:pt x="850" y="1002"/>
                  <a:pt x="851" y="1000"/>
                  <a:pt x="853" y="998"/>
                </a:cubicBezTo>
                <a:cubicBezTo>
                  <a:pt x="856" y="996"/>
                  <a:pt x="858" y="993"/>
                  <a:pt x="860" y="991"/>
                </a:cubicBezTo>
                <a:cubicBezTo>
                  <a:pt x="862" y="989"/>
                  <a:pt x="864" y="986"/>
                  <a:pt x="865" y="983"/>
                </a:cubicBezTo>
                <a:cubicBezTo>
                  <a:pt x="866" y="980"/>
                  <a:pt x="867" y="973"/>
                  <a:pt x="866" y="971"/>
                </a:cubicBezTo>
                <a:cubicBezTo>
                  <a:pt x="865" y="967"/>
                  <a:pt x="864" y="963"/>
                  <a:pt x="862" y="959"/>
                </a:cubicBezTo>
                <a:close/>
                <a:moveTo>
                  <a:pt x="729" y="473"/>
                </a:moveTo>
                <a:cubicBezTo>
                  <a:pt x="729" y="473"/>
                  <a:pt x="729" y="473"/>
                  <a:pt x="729" y="473"/>
                </a:cubicBezTo>
                <a:cubicBezTo>
                  <a:pt x="728" y="476"/>
                  <a:pt x="726" y="476"/>
                  <a:pt x="725" y="477"/>
                </a:cubicBezTo>
                <a:cubicBezTo>
                  <a:pt x="724" y="476"/>
                  <a:pt x="724" y="476"/>
                  <a:pt x="724" y="476"/>
                </a:cubicBezTo>
                <a:cubicBezTo>
                  <a:pt x="725" y="474"/>
                  <a:pt x="727" y="473"/>
                  <a:pt x="729" y="473"/>
                </a:cubicBezTo>
                <a:close/>
                <a:moveTo>
                  <a:pt x="691" y="484"/>
                </a:moveTo>
                <a:cubicBezTo>
                  <a:pt x="691" y="484"/>
                  <a:pt x="691" y="484"/>
                  <a:pt x="691" y="484"/>
                </a:cubicBezTo>
                <a:cubicBezTo>
                  <a:pt x="692" y="484"/>
                  <a:pt x="692" y="484"/>
                  <a:pt x="692" y="484"/>
                </a:cubicBezTo>
                <a:lnTo>
                  <a:pt x="691" y="484"/>
                </a:lnTo>
                <a:close/>
                <a:moveTo>
                  <a:pt x="689" y="468"/>
                </a:moveTo>
                <a:cubicBezTo>
                  <a:pt x="691" y="467"/>
                  <a:pt x="692" y="468"/>
                  <a:pt x="693" y="467"/>
                </a:cubicBezTo>
                <a:cubicBezTo>
                  <a:pt x="696" y="466"/>
                  <a:pt x="699" y="467"/>
                  <a:pt x="702" y="468"/>
                </a:cubicBezTo>
                <a:cubicBezTo>
                  <a:pt x="702" y="468"/>
                  <a:pt x="702" y="469"/>
                  <a:pt x="702" y="469"/>
                </a:cubicBezTo>
                <a:cubicBezTo>
                  <a:pt x="702" y="469"/>
                  <a:pt x="702" y="470"/>
                  <a:pt x="702" y="470"/>
                </a:cubicBezTo>
                <a:cubicBezTo>
                  <a:pt x="701" y="470"/>
                  <a:pt x="699" y="471"/>
                  <a:pt x="699" y="471"/>
                </a:cubicBezTo>
                <a:cubicBezTo>
                  <a:pt x="696" y="470"/>
                  <a:pt x="694" y="470"/>
                  <a:pt x="692" y="470"/>
                </a:cubicBezTo>
                <a:cubicBezTo>
                  <a:pt x="691" y="470"/>
                  <a:pt x="690" y="470"/>
                  <a:pt x="689" y="469"/>
                </a:cubicBezTo>
                <a:cubicBezTo>
                  <a:pt x="689" y="469"/>
                  <a:pt x="689" y="469"/>
                  <a:pt x="689" y="468"/>
                </a:cubicBezTo>
                <a:cubicBezTo>
                  <a:pt x="689" y="468"/>
                  <a:pt x="689" y="468"/>
                  <a:pt x="689" y="468"/>
                </a:cubicBezTo>
                <a:close/>
                <a:moveTo>
                  <a:pt x="687" y="483"/>
                </a:moveTo>
                <a:cubicBezTo>
                  <a:pt x="687" y="483"/>
                  <a:pt x="687" y="483"/>
                  <a:pt x="687" y="483"/>
                </a:cubicBezTo>
                <a:cubicBezTo>
                  <a:pt x="687" y="483"/>
                  <a:pt x="687" y="483"/>
                  <a:pt x="687" y="483"/>
                </a:cubicBezTo>
                <a:close/>
                <a:moveTo>
                  <a:pt x="666" y="459"/>
                </a:moveTo>
                <a:cubicBezTo>
                  <a:pt x="666" y="459"/>
                  <a:pt x="666" y="460"/>
                  <a:pt x="666" y="460"/>
                </a:cubicBezTo>
                <a:cubicBezTo>
                  <a:pt x="667" y="460"/>
                  <a:pt x="667" y="461"/>
                  <a:pt x="667" y="461"/>
                </a:cubicBezTo>
                <a:cubicBezTo>
                  <a:pt x="667" y="461"/>
                  <a:pt x="666" y="460"/>
                  <a:pt x="666" y="460"/>
                </a:cubicBezTo>
                <a:cubicBezTo>
                  <a:pt x="666" y="460"/>
                  <a:pt x="666" y="460"/>
                  <a:pt x="666" y="459"/>
                </a:cubicBezTo>
                <a:close/>
                <a:moveTo>
                  <a:pt x="660" y="462"/>
                </a:moveTo>
                <a:cubicBezTo>
                  <a:pt x="661" y="461"/>
                  <a:pt x="661" y="461"/>
                  <a:pt x="662" y="460"/>
                </a:cubicBezTo>
                <a:cubicBezTo>
                  <a:pt x="662" y="461"/>
                  <a:pt x="662" y="461"/>
                  <a:pt x="662" y="462"/>
                </a:cubicBezTo>
                <a:cubicBezTo>
                  <a:pt x="662" y="462"/>
                  <a:pt x="662" y="463"/>
                  <a:pt x="663" y="464"/>
                </a:cubicBezTo>
                <a:cubicBezTo>
                  <a:pt x="663" y="464"/>
                  <a:pt x="663" y="465"/>
                  <a:pt x="662" y="466"/>
                </a:cubicBezTo>
                <a:cubicBezTo>
                  <a:pt x="662" y="466"/>
                  <a:pt x="662" y="466"/>
                  <a:pt x="662" y="466"/>
                </a:cubicBezTo>
                <a:cubicBezTo>
                  <a:pt x="660" y="466"/>
                  <a:pt x="659" y="464"/>
                  <a:pt x="660" y="462"/>
                </a:cubicBezTo>
                <a:close/>
                <a:moveTo>
                  <a:pt x="644" y="454"/>
                </a:moveTo>
                <a:cubicBezTo>
                  <a:pt x="645" y="454"/>
                  <a:pt x="645" y="454"/>
                  <a:pt x="644" y="454"/>
                </a:cubicBezTo>
                <a:cubicBezTo>
                  <a:pt x="644" y="454"/>
                  <a:pt x="644" y="454"/>
                  <a:pt x="643" y="454"/>
                </a:cubicBezTo>
                <a:cubicBezTo>
                  <a:pt x="644" y="454"/>
                  <a:pt x="644" y="453"/>
                  <a:pt x="644" y="454"/>
                </a:cubicBezTo>
                <a:close/>
                <a:moveTo>
                  <a:pt x="630" y="495"/>
                </a:moveTo>
                <a:cubicBezTo>
                  <a:pt x="630" y="495"/>
                  <a:pt x="631" y="495"/>
                  <a:pt x="631" y="496"/>
                </a:cubicBezTo>
                <a:cubicBezTo>
                  <a:pt x="631" y="496"/>
                  <a:pt x="631" y="496"/>
                  <a:pt x="631" y="496"/>
                </a:cubicBezTo>
                <a:cubicBezTo>
                  <a:pt x="630" y="497"/>
                  <a:pt x="629" y="498"/>
                  <a:pt x="627" y="498"/>
                </a:cubicBezTo>
                <a:cubicBezTo>
                  <a:pt x="627" y="498"/>
                  <a:pt x="627" y="498"/>
                  <a:pt x="627" y="498"/>
                </a:cubicBezTo>
                <a:cubicBezTo>
                  <a:pt x="628" y="496"/>
                  <a:pt x="629" y="495"/>
                  <a:pt x="630" y="495"/>
                </a:cubicBezTo>
                <a:close/>
                <a:moveTo>
                  <a:pt x="615" y="520"/>
                </a:moveTo>
                <a:cubicBezTo>
                  <a:pt x="615" y="520"/>
                  <a:pt x="615" y="520"/>
                  <a:pt x="616" y="520"/>
                </a:cubicBezTo>
                <a:cubicBezTo>
                  <a:pt x="616" y="520"/>
                  <a:pt x="616" y="520"/>
                  <a:pt x="616" y="521"/>
                </a:cubicBezTo>
                <a:cubicBezTo>
                  <a:pt x="615" y="521"/>
                  <a:pt x="615" y="521"/>
                  <a:pt x="615" y="521"/>
                </a:cubicBezTo>
                <a:cubicBezTo>
                  <a:pt x="615" y="521"/>
                  <a:pt x="615" y="520"/>
                  <a:pt x="614" y="520"/>
                </a:cubicBezTo>
                <a:cubicBezTo>
                  <a:pt x="615" y="520"/>
                  <a:pt x="615" y="520"/>
                  <a:pt x="615" y="520"/>
                </a:cubicBezTo>
                <a:close/>
                <a:moveTo>
                  <a:pt x="580" y="309"/>
                </a:moveTo>
                <a:cubicBezTo>
                  <a:pt x="580" y="309"/>
                  <a:pt x="581" y="309"/>
                  <a:pt x="581" y="309"/>
                </a:cubicBezTo>
                <a:cubicBezTo>
                  <a:pt x="583" y="311"/>
                  <a:pt x="584" y="314"/>
                  <a:pt x="586" y="316"/>
                </a:cubicBezTo>
                <a:cubicBezTo>
                  <a:pt x="586" y="316"/>
                  <a:pt x="586" y="316"/>
                  <a:pt x="586" y="317"/>
                </a:cubicBezTo>
                <a:cubicBezTo>
                  <a:pt x="585" y="317"/>
                  <a:pt x="585" y="317"/>
                  <a:pt x="585" y="317"/>
                </a:cubicBezTo>
                <a:cubicBezTo>
                  <a:pt x="584" y="317"/>
                  <a:pt x="583" y="317"/>
                  <a:pt x="583" y="316"/>
                </a:cubicBezTo>
                <a:cubicBezTo>
                  <a:pt x="581" y="314"/>
                  <a:pt x="580" y="312"/>
                  <a:pt x="579" y="310"/>
                </a:cubicBezTo>
                <a:cubicBezTo>
                  <a:pt x="579" y="310"/>
                  <a:pt x="579" y="309"/>
                  <a:pt x="580" y="309"/>
                </a:cubicBezTo>
                <a:close/>
                <a:moveTo>
                  <a:pt x="534" y="323"/>
                </a:moveTo>
                <a:cubicBezTo>
                  <a:pt x="534" y="323"/>
                  <a:pt x="535" y="323"/>
                  <a:pt x="535" y="323"/>
                </a:cubicBezTo>
                <a:cubicBezTo>
                  <a:pt x="536" y="323"/>
                  <a:pt x="537" y="324"/>
                  <a:pt x="538" y="325"/>
                </a:cubicBezTo>
                <a:cubicBezTo>
                  <a:pt x="538" y="325"/>
                  <a:pt x="538" y="325"/>
                  <a:pt x="538" y="325"/>
                </a:cubicBezTo>
                <a:cubicBezTo>
                  <a:pt x="538" y="325"/>
                  <a:pt x="538" y="325"/>
                  <a:pt x="538" y="325"/>
                </a:cubicBezTo>
                <a:cubicBezTo>
                  <a:pt x="539" y="325"/>
                  <a:pt x="540" y="326"/>
                  <a:pt x="541" y="326"/>
                </a:cubicBezTo>
                <a:cubicBezTo>
                  <a:pt x="541" y="326"/>
                  <a:pt x="542" y="326"/>
                  <a:pt x="542" y="326"/>
                </a:cubicBezTo>
                <a:cubicBezTo>
                  <a:pt x="542" y="327"/>
                  <a:pt x="542" y="327"/>
                  <a:pt x="542" y="327"/>
                </a:cubicBezTo>
                <a:cubicBezTo>
                  <a:pt x="542" y="327"/>
                  <a:pt x="542" y="327"/>
                  <a:pt x="542" y="327"/>
                </a:cubicBezTo>
                <a:cubicBezTo>
                  <a:pt x="541" y="326"/>
                  <a:pt x="541" y="326"/>
                  <a:pt x="541" y="326"/>
                </a:cubicBezTo>
                <a:cubicBezTo>
                  <a:pt x="540" y="326"/>
                  <a:pt x="539" y="326"/>
                  <a:pt x="538" y="325"/>
                </a:cubicBezTo>
                <a:cubicBezTo>
                  <a:pt x="538" y="325"/>
                  <a:pt x="538" y="325"/>
                  <a:pt x="538" y="325"/>
                </a:cubicBezTo>
                <a:cubicBezTo>
                  <a:pt x="538" y="325"/>
                  <a:pt x="538" y="325"/>
                  <a:pt x="538" y="325"/>
                </a:cubicBezTo>
                <a:cubicBezTo>
                  <a:pt x="535" y="326"/>
                  <a:pt x="535" y="326"/>
                  <a:pt x="534" y="324"/>
                </a:cubicBezTo>
                <a:cubicBezTo>
                  <a:pt x="534" y="324"/>
                  <a:pt x="534" y="323"/>
                  <a:pt x="534" y="323"/>
                </a:cubicBezTo>
                <a:close/>
                <a:moveTo>
                  <a:pt x="517" y="317"/>
                </a:moveTo>
                <a:cubicBezTo>
                  <a:pt x="517" y="317"/>
                  <a:pt x="518" y="317"/>
                  <a:pt x="518" y="317"/>
                </a:cubicBezTo>
                <a:cubicBezTo>
                  <a:pt x="518" y="317"/>
                  <a:pt x="517" y="317"/>
                  <a:pt x="517" y="317"/>
                </a:cubicBezTo>
                <a:cubicBezTo>
                  <a:pt x="516" y="317"/>
                  <a:pt x="517" y="317"/>
                  <a:pt x="517" y="317"/>
                </a:cubicBezTo>
                <a:close/>
                <a:moveTo>
                  <a:pt x="581" y="516"/>
                </a:moveTo>
                <a:cubicBezTo>
                  <a:pt x="581" y="516"/>
                  <a:pt x="581" y="516"/>
                  <a:pt x="582" y="516"/>
                </a:cubicBezTo>
                <a:cubicBezTo>
                  <a:pt x="582" y="516"/>
                  <a:pt x="582" y="516"/>
                  <a:pt x="582" y="516"/>
                </a:cubicBezTo>
                <a:cubicBezTo>
                  <a:pt x="582" y="517"/>
                  <a:pt x="582" y="517"/>
                  <a:pt x="581" y="517"/>
                </a:cubicBezTo>
                <a:cubicBezTo>
                  <a:pt x="581" y="517"/>
                  <a:pt x="581" y="517"/>
                  <a:pt x="581" y="517"/>
                </a:cubicBezTo>
                <a:cubicBezTo>
                  <a:pt x="581" y="516"/>
                  <a:pt x="581" y="516"/>
                  <a:pt x="581" y="516"/>
                </a:cubicBezTo>
                <a:close/>
                <a:moveTo>
                  <a:pt x="575" y="568"/>
                </a:moveTo>
                <a:cubicBezTo>
                  <a:pt x="575" y="567"/>
                  <a:pt x="575" y="567"/>
                  <a:pt x="576" y="567"/>
                </a:cubicBezTo>
                <a:cubicBezTo>
                  <a:pt x="577" y="567"/>
                  <a:pt x="578" y="566"/>
                  <a:pt x="580" y="566"/>
                </a:cubicBezTo>
                <a:cubicBezTo>
                  <a:pt x="583" y="565"/>
                  <a:pt x="586" y="565"/>
                  <a:pt x="588" y="565"/>
                </a:cubicBezTo>
                <a:cubicBezTo>
                  <a:pt x="590" y="565"/>
                  <a:pt x="592" y="564"/>
                  <a:pt x="593" y="563"/>
                </a:cubicBezTo>
                <a:cubicBezTo>
                  <a:pt x="593" y="563"/>
                  <a:pt x="594" y="563"/>
                  <a:pt x="595" y="563"/>
                </a:cubicBezTo>
                <a:cubicBezTo>
                  <a:pt x="595" y="563"/>
                  <a:pt x="595" y="563"/>
                  <a:pt x="595" y="563"/>
                </a:cubicBezTo>
                <a:cubicBezTo>
                  <a:pt x="596" y="565"/>
                  <a:pt x="596" y="567"/>
                  <a:pt x="595" y="568"/>
                </a:cubicBezTo>
                <a:cubicBezTo>
                  <a:pt x="593" y="570"/>
                  <a:pt x="591" y="572"/>
                  <a:pt x="588" y="571"/>
                </a:cubicBezTo>
                <a:cubicBezTo>
                  <a:pt x="584" y="569"/>
                  <a:pt x="579" y="570"/>
                  <a:pt x="575" y="570"/>
                </a:cubicBezTo>
                <a:cubicBezTo>
                  <a:pt x="575" y="570"/>
                  <a:pt x="575" y="569"/>
                  <a:pt x="574" y="569"/>
                </a:cubicBezTo>
                <a:cubicBezTo>
                  <a:pt x="574" y="569"/>
                  <a:pt x="575" y="568"/>
                  <a:pt x="575" y="568"/>
                </a:cubicBezTo>
                <a:close/>
                <a:moveTo>
                  <a:pt x="574" y="576"/>
                </a:moveTo>
                <a:cubicBezTo>
                  <a:pt x="574" y="576"/>
                  <a:pt x="573" y="577"/>
                  <a:pt x="573" y="577"/>
                </a:cubicBezTo>
                <a:cubicBezTo>
                  <a:pt x="570" y="579"/>
                  <a:pt x="567" y="580"/>
                  <a:pt x="564" y="582"/>
                </a:cubicBezTo>
                <a:cubicBezTo>
                  <a:pt x="561" y="583"/>
                  <a:pt x="559" y="583"/>
                  <a:pt x="557" y="585"/>
                </a:cubicBezTo>
                <a:cubicBezTo>
                  <a:pt x="554" y="586"/>
                  <a:pt x="552" y="587"/>
                  <a:pt x="549" y="587"/>
                </a:cubicBezTo>
                <a:cubicBezTo>
                  <a:pt x="548" y="586"/>
                  <a:pt x="547" y="586"/>
                  <a:pt x="546" y="585"/>
                </a:cubicBezTo>
                <a:cubicBezTo>
                  <a:pt x="545" y="585"/>
                  <a:pt x="546" y="583"/>
                  <a:pt x="547" y="582"/>
                </a:cubicBezTo>
                <a:cubicBezTo>
                  <a:pt x="547" y="582"/>
                  <a:pt x="547" y="582"/>
                  <a:pt x="547" y="582"/>
                </a:cubicBezTo>
                <a:cubicBezTo>
                  <a:pt x="551" y="581"/>
                  <a:pt x="555" y="579"/>
                  <a:pt x="558" y="577"/>
                </a:cubicBezTo>
                <a:cubicBezTo>
                  <a:pt x="560" y="576"/>
                  <a:pt x="561" y="576"/>
                  <a:pt x="563" y="577"/>
                </a:cubicBezTo>
                <a:cubicBezTo>
                  <a:pt x="564" y="577"/>
                  <a:pt x="566" y="577"/>
                  <a:pt x="568" y="576"/>
                </a:cubicBezTo>
                <a:cubicBezTo>
                  <a:pt x="569" y="575"/>
                  <a:pt x="570" y="575"/>
                  <a:pt x="572" y="575"/>
                </a:cubicBezTo>
                <a:cubicBezTo>
                  <a:pt x="572" y="574"/>
                  <a:pt x="574" y="575"/>
                  <a:pt x="574" y="576"/>
                </a:cubicBezTo>
                <a:close/>
                <a:moveTo>
                  <a:pt x="549" y="540"/>
                </a:moveTo>
                <a:cubicBezTo>
                  <a:pt x="555" y="541"/>
                  <a:pt x="561" y="542"/>
                  <a:pt x="566" y="544"/>
                </a:cubicBezTo>
                <a:cubicBezTo>
                  <a:pt x="567" y="545"/>
                  <a:pt x="568" y="545"/>
                  <a:pt x="568" y="546"/>
                </a:cubicBezTo>
                <a:cubicBezTo>
                  <a:pt x="570" y="548"/>
                  <a:pt x="571" y="550"/>
                  <a:pt x="572" y="553"/>
                </a:cubicBezTo>
                <a:cubicBezTo>
                  <a:pt x="573" y="554"/>
                  <a:pt x="572" y="555"/>
                  <a:pt x="571" y="556"/>
                </a:cubicBezTo>
                <a:cubicBezTo>
                  <a:pt x="571" y="557"/>
                  <a:pt x="570" y="557"/>
                  <a:pt x="569" y="557"/>
                </a:cubicBezTo>
                <a:cubicBezTo>
                  <a:pt x="567" y="556"/>
                  <a:pt x="566" y="554"/>
                  <a:pt x="565" y="553"/>
                </a:cubicBezTo>
                <a:cubicBezTo>
                  <a:pt x="564" y="552"/>
                  <a:pt x="564" y="552"/>
                  <a:pt x="563" y="552"/>
                </a:cubicBezTo>
                <a:cubicBezTo>
                  <a:pt x="563" y="552"/>
                  <a:pt x="563" y="553"/>
                  <a:pt x="563" y="553"/>
                </a:cubicBezTo>
                <a:cubicBezTo>
                  <a:pt x="563" y="554"/>
                  <a:pt x="563" y="555"/>
                  <a:pt x="562" y="556"/>
                </a:cubicBezTo>
                <a:cubicBezTo>
                  <a:pt x="560" y="559"/>
                  <a:pt x="559" y="564"/>
                  <a:pt x="557" y="568"/>
                </a:cubicBezTo>
                <a:cubicBezTo>
                  <a:pt x="557" y="568"/>
                  <a:pt x="557" y="569"/>
                  <a:pt x="556" y="569"/>
                </a:cubicBezTo>
                <a:cubicBezTo>
                  <a:pt x="556" y="570"/>
                  <a:pt x="554" y="569"/>
                  <a:pt x="554" y="568"/>
                </a:cubicBezTo>
                <a:cubicBezTo>
                  <a:pt x="554" y="567"/>
                  <a:pt x="554" y="565"/>
                  <a:pt x="553" y="563"/>
                </a:cubicBezTo>
                <a:cubicBezTo>
                  <a:pt x="553" y="562"/>
                  <a:pt x="551" y="561"/>
                  <a:pt x="550" y="562"/>
                </a:cubicBezTo>
                <a:cubicBezTo>
                  <a:pt x="549" y="562"/>
                  <a:pt x="548" y="563"/>
                  <a:pt x="548" y="563"/>
                </a:cubicBezTo>
                <a:cubicBezTo>
                  <a:pt x="547" y="563"/>
                  <a:pt x="546" y="564"/>
                  <a:pt x="546" y="563"/>
                </a:cubicBezTo>
                <a:cubicBezTo>
                  <a:pt x="546" y="563"/>
                  <a:pt x="546" y="563"/>
                  <a:pt x="546" y="562"/>
                </a:cubicBezTo>
                <a:cubicBezTo>
                  <a:pt x="547" y="561"/>
                  <a:pt x="548" y="560"/>
                  <a:pt x="549" y="559"/>
                </a:cubicBezTo>
                <a:cubicBezTo>
                  <a:pt x="550" y="557"/>
                  <a:pt x="551" y="554"/>
                  <a:pt x="550" y="551"/>
                </a:cubicBezTo>
                <a:cubicBezTo>
                  <a:pt x="549" y="550"/>
                  <a:pt x="549" y="549"/>
                  <a:pt x="548" y="549"/>
                </a:cubicBezTo>
                <a:cubicBezTo>
                  <a:pt x="546" y="547"/>
                  <a:pt x="545" y="547"/>
                  <a:pt x="543" y="546"/>
                </a:cubicBezTo>
                <a:cubicBezTo>
                  <a:pt x="543" y="545"/>
                  <a:pt x="542" y="544"/>
                  <a:pt x="542" y="544"/>
                </a:cubicBezTo>
                <a:cubicBezTo>
                  <a:pt x="542" y="544"/>
                  <a:pt x="542" y="544"/>
                  <a:pt x="542" y="544"/>
                </a:cubicBezTo>
                <a:cubicBezTo>
                  <a:pt x="542" y="544"/>
                  <a:pt x="542" y="544"/>
                  <a:pt x="542" y="544"/>
                </a:cubicBezTo>
                <a:cubicBezTo>
                  <a:pt x="540" y="545"/>
                  <a:pt x="539" y="546"/>
                  <a:pt x="538" y="548"/>
                </a:cubicBezTo>
                <a:cubicBezTo>
                  <a:pt x="537" y="549"/>
                  <a:pt x="536" y="550"/>
                  <a:pt x="534" y="550"/>
                </a:cubicBezTo>
                <a:cubicBezTo>
                  <a:pt x="532" y="550"/>
                  <a:pt x="531" y="552"/>
                  <a:pt x="530" y="553"/>
                </a:cubicBezTo>
                <a:cubicBezTo>
                  <a:pt x="528" y="558"/>
                  <a:pt x="526" y="563"/>
                  <a:pt x="526" y="569"/>
                </a:cubicBezTo>
                <a:cubicBezTo>
                  <a:pt x="526" y="574"/>
                  <a:pt x="523" y="578"/>
                  <a:pt x="519" y="581"/>
                </a:cubicBezTo>
                <a:cubicBezTo>
                  <a:pt x="518" y="582"/>
                  <a:pt x="516" y="581"/>
                  <a:pt x="516" y="580"/>
                </a:cubicBezTo>
                <a:cubicBezTo>
                  <a:pt x="515" y="575"/>
                  <a:pt x="515" y="570"/>
                  <a:pt x="517" y="565"/>
                </a:cubicBezTo>
                <a:cubicBezTo>
                  <a:pt x="519" y="563"/>
                  <a:pt x="520" y="559"/>
                  <a:pt x="521" y="557"/>
                </a:cubicBezTo>
                <a:cubicBezTo>
                  <a:pt x="521" y="555"/>
                  <a:pt x="521" y="554"/>
                  <a:pt x="521" y="552"/>
                </a:cubicBezTo>
                <a:cubicBezTo>
                  <a:pt x="520" y="552"/>
                  <a:pt x="521" y="551"/>
                  <a:pt x="521" y="551"/>
                </a:cubicBezTo>
                <a:cubicBezTo>
                  <a:pt x="521" y="550"/>
                  <a:pt x="521" y="550"/>
                  <a:pt x="521" y="550"/>
                </a:cubicBezTo>
                <a:cubicBezTo>
                  <a:pt x="528" y="542"/>
                  <a:pt x="526" y="543"/>
                  <a:pt x="536" y="542"/>
                </a:cubicBezTo>
                <a:cubicBezTo>
                  <a:pt x="539" y="541"/>
                  <a:pt x="540" y="542"/>
                  <a:pt x="542" y="544"/>
                </a:cubicBezTo>
                <a:cubicBezTo>
                  <a:pt x="542" y="544"/>
                  <a:pt x="542" y="544"/>
                  <a:pt x="542" y="544"/>
                </a:cubicBezTo>
                <a:cubicBezTo>
                  <a:pt x="542" y="544"/>
                  <a:pt x="542" y="544"/>
                  <a:pt x="542" y="544"/>
                </a:cubicBezTo>
                <a:cubicBezTo>
                  <a:pt x="544" y="543"/>
                  <a:pt x="545" y="543"/>
                  <a:pt x="547" y="542"/>
                </a:cubicBezTo>
                <a:cubicBezTo>
                  <a:pt x="547" y="542"/>
                  <a:pt x="547" y="541"/>
                  <a:pt x="548" y="541"/>
                </a:cubicBezTo>
                <a:cubicBezTo>
                  <a:pt x="548" y="540"/>
                  <a:pt x="548" y="540"/>
                  <a:pt x="549" y="540"/>
                </a:cubicBezTo>
                <a:close/>
                <a:moveTo>
                  <a:pt x="547" y="463"/>
                </a:moveTo>
                <a:cubicBezTo>
                  <a:pt x="547" y="463"/>
                  <a:pt x="547" y="463"/>
                  <a:pt x="547" y="463"/>
                </a:cubicBezTo>
                <a:cubicBezTo>
                  <a:pt x="547" y="462"/>
                  <a:pt x="547" y="462"/>
                  <a:pt x="547" y="461"/>
                </a:cubicBezTo>
                <a:cubicBezTo>
                  <a:pt x="547" y="460"/>
                  <a:pt x="548" y="460"/>
                  <a:pt x="548" y="460"/>
                </a:cubicBezTo>
                <a:cubicBezTo>
                  <a:pt x="548" y="461"/>
                  <a:pt x="548" y="461"/>
                  <a:pt x="548" y="461"/>
                </a:cubicBezTo>
                <a:cubicBezTo>
                  <a:pt x="548" y="462"/>
                  <a:pt x="548" y="462"/>
                  <a:pt x="547" y="463"/>
                </a:cubicBezTo>
                <a:cubicBezTo>
                  <a:pt x="547" y="463"/>
                  <a:pt x="547" y="463"/>
                  <a:pt x="547" y="463"/>
                </a:cubicBezTo>
                <a:cubicBezTo>
                  <a:pt x="546" y="464"/>
                  <a:pt x="546" y="464"/>
                  <a:pt x="546" y="464"/>
                </a:cubicBezTo>
                <a:lnTo>
                  <a:pt x="547" y="463"/>
                </a:lnTo>
                <a:close/>
                <a:moveTo>
                  <a:pt x="525" y="499"/>
                </a:moveTo>
                <a:cubicBezTo>
                  <a:pt x="525" y="499"/>
                  <a:pt x="526" y="499"/>
                  <a:pt x="526" y="499"/>
                </a:cubicBezTo>
                <a:cubicBezTo>
                  <a:pt x="526" y="500"/>
                  <a:pt x="527" y="500"/>
                  <a:pt x="527" y="500"/>
                </a:cubicBezTo>
                <a:cubicBezTo>
                  <a:pt x="528" y="502"/>
                  <a:pt x="528" y="503"/>
                  <a:pt x="527" y="504"/>
                </a:cubicBezTo>
                <a:cubicBezTo>
                  <a:pt x="527" y="504"/>
                  <a:pt x="526" y="504"/>
                  <a:pt x="526" y="505"/>
                </a:cubicBezTo>
                <a:cubicBezTo>
                  <a:pt x="525" y="505"/>
                  <a:pt x="525" y="505"/>
                  <a:pt x="525" y="504"/>
                </a:cubicBezTo>
                <a:cubicBezTo>
                  <a:pt x="524" y="502"/>
                  <a:pt x="524" y="501"/>
                  <a:pt x="525" y="499"/>
                </a:cubicBezTo>
                <a:close/>
                <a:moveTo>
                  <a:pt x="517" y="487"/>
                </a:moveTo>
                <a:cubicBezTo>
                  <a:pt x="517" y="487"/>
                  <a:pt x="517" y="487"/>
                  <a:pt x="517" y="487"/>
                </a:cubicBezTo>
                <a:cubicBezTo>
                  <a:pt x="516" y="487"/>
                  <a:pt x="516" y="487"/>
                  <a:pt x="516" y="487"/>
                </a:cubicBezTo>
                <a:lnTo>
                  <a:pt x="517" y="487"/>
                </a:lnTo>
                <a:close/>
                <a:moveTo>
                  <a:pt x="512" y="342"/>
                </a:moveTo>
                <a:cubicBezTo>
                  <a:pt x="512" y="342"/>
                  <a:pt x="513" y="342"/>
                  <a:pt x="513" y="342"/>
                </a:cubicBezTo>
                <a:cubicBezTo>
                  <a:pt x="514" y="342"/>
                  <a:pt x="514" y="342"/>
                  <a:pt x="514" y="343"/>
                </a:cubicBezTo>
                <a:cubicBezTo>
                  <a:pt x="515" y="344"/>
                  <a:pt x="515" y="344"/>
                  <a:pt x="515" y="345"/>
                </a:cubicBezTo>
                <a:cubicBezTo>
                  <a:pt x="514" y="346"/>
                  <a:pt x="514" y="346"/>
                  <a:pt x="513" y="346"/>
                </a:cubicBezTo>
                <a:cubicBezTo>
                  <a:pt x="513" y="345"/>
                  <a:pt x="512" y="345"/>
                  <a:pt x="512" y="344"/>
                </a:cubicBezTo>
                <a:cubicBezTo>
                  <a:pt x="511" y="344"/>
                  <a:pt x="511" y="343"/>
                  <a:pt x="512" y="342"/>
                </a:cubicBezTo>
                <a:close/>
                <a:moveTo>
                  <a:pt x="506" y="337"/>
                </a:moveTo>
                <a:cubicBezTo>
                  <a:pt x="506" y="337"/>
                  <a:pt x="506" y="337"/>
                  <a:pt x="506" y="338"/>
                </a:cubicBezTo>
                <a:cubicBezTo>
                  <a:pt x="506" y="338"/>
                  <a:pt x="506" y="338"/>
                  <a:pt x="506" y="338"/>
                </a:cubicBezTo>
                <a:cubicBezTo>
                  <a:pt x="506" y="338"/>
                  <a:pt x="505" y="338"/>
                  <a:pt x="505" y="337"/>
                </a:cubicBezTo>
                <a:cubicBezTo>
                  <a:pt x="505" y="337"/>
                  <a:pt x="506" y="337"/>
                  <a:pt x="506" y="337"/>
                </a:cubicBezTo>
                <a:close/>
                <a:moveTo>
                  <a:pt x="503" y="445"/>
                </a:moveTo>
                <a:cubicBezTo>
                  <a:pt x="503" y="445"/>
                  <a:pt x="503" y="445"/>
                  <a:pt x="504" y="445"/>
                </a:cubicBezTo>
                <a:cubicBezTo>
                  <a:pt x="503" y="445"/>
                  <a:pt x="503" y="445"/>
                  <a:pt x="503" y="445"/>
                </a:cubicBezTo>
                <a:cubicBezTo>
                  <a:pt x="503" y="445"/>
                  <a:pt x="503" y="445"/>
                  <a:pt x="503" y="445"/>
                </a:cubicBezTo>
                <a:cubicBezTo>
                  <a:pt x="503" y="445"/>
                  <a:pt x="503" y="445"/>
                  <a:pt x="503" y="445"/>
                </a:cubicBezTo>
                <a:close/>
                <a:moveTo>
                  <a:pt x="500" y="493"/>
                </a:moveTo>
                <a:cubicBezTo>
                  <a:pt x="500" y="493"/>
                  <a:pt x="500" y="493"/>
                  <a:pt x="500" y="493"/>
                </a:cubicBezTo>
                <a:cubicBezTo>
                  <a:pt x="500" y="493"/>
                  <a:pt x="500" y="493"/>
                  <a:pt x="500" y="493"/>
                </a:cubicBezTo>
                <a:cubicBezTo>
                  <a:pt x="502" y="493"/>
                  <a:pt x="503" y="493"/>
                  <a:pt x="505" y="494"/>
                </a:cubicBezTo>
                <a:cubicBezTo>
                  <a:pt x="505" y="494"/>
                  <a:pt x="505" y="495"/>
                  <a:pt x="505" y="495"/>
                </a:cubicBezTo>
                <a:cubicBezTo>
                  <a:pt x="505" y="495"/>
                  <a:pt x="504" y="496"/>
                  <a:pt x="504" y="495"/>
                </a:cubicBezTo>
                <a:cubicBezTo>
                  <a:pt x="503" y="495"/>
                  <a:pt x="501" y="494"/>
                  <a:pt x="500" y="493"/>
                </a:cubicBezTo>
                <a:cubicBezTo>
                  <a:pt x="500" y="493"/>
                  <a:pt x="500" y="493"/>
                  <a:pt x="500" y="493"/>
                </a:cubicBezTo>
                <a:cubicBezTo>
                  <a:pt x="499" y="493"/>
                  <a:pt x="499" y="493"/>
                  <a:pt x="500" y="493"/>
                </a:cubicBezTo>
                <a:close/>
                <a:moveTo>
                  <a:pt x="507" y="523"/>
                </a:moveTo>
                <a:cubicBezTo>
                  <a:pt x="510" y="522"/>
                  <a:pt x="514" y="521"/>
                  <a:pt x="517" y="518"/>
                </a:cubicBezTo>
                <a:cubicBezTo>
                  <a:pt x="520" y="516"/>
                  <a:pt x="524" y="516"/>
                  <a:pt x="526" y="513"/>
                </a:cubicBezTo>
                <a:cubicBezTo>
                  <a:pt x="527" y="513"/>
                  <a:pt x="528" y="513"/>
                  <a:pt x="529" y="513"/>
                </a:cubicBezTo>
                <a:cubicBezTo>
                  <a:pt x="530" y="513"/>
                  <a:pt x="531" y="514"/>
                  <a:pt x="532" y="514"/>
                </a:cubicBezTo>
                <a:cubicBezTo>
                  <a:pt x="535" y="514"/>
                  <a:pt x="537" y="516"/>
                  <a:pt x="538" y="519"/>
                </a:cubicBezTo>
                <a:cubicBezTo>
                  <a:pt x="538" y="521"/>
                  <a:pt x="540" y="522"/>
                  <a:pt x="541" y="523"/>
                </a:cubicBezTo>
                <a:cubicBezTo>
                  <a:pt x="544" y="523"/>
                  <a:pt x="544" y="524"/>
                  <a:pt x="544" y="526"/>
                </a:cubicBezTo>
                <a:cubicBezTo>
                  <a:pt x="544" y="529"/>
                  <a:pt x="545" y="532"/>
                  <a:pt x="545" y="534"/>
                </a:cubicBezTo>
                <a:cubicBezTo>
                  <a:pt x="545" y="535"/>
                  <a:pt x="544" y="536"/>
                  <a:pt x="542" y="536"/>
                </a:cubicBezTo>
                <a:cubicBezTo>
                  <a:pt x="541" y="535"/>
                  <a:pt x="540" y="534"/>
                  <a:pt x="539" y="535"/>
                </a:cubicBezTo>
                <a:cubicBezTo>
                  <a:pt x="537" y="535"/>
                  <a:pt x="534" y="535"/>
                  <a:pt x="532" y="535"/>
                </a:cubicBezTo>
                <a:cubicBezTo>
                  <a:pt x="529" y="536"/>
                  <a:pt x="527" y="535"/>
                  <a:pt x="525" y="533"/>
                </a:cubicBezTo>
                <a:cubicBezTo>
                  <a:pt x="525" y="532"/>
                  <a:pt x="525" y="532"/>
                  <a:pt x="524" y="532"/>
                </a:cubicBezTo>
                <a:cubicBezTo>
                  <a:pt x="523" y="531"/>
                  <a:pt x="522" y="531"/>
                  <a:pt x="522" y="530"/>
                </a:cubicBezTo>
                <a:cubicBezTo>
                  <a:pt x="523" y="529"/>
                  <a:pt x="523" y="529"/>
                  <a:pt x="524" y="528"/>
                </a:cubicBezTo>
                <a:cubicBezTo>
                  <a:pt x="524" y="528"/>
                  <a:pt x="524" y="527"/>
                  <a:pt x="524" y="527"/>
                </a:cubicBezTo>
                <a:cubicBezTo>
                  <a:pt x="524" y="526"/>
                  <a:pt x="523" y="526"/>
                  <a:pt x="523" y="526"/>
                </a:cubicBezTo>
                <a:cubicBezTo>
                  <a:pt x="522" y="526"/>
                  <a:pt x="522" y="526"/>
                  <a:pt x="521" y="526"/>
                </a:cubicBezTo>
                <a:cubicBezTo>
                  <a:pt x="521" y="527"/>
                  <a:pt x="520" y="527"/>
                  <a:pt x="520" y="527"/>
                </a:cubicBezTo>
                <a:cubicBezTo>
                  <a:pt x="516" y="530"/>
                  <a:pt x="513" y="531"/>
                  <a:pt x="509" y="532"/>
                </a:cubicBezTo>
                <a:cubicBezTo>
                  <a:pt x="506" y="533"/>
                  <a:pt x="504" y="534"/>
                  <a:pt x="503" y="531"/>
                </a:cubicBezTo>
                <a:cubicBezTo>
                  <a:pt x="502" y="529"/>
                  <a:pt x="500" y="530"/>
                  <a:pt x="498" y="530"/>
                </a:cubicBezTo>
                <a:cubicBezTo>
                  <a:pt x="498" y="530"/>
                  <a:pt x="498" y="530"/>
                  <a:pt x="498" y="530"/>
                </a:cubicBezTo>
                <a:cubicBezTo>
                  <a:pt x="498" y="530"/>
                  <a:pt x="498" y="530"/>
                  <a:pt x="498" y="530"/>
                </a:cubicBezTo>
                <a:cubicBezTo>
                  <a:pt x="497" y="530"/>
                  <a:pt x="497" y="530"/>
                  <a:pt x="497" y="531"/>
                </a:cubicBezTo>
                <a:cubicBezTo>
                  <a:pt x="497" y="530"/>
                  <a:pt x="497" y="530"/>
                  <a:pt x="497" y="530"/>
                </a:cubicBezTo>
                <a:cubicBezTo>
                  <a:pt x="497" y="530"/>
                  <a:pt x="497" y="530"/>
                  <a:pt x="498" y="530"/>
                </a:cubicBezTo>
                <a:cubicBezTo>
                  <a:pt x="498" y="530"/>
                  <a:pt x="498" y="530"/>
                  <a:pt x="498" y="530"/>
                </a:cubicBezTo>
                <a:cubicBezTo>
                  <a:pt x="498" y="530"/>
                  <a:pt x="498" y="530"/>
                  <a:pt x="498" y="530"/>
                </a:cubicBezTo>
                <a:cubicBezTo>
                  <a:pt x="500" y="527"/>
                  <a:pt x="503" y="525"/>
                  <a:pt x="507" y="523"/>
                </a:cubicBezTo>
                <a:close/>
                <a:moveTo>
                  <a:pt x="497" y="456"/>
                </a:moveTo>
                <a:cubicBezTo>
                  <a:pt x="497" y="455"/>
                  <a:pt x="496" y="455"/>
                  <a:pt x="497" y="454"/>
                </a:cubicBezTo>
                <a:cubicBezTo>
                  <a:pt x="497" y="454"/>
                  <a:pt x="497" y="454"/>
                  <a:pt x="497" y="454"/>
                </a:cubicBezTo>
                <a:cubicBezTo>
                  <a:pt x="498" y="455"/>
                  <a:pt x="498" y="455"/>
                  <a:pt x="498" y="455"/>
                </a:cubicBezTo>
                <a:cubicBezTo>
                  <a:pt x="498" y="455"/>
                  <a:pt x="497" y="456"/>
                  <a:pt x="497" y="456"/>
                </a:cubicBezTo>
                <a:close/>
                <a:moveTo>
                  <a:pt x="493" y="331"/>
                </a:moveTo>
                <a:cubicBezTo>
                  <a:pt x="494" y="331"/>
                  <a:pt x="495" y="330"/>
                  <a:pt x="496" y="330"/>
                </a:cubicBezTo>
                <a:cubicBezTo>
                  <a:pt x="497" y="330"/>
                  <a:pt x="497" y="331"/>
                  <a:pt x="498" y="331"/>
                </a:cubicBezTo>
                <a:cubicBezTo>
                  <a:pt x="496" y="333"/>
                  <a:pt x="496" y="335"/>
                  <a:pt x="496" y="338"/>
                </a:cubicBezTo>
                <a:cubicBezTo>
                  <a:pt x="495" y="339"/>
                  <a:pt x="493" y="340"/>
                  <a:pt x="492" y="338"/>
                </a:cubicBezTo>
                <a:cubicBezTo>
                  <a:pt x="489" y="335"/>
                  <a:pt x="489" y="333"/>
                  <a:pt x="493" y="331"/>
                </a:cubicBezTo>
                <a:close/>
                <a:moveTo>
                  <a:pt x="491" y="374"/>
                </a:moveTo>
                <a:cubicBezTo>
                  <a:pt x="491" y="374"/>
                  <a:pt x="491" y="373"/>
                  <a:pt x="491" y="373"/>
                </a:cubicBezTo>
                <a:cubicBezTo>
                  <a:pt x="491" y="373"/>
                  <a:pt x="491" y="373"/>
                  <a:pt x="491" y="372"/>
                </a:cubicBezTo>
                <a:cubicBezTo>
                  <a:pt x="492" y="372"/>
                  <a:pt x="492" y="372"/>
                  <a:pt x="492" y="373"/>
                </a:cubicBezTo>
                <a:cubicBezTo>
                  <a:pt x="492" y="373"/>
                  <a:pt x="491" y="373"/>
                  <a:pt x="491" y="373"/>
                </a:cubicBezTo>
                <a:cubicBezTo>
                  <a:pt x="491" y="373"/>
                  <a:pt x="491" y="374"/>
                  <a:pt x="491" y="374"/>
                </a:cubicBezTo>
                <a:cubicBezTo>
                  <a:pt x="490" y="375"/>
                  <a:pt x="490" y="375"/>
                  <a:pt x="489" y="376"/>
                </a:cubicBezTo>
                <a:cubicBezTo>
                  <a:pt x="489" y="376"/>
                  <a:pt x="489" y="376"/>
                  <a:pt x="489" y="376"/>
                </a:cubicBezTo>
                <a:cubicBezTo>
                  <a:pt x="489" y="376"/>
                  <a:pt x="489" y="376"/>
                  <a:pt x="489" y="376"/>
                </a:cubicBezTo>
                <a:cubicBezTo>
                  <a:pt x="489" y="375"/>
                  <a:pt x="490" y="374"/>
                  <a:pt x="491" y="374"/>
                </a:cubicBezTo>
                <a:close/>
                <a:moveTo>
                  <a:pt x="489" y="345"/>
                </a:moveTo>
                <a:cubicBezTo>
                  <a:pt x="489" y="345"/>
                  <a:pt x="489" y="345"/>
                  <a:pt x="489" y="345"/>
                </a:cubicBezTo>
                <a:cubicBezTo>
                  <a:pt x="488" y="345"/>
                  <a:pt x="488" y="345"/>
                  <a:pt x="488" y="345"/>
                </a:cubicBezTo>
                <a:lnTo>
                  <a:pt x="489" y="345"/>
                </a:lnTo>
                <a:close/>
                <a:moveTo>
                  <a:pt x="485" y="412"/>
                </a:moveTo>
                <a:cubicBezTo>
                  <a:pt x="485" y="413"/>
                  <a:pt x="485" y="413"/>
                  <a:pt x="485" y="413"/>
                </a:cubicBezTo>
                <a:cubicBezTo>
                  <a:pt x="485" y="413"/>
                  <a:pt x="485" y="413"/>
                  <a:pt x="485" y="413"/>
                </a:cubicBezTo>
                <a:lnTo>
                  <a:pt x="485" y="412"/>
                </a:lnTo>
                <a:close/>
                <a:moveTo>
                  <a:pt x="482" y="506"/>
                </a:moveTo>
                <a:cubicBezTo>
                  <a:pt x="482" y="504"/>
                  <a:pt x="482" y="503"/>
                  <a:pt x="484" y="502"/>
                </a:cubicBezTo>
                <a:cubicBezTo>
                  <a:pt x="484" y="502"/>
                  <a:pt x="484" y="502"/>
                  <a:pt x="484" y="502"/>
                </a:cubicBezTo>
                <a:cubicBezTo>
                  <a:pt x="484" y="502"/>
                  <a:pt x="484" y="502"/>
                  <a:pt x="484" y="501"/>
                </a:cubicBezTo>
                <a:cubicBezTo>
                  <a:pt x="484" y="502"/>
                  <a:pt x="484" y="502"/>
                  <a:pt x="484" y="502"/>
                </a:cubicBezTo>
                <a:cubicBezTo>
                  <a:pt x="484" y="502"/>
                  <a:pt x="484" y="502"/>
                  <a:pt x="484" y="502"/>
                </a:cubicBezTo>
                <a:cubicBezTo>
                  <a:pt x="484" y="503"/>
                  <a:pt x="484" y="504"/>
                  <a:pt x="484" y="505"/>
                </a:cubicBezTo>
                <a:cubicBezTo>
                  <a:pt x="485" y="505"/>
                  <a:pt x="485" y="506"/>
                  <a:pt x="484" y="506"/>
                </a:cubicBezTo>
                <a:cubicBezTo>
                  <a:pt x="484" y="506"/>
                  <a:pt x="484" y="507"/>
                  <a:pt x="483" y="507"/>
                </a:cubicBezTo>
                <a:cubicBezTo>
                  <a:pt x="483" y="507"/>
                  <a:pt x="483" y="507"/>
                  <a:pt x="482" y="507"/>
                </a:cubicBezTo>
                <a:cubicBezTo>
                  <a:pt x="482" y="507"/>
                  <a:pt x="481" y="506"/>
                  <a:pt x="482" y="506"/>
                </a:cubicBezTo>
                <a:close/>
                <a:moveTo>
                  <a:pt x="480" y="443"/>
                </a:moveTo>
                <a:cubicBezTo>
                  <a:pt x="481" y="443"/>
                  <a:pt x="481" y="443"/>
                  <a:pt x="481" y="443"/>
                </a:cubicBezTo>
                <a:cubicBezTo>
                  <a:pt x="480" y="443"/>
                  <a:pt x="480" y="443"/>
                  <a:pt x="480" y="443"/>
                </a:cubicBezTo>
                <a:close/>
                <a:moveTo>
                  <a:pt x="478" y="415"/>
                </a:moveTo>
                <a:cubicBezTo>
                  <a:pt x="478" y="415"/>
                  <a:pt x="479" y="416"/>
                  <a:pt x="479" y="416"/>
                </a:cubicBezTo>
                <a:cubicBezTo>
                  <a:pt x="479" y="417"/>
                  <a:pt x="479" y="417"/>
                  <a:pt x="478" y="417"/>
                </a:cubicBezTo>
                <a:cubicBezTo>
                  <a:pt x="477" y="417"/>
                  <a:pt x="477" y="417"/>
                  <a:pt x="477" y="417"/>
                </a:cubicBezTo>
                <a:cubicBezTo>
                  <a:pt x="477" y="416"/>
                  <a:pt x="477" y="416"/>
                  <a:pt x="478" y="415"/>
                </a:cubicBezTo>
                <a:close/>
                <a:moveTo>
                  <a:pt x="476" y="482"/>
                </a:moveTo>
                <a:cubicBezTo>
                  <a:pt x="477" y="485"/>
                  <a:pt x="476" y="488"/>
                  <a:pt x="474" y="489"/>
                </a:cubicBezTo>
                <a:cubicBezTo>
                  <a:pt x="474" y="490"/>
                  <a:pt x="474" y="490"/>
                  <a:pt x="474" y="490"/>
                </a:cubicBezTo>
                <a:cubicBezTo>
                  <a:pt x="473" y="490"/>
                  <a:pt x="473" y="490"/>
                  <a:pt x="473" y="490"/>
                </a:cubicBezTo>
                <a:cubicBezTo>
                  <a:pt x="473" y="490"/>
                  <a:pt x="473" y="490"/>
                  <a:pt x="473" y="490"/>
                </a:cubicBezTo>
                <a:cubicBezTo>
                  <a:pt x="473" y="490"/>
                  <a:pt x="474" y="489"/>
                  <a:pt x="474" y="489"/>
                </a:cubicBezTo>
                <a:cubicBezTo>
                  <a:pt x="473" y="487"/>
                  <a:pt x="474" y="484"/>
                  <a:pt x="475" y="481"/>
                </a:cubicBezTo>
                <a:cubicBezTo>
                  <a:pt x="476" y="481"/>
                  <a:pt x="476" y="481"/>
                  <a:pt x="476" y="481"/>
                </a:cubicBezTo>
                <a:cubicBezTo>
                  <a:pt x="476" y="481"/>
                  <a:pt x="476" y="482"/>
                  <a:pt x="476" y="482"/>
                </a:cubicBezTo>
                <a:close/>
                <a:moveTo>
                  <a:pt x="475" y="447"/>
                </a:moveTo>
                <a:cubicBezTo>
                  <a:pt x="476" y="447"/>
                  <a:pt x="476" y="447"/>
                  <a:pt x="476" y="447"/>
                </a:cubicBezTo>
                <a:cubicBezTo>
                  <a:pt x="476" y="447"/>
                  <a:pt x="476" y="448"/>
                  <a:pt x="476" y="448"/>
                </a:cubicBezTo>
                <a:cubicBezTo>
                  <a:pt x="476" y="448"/>
                  <a:pt x="475" y="448"/>
                  <a:pt x="475" y="448"/>
                </a:cubicBezTo>
                <a:cubicBezTo>
                  <a:pt x="475" y="447"/>
                  <a:pt x="475" y="447"/>
                  <a:pt x="475" y="447"/>
                </a:cubicBezTo>
                <a:close/>
                <a:moveTo>
                  <a:pt x="470" y="454"/>
                </a:moveTo>
                <a:cubicBezTo>
                  <a:pt x="470" y="454"/>
                  <a:pt x="471" y="454"/>
                  <a:pt x="471" y="454"/>
                </a:cubicBezTo>
                <a:cubicBezTo>
                  <a:pt x="473" y="454"/>
                  <a:pt x="474" y="455"/>
                  <a:pt x="475" y="457"/>
                </a:cubicBezTo>
                <a:cubicBezTo>
                  <a:pt x="475" y="459"/>
                  <a:pt x="476" y="461"/>
                  <a:pt x="476" y="463"/>
                </a:cubicBezTo>
                <a:cubicBezTo>
                  <a:pt x="475" y="466"/>
                  <a:pt x="475" y="468"/>
                  <a:pt x="475" y="471"/>
                </a:cubicBezTo>
                <a:cubicBezTo>
                  <a:pt x="476" y="472"/>
                  <a:pt x="476" y="473"/>
                  <a:pt x="476" y="474"/>
                </a:cubicBezTo>
                <a:cubicBezTo>
                  <a:pt x="476" y="475"/>
                  <a:pt x="476" y="476"/>
                  <a:pt x="475" y="476"/>
                </a:cubicBezTo>
                <a:cubicBezTo>
                  <a:pt x="475" y="477"/>
                  <a:pt x="474" y="476"/>
                  <a:pt x="474" y="475"/>
                </a:cubicBezTo>
                <a:cubicBezTo>
                  <a:pt x="473" y="474"/>
                  <a:pt x="473" y="473"/>
                  <a:pt x="472" y="473"/>
                </a:cubicBezTo>
                <a:cubicBezTo>
                  <a:pt x="470" y="473"/>
                  <a:pt x="470" y="472"/>
                  <a:pt x="469" y="470"/>
                </a:cubicBezTo>
                <a:cubicBezTo>
                  <a:pt x="469" y="470"/>
                  <a:pt x="469" y="469"/>
                  <a:pt x="468" y="468"/>
                </a:cubicBezTo>
                <a:cubicBezTo>
                  <a:pt x="468" y="466"/>
                  <a:pt x="467" y="463"/>
                  <a:pt x="468" y="461"/>
                </a:cubicBezTo>
                <a:cubicBezTo>
                  <a:pt x="468" y="460"/>
                  <a:pt x="467" y="459"/>
                  <a:pt x="467" y="458"/>
                </a:cubicBezTo>
                <a:cubicBezTo>
                  <a:pt x="468" y="457"/>
                  <a:pt x="469" y="455"/>
                  <a:pt x="470" y="454"/>
                </a:cubicBezTo>
                <a:close/>
                <a:moveTo>
                  <a:pt x="460" y="466"/>
                </a:moveTo>
                <a:cubicBezTo>
                  <a:pt x="459" y="467"/>
                  <a:pt x="458" y="469"/>
                  <a:pt x="457" y="470"/>
                </a:cubicBezTo>
                <a:cubicBezTo>
                  <a:pt x="457" y="470"/>
                  <a:pt x="457" y="471"/>
                  <a:pt x="456" y="470"/>
                </a:cubicBezTo>
                <a:cubicBezTo>
                  <a:pt x="456" y="470"/>
                  <a:pt x="456" y="469"/>
                  <a:pt x="456" y="469"/>
                </a:cubicBezTo>
                <a:cubicBezTo>
                  <a:pt x="456" y="469"/>
                  <a:pt x="456" y="469"/>
                  <a:pt x="456" y="468"/>
                </a:cubicBezTo>
                <a:cubicBezTo>
                  <a:pt x="457" y="467"/>
                  <a:pt x="458" y="465"/>
                  <a:pt x="457" y="464"/>
                </a:cubicBezTo>
                <a:cubicBezTo>
                  <a:pt x="457" y="461"/>
                  <a:pt x="455" y="462"/>
                  <a:pt x="454" y="461"/>
                </a:cubicBezTo>
                <a:cubicBezTo>
                  <a:pt x="453" y="461"/>
                  <a:pt x="453" y="460"/>
                  <a:pt x="453" y="460"/>
                </a:cubicBezTo>
                <a:cubicBezTo>
                  <a:pt x="454" y="460"/>
                  <a:pt x="454" y="459"/>
                  <a:pt x="454" y="459"/>
                </a:cubicBezTo>
                <a:cubicBezTo>
                  <a:pt x="455" y="459"/>
                  <a:pt x="455" y="459"/>
                  <a:pt x="456" y="459"/>
                </a:cubicBezTo>
                <a:cubicBezTo>
                  <a:pt x="457" y="460"/>
                  <a:pt x="458" y="460"/>
                  <a:pt x="459" y="460"/>
                </a:cubicBezTo>
                <a:cubicBezTo>
                  <a:pt x="459" y="460"/>
                  <a:pt x="459" y="460"/>
                  <a:pt x="459" y="460"/>
                </a:cubicBezTo>
                <a:cubicBezTo>
                  <a:pt x="459" y="460"/>
                  <a:pt x="459" y="460"/>
                  <a:pt x="459" y="460"/>
                </a:cubicBezTo>
                <a:cubicBezTo>
                  <a:pt x="458" y="458"/>
                  <a:pt x="457" y="457"/>
                  <a:pt x="457" y="456"/>
                </a:cubicBezTo>
                <a:cubicBezTo>
                  <a:pt x="455" y="453"/>
                  <a:pt x="456" y="451"/>
                  <a:pt x="456" y="449"/>
                </a:cubicBezTo>
                <a:cubicBezTo>
                  <a:pt x="457" y="448"/>
                  <a:pt x="458" y="447"/>
                  <a:pt x="458" y="447"/>
                </a:cubicBezTo>
                <a:cubicBezTo>
                  <a:pt x="459" y="447"/>
                  <a:pt x="460" y="447"/>
                  <a:pt x="460" y="448"/>
                </a:cubicBezTo>
                <a:cubicBezTo>
                  <a:pt x="461" y="449"/>
                  <a:pt x="462" y="450"/>
                  <a:pt x="463" y="451"/>
                </a:cubicBezTo>
                <a:cubicBezTo>
                  <a:pt x="463" y="451"/>
                  <a:pt x="463" y="451"/>
                  <a:pt x="463" y="451"/>
                </a:cubicBezTo>
                <a:cubicBezTo>
                  <a:pt x="463" y="451"/>
                  <a:pt x="463" y="451"/>
                  <a:pt x="463" y="451"/>
                </a:cubicBezTo>
                <a:cubicBezTo>
                  <a:pt x="463" y="452"/>
                  <a:pt x="463" y="452"/>
                  <a:pt x="463" y="452"/>
                </a:cubicBezTo>
                <a:cubicBezTo>
                  <a:pt x="463" y="452"/>
                  <a:pt x="463" y="451"/>
                  <a:pt x="463" y="451"/>
                </a:cubicBezTo>
                <a:cubicBezTo>
                  <a:pt x="461" y="454"/>
                  <a:pt x="461" y="456"/>
                  <a:pt x="463" y="458"/>
                </a:cubicBezTo>
                <a:cubicBezTo>
                  <a:pt x="463" y="458"/>
                  <a:pt x="463" y="459"/>
                  <a:pt x="462" y="459"/>
                </a:cubicBezTo>
                <a:cubicBezTo>
                  <a:pt x="461" y="459"/>
                  <a:pt x="460" y="459"/>
                  <a:pt x="459" y="460"/>
                </a:cubicBezTo>
                <a:cubicBezTo>
                  <a:pt x="459" y="460"/>
                  <a:pt x="459" y="460"/>
                  <a:pt x="459" y="460"/>
                </a:cubicBezTo>
                <a:cubicBezTo>
                  <a:pt x="459" y="460"/>
                  <a:pt x="459" y="460"/>
                  <a:pt x="459" y="460"/>
                </a:cubicBezTo>
                <a:cubicBezTo>
                  <a:pt x="460" y="461"/>
                  <a:pt x="460" y="462"/>
                  <a:pt x="460" y="463"/>
                </a:cubicBezTo>
                <a:cubicBezTo>
                  <a:pt x="460" y="464"/>
                  <a:pt x="460" y="465"/>
                  <a:pt x="460" y="466"/>
                </a:cubicBezTo>
                <a:close/>
                <a:moveTo>
                  <a:pt x="464" y="490"/>
                </a:moveTo>
                <a:cubicBezTo>
                  <a:pt x="464" y="490"/>
                  <a:pt x="463" y="490"/>
                  <a:pt x="463" y="490"/>
                </a:cubicBezTo>
                <a:cubicBezTo>
                  <a:pt x="463" y="490"/>
                  <a:pt x="462" y="490"/>
                  <a:pt x="462" y="490"/>
                </a:cubicBezTo>
                <a:cubicBezTo>
                  <a:pt x="461" y="488"/>
                  <a:pt x="461" y="486"/>
                  <a:pt x="461" y="485"/>
                </a:cubicBezTo>
                <a:cubicBezTo>
                  <a:pt x="460" y="484"/>
                  <a:pt x="461" y="484"/>
                  <a:pt x="461" y="483"/>
                </a:cubicBezTo>
                <a:cubicBezTo>
                  <a:pt x="461" y="483"/>
                  <a:pt x="461" y="483"/>
                  <a:pt x="461" y="483"/>
                </a:cubicBezTo>
                <a:cubicBezTo>
                  <a:pt x="461" y="482"/>
                  <a:pt x="461" y="482"/>
                  <a:pt x="462" y="482"/>
                </a:cubicBezTo>
                <a:cubicBezTo>
                  <a:pt x="462" y="482"/>
                  <a:pt x="462" y="482"/>
                  <a:pt x="462" y="482"/>
                </a:cubicBezTo>
                <a:cubicBezTo>
                  <a:pt x="462" y="481"/>
                  <a:pt x="462" y="481"/>
                  <a:pt x="462" y="481"/>
                </a:cubicBezTo>
                <a:cubicBezTo>
                  <a:pt x="462" y="481"/>
                  <a:pt x="462" y="481"/>
                  <a:pt x="462" y="482"/>
                </a:cubicBezTo>
                <a:cubicBezTo>
                  <a:pt x="461" y="482"/>
                  <a:pt x="461" y="483"/>
                  <a:pt x="461" y="483"/>
                </a:cubicBezTo>
                <a:cubicBezTo>
                  <a:pt x="461" y="483"/>
                  <a:pt x="461" y="483"/>
                  <a:pt x="461" y="483"/>
                </a:cubicBezTo>
                <a:cubicBezTo>
                  <a:pt x="462" y="485"/>
                  <a:pt x="463" y="486"/>
                  <a:pt x="464" y="488"/>
                </a:cubicBezTo>
                <a:cubicBezTo>
                  <a:pt x="464" y="489"/>
                  <a:pt x="464" y="489"/>
                  <a:pt x="464" y="490"/>
                </a:cubicBezTo>
                <a:close/>
                <a:moveTo>
                  <a:pt x="461" y="314"/>
                </a:moveTo>
                <a:cubicBezTo>
                  <a:pt x="461" y="314"/>
                  <a:pt x="461" y="313"/>
                  <a:pt x="462" y="313"/>
                </a:cubicBezTo>
                <a:cubicBezTo>
                  <a:pt x="462" y="314"/>
                  <a:pt x="462" y="314"/>
                  <a:pt x="462" y="315"/>
                </a:cubicBezTo>
                <a:cubicBezTo>
                  <a:pt x="462" y="315"/>
                  <a:pt x="462" y="315"/>
                  <a:pt x="461" y="315"/>
                </a:cubicBezTo>
                <a:cubicBezTo>
                  <a:pt x="461" y="315"/>
                  <a:pt x="461" y="314"/>
                  <a:pt x="461" y="314"/>
                </a:cubicBezTo>
                <a:close/>
                <a:moveTo>
                  <a:pt x="456" y="395"/>
                </a:moveTo>
                <a:cubicBezTo>
                  <a:pt x="456" y="394"/>
                  <a:pt x="457" y="393"/>
                  <a:pt x="459" y="393"/>
                </a:cubicBezTo>
                <a:cubicBezTo>
                  <a:pt x="459" y="393"/>
                  <a:pt x="460" y="393"/>
                  <a:pt x="460" y="394"/>
                </a:cubicBezTo>
                <a:cubicBezTo>
                  <a:pt x="460" y="394"/>
                  <a:pt x="460" y="394"/>
                  <a:pt x="460" y="394"/>
                </a:cubicBezTo>
                <a:cubicBezTo>
                  <a:pt x="459" y="396"/>
                  <a:pt x="458" y="397"/>
                  <a:pt x="456" y="398"/>
                </a:cubicBezTo>
                <a:cubicBezTo>
                  <a:pt x="456" y="398"/>
                  <a:pt x="456" y="398"/>
                  <a:pt x="456" y="399"/>
                </a:cubicBezTo>
                <a:cubicBezTo>
                  <a:pt x="456" y="399"/>
                  <a:pt x="456" y="399"/>
                  <a:pt x="455" y="399"/>
                </a:cubicBezTo>
                <a:cubicBezTo>
                  <a:pt x="455" y="399"/>
                  <a:pt x="455" y="399"/>
                  <a:pt x="455" y="399"/>
                </a:cubicBezTo>
                <a:cubicBezTo>
                  <a:pt x="455" y="399"/>
                  <a:pt x="455" y="399"/>
                  <a:pt x="455" y="399"/>
                </a:cubicBezTo>
                <a:cubicBezTo>
                  <a:pt x="455" y="399"/>
                  <a:pt x="455" y="399"/>
                  <a:pt x="455" y="399"/>
                </a:cubicBezTo>
                <a:cubicBezTo>
                  <a:pt x="456" y="399"/>
                  <a:pt x="456" y="398"/>
                  <a:pt x="456" y="398"/>
                </a:cubicBezTo>
                <a:cubicBezTo>
                  <a:pt x="456" y="398"/>
                  <a:pt x="456" y="398"/>
                  <a:pt x="456" y="398"/>
                </a:cubicBezTo>
                <a:cubicBezTo>
                  <a:pt x="456" y="397"/>
                  <a:pt x="456" y="396"/>
                  <a:pt x="456" y="395"/>
                </a:cubicBezTo>
                <a:close/>
                <a:moveTo>
                  <a:pt x="455" y="311"/>
                </a:moveTo>
                <a:cubicBezTo>
                  <a:pt x="456" y="311"/>
                  <a:pt x="456" y="311"/>
                  <a:pt x="455" y="312"/>
                </a:cubicBezTo>
                <a:cubicBezTo>
                  <a:pt x="455" y="312"/>
                  <a:pt x="455" y="312"/>
                  <a:pt x="455" y="312"/>
                </a:cubicBezTo>
                <a:cubicBezTo>
                  <a:pt x="455" y="312"/>
                  <a:pt x="454" y="312"/>
                  <a:pt x="454" y="311"/>
                </a:cubicBezTo>
                <a:cubicBezTo>
                  <a:pt x="454" y="311"/>
                  <a:pt x="455" y="311"/>
                  <a:pt x="455" y="311"/>
                </a:cubicBezTo>
                <a:close/>
                <a:moveTo>
                  <a:pt x="452" y="417"/>
                </a:moveTo>
                <a:cubicBezTo>
                  <a:pt x="453" y="417"/>
                  <a:pt x="454" y="417"/>
                  <a:pt x="455" y="416"/>
                </a:cubicBezTo>
                <a:cubicBezTo>
                  <a:pt x="455" y="416"/>
                  <a:pt x="455" y="416"/>
                  <a:pt x="456" y="416"/>
                </a:cubicBezTo>
                <a:cubicBezTo>
                  <a:pt x="456" y="415"/>
                  <a:pt x="457" y="415"/>
                  <a:pt x="458" y="414"/>
                </a:cubicBezTo>
                <a:cubicBezTo>
                  <a:pt x="458" y="414"/>
                  <a:pt x="458" y="414"/>
                  <a:pt x="458" y="414"/>
                </a:cubicBezTo>
                <a:cubicBezTo>
                  <a:pt x="458" y="414"/>
                  <a:pt x="458" y="414"/>
                  <a:pt x="458" y="414"/>
                </a:cubicBezTo>
                <a:cubicBezTo>
                  <a:pt x="456" y="406"/>
                  <a:pt x="455" y="406"/>
                  <a:pt x="463" y="401"/>
                </a:cubicBezTo>
                <a:cubicBezTo>
                  <a:pt x="464" y="401"/>
                  <a:pt x="464" y="401"/>
                  <a:pt x="465" y="402"/>
                </a:cubicBezTo>
                <a:cubicBezTo>
                  <a:pt x="465" y="402"/>
                  <a:pt x="465" y="403"/>
                  <a:pt x="465" y="403"/>
                </a:cubicBezTo>
                <a:cubicBezTo>
                  <a:pt x="465" y="403"/>
                  <a:pt x="465" y="404"/>
                  <a:pt x="465" y="404"/>
                </a:cubicBezTo>
                <a:cubicBezTo>
                  <a:pt x="464" y="405"/>
                  <a:pt x="462" y="407"/>
                  <a:pt x="461" y="408"/>
                </a:cubicBezTo>
                <a:cubicBezTo>
                  <a:pt x="460" y="410"/>
                  <a:pt x="460" y="411"/>
                  <a:pt x="459" y="413"/>
                </a:cubicBezTo>
                <a:cubicBezTo>
                  <a:pt x="459" y="413"/>
                  <a:pt x="458" y="414"/>
                  <a:pt x="458" y="414"/>
                </a:cubicBezTo>
                <a:cubicBezTo>
                  <a:pt x="458" y="414"/>
                  <a:pt x="458" y="414"/>
                  <a:pt x="458" y="414"/>
                </a:cubicBezTo>
                <a:cubicBezTo>
                  <a:pt x="457" y="415"/>
                  <a:pt x="456" y="416"/>
                  <a:pt x="456" y="416"/>
                </a:cubicBezTo>
                <a:cubicBezTo>
                  <a:pt x="456" y="416"/>
                  <a:pt x="455" y="416"/>
                  <a:pt x="455" y="416"/>
                </a:cubicBezTo>
                <a:cubicBezTo>
                  <a:pt x="454" y="417"/>
                  <a:pt x="453" y="418"/>
                  <a:pt x="452" y="418"/>
                </a:cubicBezTo>
                <a:cubicBezTo>
                  <a:pt x="452" y="418"/>
                  <a:pt x="452" y="418"/>
                  <a:pt x="452" y="418"/>
                </a:cubicBezTo>
                <a:cubicBezTo>
                  <a:pt x="452" y="417"/>
                  <a:pt x="452" y="417"/>
                  <a:pt x="452" y="417"/>
                </a:cubicBezTo>
                <a:close/>
                <a:moveTo>
                  <a:pt x="452" y="284"/>
                </a:moveTo>
                <a:cubicBezTo>
                  <a:pt x="451" y="285"/>
                  <a:pt x="451" y="285"/>
                  <a:pt x="451" y="285"/>
                </a:cubicBezTo>
                <a:cubicBezTo>
                  <a:pt x="451" y="284"/>
                  <a:pt x="451" y="284"/>
                  <a:pt x="451" y="284"/>
                </a:cubicBezTo>
                <a:lnTo>
                  <a:pt x="452" y="284"/>
                </a:lnTo>
                <a:close/>
                <a:moveTo>
                  <a:pt x="446" y="302"/>
                </a:moveTo>
                <a:cubicBezTo>
                  <a:pt x="446" y="301"/>
                  <a:pt x="447" y="302"/>
                  <a:pt x="447" y="302"/>
                </a:cubicBezTo>
                <a:cubicBezTo>
                  <a:pt x="447" y="302"/>
                  <a:pt x="447" y="302"/>
                  <a:pt x="447" y="303"/>
                </a:cubicBezTo>
                <a:cubicBezTo>
                  <a:pt x="447" y="303"/>
                  <a:pt x="446" y="303"/>
                  <a:pt x="446" y="303"/>
                </a:cubicBezTo>
                <a:cubicBezTo>
                  <a:pt x="446" y="303"/>
                  <a:pt x="446" y="302"/>
                  <a:pt x="446" y="302"/>
                </a:cubicBezTo>
                <a:close/>
                <a:moveTo>
                  <a:pt x="251" y="374"/>
                </a:moveTo>
                <a:cubicBezTo>
                  <a:pt x="251" y="374"/>
                  <a:pt x="251" y="374"/>
                  <a:pt x="251" y="374"/>
                </a:cubicBezTo>
                <a:cubicBezTo>
                  <a:pt x="251" y="374"/>
                  <a:pt x="251" y="374"/>
                  <a:pt x="251" y="374"/>
                </a:cubicBezTo>
                <a:cubicBezTo>
                  <a:pt x="251" y="374"/>
                  <a:pt x="251" y="374"/>
                  <a:pt x="251" y="374"/>
                </a:cubicBezTo>
                <a:cubicBezTo>
                  <a:pt x="251" y="374"/>
                  <a:pt x="251" y="374"/>
                  <a:pt x="251" y="374"/>
                </a:cubicBezTo>
                <a:close/>
                <a:moveTo>
                  <a:pt x="256" y="362"/>
                </a:moveTo>
                <a:cubicBezTo>
                  <a:pt x="256" y="362"/>
                  <a:pt x="256" y="361"/>
                  <a:pt x="256" y="361"/>
                </a:cubicBezTo>
                <a:cubicBezTo>
                  <a:pt x="256" y="361"/>
                  <a:pt x="255" y="361"/>
                  <a:pt x="255" y="361"/>
                </a:cubicBezTo>
                <a:cubicBezTo>
                  <a:pt x="255" y="360"/>
                  <a:pt x="255" y="360"/>
                  <a:pt x="255" y="360"/>
                </a:cubicBezTo>
                <a:cubicBezTo>
                  <a:pt x="256" y="360"/>
                  <a:pt x="256" y="361"/>
                  <a:pt x="256" y="361"/>
                </a:cubicBezTo>
                <a:cubicBezTo>
                  <a:pt x="256" y="361"/>
                  <a:pt x="256" y="361"/>
                  <a:pt x="256" y="361"/>
                </a:cubicBezTo>
                <a:cubicBezTo>
                  <a:pt x="256" y="362"/>
                  <a:pt x="256" y="362"/>
                  <a:pt x="256" y="362"/>
                </a:cubicBezTo>
                <a:cubicBezTo>
                  <a:pt x="256" y="362"/>
                  <a:pt x="256" y="362"/>
                  <a:pt x="256" y="362"/>
                </a:cubicBezTo>
                <a:close/>
                <a:moveTo>
                  <a:pt x="257" y="351"/>
                </a:moveTo>
                <a:cubicBezTo>
                  <a:pt x="257" y="351"/>
                  <a:pt x="257" y="351"/>
                  <a:pt x="257" y="351"/>
                </a:cubicBezTo>
                <a:cubicBezTo>
                  <a:pt x="257" y="350"/>
                  <a:pt x="257" y="350"/>
                  <a:pt x="257" y="349"/>
                </a:cubicBezTo>
                <a:cubicBezTo>
                  <a:pt x="257" y="350"/>
                  <a:pt x="257" y="350"/>
                  <a:pt x="257" y="350"/>
                </a:cubicBezTo>
                <a:cubicBezTo>
                  <a:pt x="257" y="350"/>
                  <a:pt x="257" y="350"/>
                  <a:pt x="257" y="351"/>
                </a:cubicBezTo>
                <a:close/>
                <a:moveTo>
                  <a:pt x="258" y="397"/>
                </a:moveTo>
                <a:cubicBezTo>
                  <a:pt x="258" y="397"/>
                  <a:pt x="257" y="397"/>
                  <a:pt x="257" y="397"/>
                </a:cubicBezTo>
                <a:cubicBezTo>
                  <a:pt x="256" y="396"/>
                  <a:pt x="255" y="395"/>
                  <a:pt x="255" y="394"/>
                </a:cubicBezTo>
                <a:cubicBezTo>
                  <a:pt x="255" y="392"/>
                  <a:pt x="255" y="391"/>
                  <a:pt x="256" y="390"/>
                </a:cubicBezTo>
                <a:cubicBezTo>
                  <a:pt x="256" y="390"/>
                  <a:pt x="256" y="390"/>
                  <a:pt x="256" y="390"/>
                </a:cubicBezTo>
                <a:cubicBezTo>
                  <a:pt x="256" y="390"/>
                  <a:pt x="256" y="390"/>
                  <a:pt x="256" y="390"/>
                </a:cubicBezTo>
                <a:cubicBezTo>
                  <a:pt x="256" y="389"/>
                  <a:pt x="256" y="389"/>
                  <a:pt x="257" y="388"/>
                </a:cubicBezTo>
                <a:cubicBezTo>
                  <a:pt x="257" y="388"/>
                  <a:pt x="257" y="389"/>
                  <a:pt x="257" y="389"/>
                </a:cubicBezTo>
                <a:cubicBezTo>
                  <a:pt x="257" y="389"/>
                  <a:pt x="257" y="389"/>
                  <a:pt x="256" y="390"/>
                </a:cubicBezTo>
                <a:cubicBezTo>
                  <a:pt x="256" y="390"/>
                  <a:pt x="256" y="390"/>
                  <a:pt x="256" y="390"/>
                </a:cubicBezTo>
                <a:cubicBezTo>
                  <a:pt x="256" y="390"/>
                  <a:pt x="256" y="390"/>
                  <a:pt x="256" y="390"/>
                </a:cubicBezTo>
                <a:cubicBezTo>
                  <a:pt x="257" y="392"/>
                  <a:pt x="258" y="394"/>
                  <a:pt x="259" y="396"/>
                </a:cubicBezTo>
                <a:cubicBezTo>
                  <a:pt x="259" y="396"/>
                  <a:pt x="258" y="397"/>
                  <a:pt x="258" y="397"/>
                </a:cubicBezTo>
                <a:close/>
                <a:moveTo>
                  <a:pt x="261" y="391"/>
                </a:moveTo>
                <a:cubicBezTo>
                  <a:pt x="260" y="391"/>
                  <a:pt x="260" y="391"/>
                  <a:pt x="260" y="390"/>
                </a:cubicBezTo>
                <a:cubicBezTo>
                  <a:pt x="260" y="390"/>
                  <a:pt x="260" y="390"/>
                  <a:pt x="260" y="389"/>
                </a:cubicBezTo>
                <a:cubicBezTo>
                  <a:pt x="261" y="389"/>
                  <a:pt x="261" y="390"/>
                  <a:pt x="262" y="390"/>
                </a:cubicBezTo>
                <a:cubicBezTo>
                  <a:pt x="262" y="391"/>
                  <a:pt x="261" y="391"/>
                  <a:pt x="261" y="391"/>
                </a:cubicBezTo>
                <a:close/>
                <a:moveTo>
                  <a:pt x="339" y="206"/>
                </a:moveTo>
                <a:cubicBezTo>
                  <a:pt x="339" y="206"/>
                  <a:pt x="338" y="206"/>
                  <a:pt x="338" y="206"/>
                </a:cubicBezTo>
                <a:cubicBezTo>
                  <a:pt x="338" y="205"/>
                  <a:pt x="338" y="204"/>
                  <a:pt x="338" y="204"/>
                </a:cubicBezTo>
                <a:cubicBezTo>
                  <a:pt x="338" y="203"/>
                  <a:pt x="338" y="202"/>
                  <a:pt x="339" y="201"/>
                </a:cubicBezTo>
                <a:cubicBezTo>
                  <a:pt x="339" y="201"/>
                  <a:pt x="339" y="201"/>
                  <a:pt x="339" y="201"/>
                </a:cubicBezTo>
                <a:cubicBezTo>
                  <a:pt x="339" y="201"/>
                  <a:pt x="339" y="201"/>
                  <a:pt x="339" y="201"/>
                </a:cubicBezTo>
                <a:cubicBezTo>
                  <a:pt x="339" y="202"/>
                  <a:pt x="339" y="204"/>
                  <a:pt x="340" y="205"/>
                </a:cubicBezTo>
                <a:cubicBezTo>
                  <a:pt x="340" y="206"/>
                  <a:pt x="339" y="206"/>
                  <a:pt x="339" y="206"/>
                </a:cubicBezTo>
                <a:close/>
                <a:moveTo>
                  <a:pt x="351" y="202"/>
                </a:moveTo>
                <a:cubicBezTo>
                  <a:pt x="351" y="202"/>
                  <a:pt x="350" y="203"/>
                  <a:pt x="350" y="203"/>
                </a:cubicBezTo>
                <a:cubicBezTo>
                  <a:pt x="350" y="203"/>
                  <a:pt x="350" y="202"/>
                  <a:pt x="351" y="202"/>
                </a:cubicBezTo>
                <a:cubicBezTo>
                  <a:pt x="351" y="202"/>
                  <a:pt x="351" y="202"/>
                  <a:pt x="351" y="202"/>
                </a:cubicBezTo>
                <a:close/>
                <a:moveTo>
                  <a:pt x="354" y="348"/>
                </a:moveTo>
                <a:cubicBezTo>
                  <a:pt x="354" y="348"/>
                  <a:pt x="354" y="348"/>
                  <a:pt x="354" y="348"/>
                </a:cubicBezTo>
                <a:cubicBezTo>
                  <a:pt x="354" y="348"/>
                  <a:pt x="354" y="348"/>
                  <a:pt x="354" y="348"/>
                </a:cubicBezTo>
                <a:cubicBezTo>
                  <a:pt x="354" y="347"/>
                  <a:pt x="354" y="347"/>
                  <a:pt x="354" y="347"/>
                </a:cubicBezTo>
                <a:lnTo>
                  <a:pt x="354" y="348"/>
                </a:lnTo>
                <a:close/>
                <a:moveTo>
                  <a:pt x="367" y="419"/>
                </a:moveTo>
                <a:cubicBezTo>
                  <a:pt x="367" y="419"/>
                  <a:pt x="367" y="419"/>
                  <a:pt x="367" y="419"/>
                </a:cubicBezTo>
                <a:cubicBezTo>
                  <a:pt x="367" y="419"/>
                  <a:pt x="367" y="418"/>
                  <a:pt x="368" y="418"/>
                </a:cubicBezTo>
                <a:cubicBezTo>
                  <a:pt x="368" y="418"/>
                  <a:pt x="368" y="419"/>
                  <a:pt x="368" y="419"/>
                </a:cubicBezTo>
                <a:cubicBezTo>
                  <a:pt x="368" y="419"/>
                  <a:pt x="368" y="419"/>
                  <a:pt x="367" y="419"/>
                </a:cubicBezTo>
                <a:close/>
                <a:moveTo>
                  <a:pt x="369" y="196"/>
                </a:moveTo>
                <a:cubicBezTo>
                  <a:pt x="369" y="197"/>
                  <a:pt x="369" y="197"/>
                  <a:pt x="369" y="197"/>
                </a:cubicBezTo>
                <a:cubicBezTo>
                  <a:pt x="366" y="197"/>
                  <a:pt x="363" y="197"/>
                  <a:pt x="360" y="197"/>
                </a:cubicBezTo>
                <a:cubicBezTo>
                  <a:pt x="360" y="197"/>
                  <a:pt x="360" y="197"/>
                  <a:pt x="359" y="197"/>
                </a:cubicBezTo>
                <a:cubicBezTo>
                  <a:pt x="359" y="198"/>
                  <a:pt x="358" y="198"/>
                  <a:pt x="358" y="199"/>
                </a:cubicBezTo>
                <a:cubicBezTo>
                  <a:pt x="357" y="199"/>
                  <a:pt x="357" y="199"/>
                  <a:pt x="357" y="199"/>
                </a:cubicBezTo>
                <a:cubicBezTo>
                  <a:pt x="357" y="199"/>
                  <a:pt x="357" y="200"/>
                  <a:pt x="356" y="200"/>
                </a:cubicBezTo>
                <a:cubicBezTo>
                  <a:pt x="356" y="200"/>
                  <a:pt x="356" y="200"/>
                  <a:pt x="356" y="200"/>
                </a:cubicBezTo>
                <a:cubicBezTo>
                  <a:pt x="356" y="199"/>
                  <a:pt x="357" y="199"/>
                  <a:pt x="357" y="199"/>
                </a:cubicBezTo>
                <a:cubicBezTo>
                  <a:pt x="357" y="199"/>
                  <a:pt x="357" y="199"/>
                  <a:pt x="357" y="199"/>
                </a:cubicBezTo>
                <a:cubicBezTo>
                  <a:pt x="358" y="198"/>
                  <a:pt x="359" y="197"/>
                  <a:pt x="359" y="197"/>
                </a:cubicBezTo>
                <a:cubicBezTo>
                  <a:pt x="360" y="197"/>
                  <a:pt x="360" y="197"/>
                  <a:pt x="360" y="197"/>
                </a:cubicBezTo>
                <a:cubicBezTo>
                  <a:pt x="363" y="195"/>
                  <a:pt x="366" y="195"/>
                  <a:pt x="369" y="196"/>
                </a:cubicBezTo>
                <a:cubicBezTo>
                  <a:pt x="369" y="196"/>
                  <a:pt x="369" y="196"/>
                  <a:pt x="369" y="196"/>
                </a:cubicBezTo>
                <a:close/>
                <a:moveTo>
                  <a:pt x="433" y="433"/>
                </a:moveTo>
                <a:cubicBezTo>
                  <a:pt x="433" y="433"/>
                  <a:pt x="433" y="433"/>
                  <a:pt x="432" y="433"/>
                </a:cubicBezTo>
                <a:cubicBezTo>
                  <a:pt x="432" y="432"/>
                  <a:pt x="433" y="432"/>
                  <a:pt x="433" y="431"/>
                </a:cubicBezTo>
                <a:cubicBezTo>
                  <a:pt x="433" y="431"/>
                  <a:pt x="434" y="430"/>
                  <a:pt x="435" y="431"/>
                </a:cubicBezTo>
                <a:cubicBezTo>
                  <a:pt x="435" y="431"/>
                  <a:pt x="435" y="431"/>
                  <a:pt x="435" y="431"/>
                </a:cubicBezTo>
                <a:cubicBezTo>
                  <a:pt x="435" y="432"/>
                  <a:pt x="434" y="433"/>
                  <a:pt x="433" y="433"/>
                </a:cubicBezTo>
                <a:close/>
                <a:moveTo>
                  <a:pt x="432" y="405"/>
                </a:moveTo>
                <a:cubicBezTo>
                  <a:pt x="432" y="405"/>
                  <a:pt x="432" y="404"/>
                  <a:pt x="431" y="404"/>
                </a:cubicBezTo>
                <a:cubicBezTo>
                  <a:pt x="431" y="404"/>
                  <a:pt x="431" y="404"/>
                  <a:pt x="432" y="404"/>
                </a:cubicBezTo>
                <a:cubicBezTo>
                  <a:pt x="432" y="402"/>
                  <a:pt x="434" y="402"/>
                  <a:pt x="435" y="402"/>
                </a:cubicBezTo>
                <a:cubicBezTo>
                  <a:pt x="435" y="402"/>
                  <a:pt x="435" y="402"/>
                  <a:pt x="435" y="403"/>
                </a:cubicBezTo>
                <a:cubicBezTo>
                  <a:pt x="435" y="404"/>
                  <a:pt x="434" y="405"/>
                  <a:pt x="432" y="405"/>
                </a:cubicBezTo>
                <a:close/>
                <a:moveTo>
                  <a:pt x="435" y="344"/>
                </a:moveTo>
                <a:cubicBezTo>
                  <a:pt x="436" y="344"/>
                  <a:pt x="436" y="344"/>
                  <a:pt x="436" y="344"/>
                </a:cubicBezTo>
                <a:cubicBezTo>
                  <a:pt x="436" y="344"/>
                  <a:pt x="436" y="344"/>
                  <a:pt x="436" y="344"/>
                </a:cubicBezTo>
                <a:lnTo>
                  <a:pt x="435" y="344"/>
                </a:lnTo>
                <a:close/>
                <a:moveTo>
                  <a:pt x="440" y="275"/>
                </a:moveTo>
                <a:cubicBezTo>
                  <a:pt x="441" y="275"/>
                  <a:pt x="441" y="275"/>
                  <a:pt x="442" y="275"/>
                </a:cubicBezTo>
                <a:cubicBezTo>
                  <a:pt x="442" y="275"/>
                  <a:pt x="442" y="276"/>
                  <a:pt x="442" y="276"/>
                </a:cubicBezTo>
                <a:cubicBezTo>
                  <a:pt x="442" y="276"/>
                  <a:pt x="442" y="276"/>
                  <a:pt x="442" y="276"/>
                </a:cubicBezTo>
                <a:cubicBezTo>
                  <a:pt x="442" y="276"/>
                  <a:pt x="441" y="277"/>
                  <a:pt x="441" y="276"/>
                </a:cubicBezTo>
                <a:cubicBezTo>
                  <a:pt x="440" y="276"/>
                  <a:pt x="439" y="275"/>
                  <a:pt x="440" y="275"/>
                </a:cubicBezTo>
                <a:close/>
                <a:moveTo>
                  <a:pt x="373" y="242"/>
                </a:moveTo>
                <a:cubicBezTo>
                  <a:pt x="374" y="242"/>
                  <a:pt x="374" y="242"/>
                  <a:pt x="374" y="242"/>
                </a:cubicBezTo>
                <a:cubicBezTo>
                  <a:pt x="374" y="242"/>
                  <a:pt x="374" y="242"/>
                  <a:pt x="374" y="242"/>
                </a:cubicBezTo>
                <a:cubicBezTo>
                  <a:pt x="374" y="242"/>
                  <a:pt x="374" y="242"/>
                  <a:pt x="374" y="242"/>
                </a:cubicBezTo>
                <a:cubicBezTo>
                  <a:pt x="374" y="242"/>
                  <a:pt x="374" y="243"/>
                  <a:pt x="374" y="243"/>
                </a:cubicBezTo>
                <a:cubicBezTo>
                  <a:pt x="373" y="243"/>
                  <a:pt x="373" y="243"/>
                  <a:pt x="373" y="243"/>
                </a:cubicBezTo>
                <a:lnTo>
                  <a:pt x="373" y="242"/>
                </a:lnTo>
                <a:close/>
                <a:moveTo>
                  <a:pt x="380" y="339"/>
                </a:moveTo>
                <a:cubicBezTo>
                  <a:pt x="380" y="339"/>
                  <a:pt x="380" y="339"/>
                  <a:pt x="380" y="339"/>
                </a:cubicBezTo>
                <a:cubicBezTo>
                  <a:pt x="380" y="339"/>
                  <a:pt x="380" y="339"/>
                  <a:pt x="381" y="339"/>
                </a:cubicBezTo>
                <a:cubicBezTo>
                  <a:pt x="381" y="339"/>
                  <a:pt x="381" y="339"/>
                  <a:pt x="381" y="339"/>
                </a:cubicBezTo>
                <a:lnTo>
                  <a:pt x="380" y="339"/>
                </a:lnTo>
                <a:close/>
                <a:moveTo>
                  <a:pt x="382" y="280"/>
                </a:moveTo>
                <a:cubicBezTo>
                  <a:pt x="380" y="281"/>
                  <a:pt x="378" y="281"/>
                  <a:pt x="375" y="280"/>
                </a:cubicBezTo>
                <a:cubicBezTo>
                  <a:pt x="374" y="279"/>
                  <a:pt x="373" y="278"/>
                  <a:pt x="374" y="278"/>
                </a:cubicBezTo>
                <a:cubicBezTo>
                  <a:pt x="375" y="277"/>
                  <a:pt x="377" y="277"/>
                  <a:pt x="378" y="275"/>
                </a:cubicBezTo>
                <a:cubicBezTo>
                  <a:pt x="379" y="274"/>
                  <a:pt x="380" y="272"/>
                  <a:pt x="382" y="272"/>
                </a:cubicBezTo>
                <a:cubicBezTo>
                  <a:pt x="384" y="271"/>
                  <a:pt x="385" y="270"/>
                  <a:pt x="385" y="269"/>
                </a:cubicBezTo>
                <a:cubicBezTo>
                  <a:pt x="385" y="268"/>
                  <a:pt x="386" y="268"/>
                  <a:pt x="386" y="268"/>
                </a:cubicBezTo>
                <a:cubicBezTo>
                  <a:pt x="388" y="268"/>
                  <a:pt x="389" y="269"/>
                  <a:pt x="391" y="268"/>
                </a:cubicBezTo>
                <a:cubicBezTo>
                  <a:pt x="392" y="268"/>
                  <a:pt x="393" y="267"/>
                  <a:pt x="392" y="266"/>
                </a:cubicBezTo>
                <a:cubicBezTo>
                  <a:pt x="391" y="265"/>
                  <a:pt x="390" y="264"/>
                  <a:pt x="389" y="263"/>
                </a:cubicBezTo>
                <a:cubicBezTo>
                  <a:pt x="388" y="262"/>
                  <a:pt x="386" y="262"/>
                  <a:pt x="384" y="262"/>
                </a:cubicBezTo>
                <a:cubicBezTo>
                  <a:pt x="380" y="262"/>
                  <a:pt x="376" y="262"/>
                  <a:pt x="372" y="261"/>
                </a:cubicBezTo>
                <a:cubicBezTo>
                  <a:pt x="372" y="261"/>
                  <a:pt x="372" y="261"/>
                  <a:pt x="372" y="261"/>
                </a:cubicBezTo>
                <a:cubicBezTo>
                  <a:pt x="372" y="260"/>
                  <a:pt x="372" y="260"/>
                  <a:pt x="373" y="259"/>
                </a:cubicBezTo>
                <a:cubicBezTo>
                  <a:pt x="373" y="259"/>
                  <a:pt x="374" y="259"/>
                  <a:pt x="374" y="259"/>
                </a:cubicBezTo>
                <a:cubicBezTo>
                  <a:pt x="379" y="259"/>
                  <a:pt x="383" y="259"/>
                  <a:pt x="387" y="258"/>
                </a:cubicBezTo>
                <a:cubicBezTo>
                  <a:pt x="391" y="258"/>
                  <a:pt x="394" y="258"/>
                  <a:pt x="397" y="257"/>
                </a:cubicBezTo>
                <a:cubicBezTo>
                  <a:pt x="400" y="256"/>
                  <a:pt x="402" y="256"/>
                  <a:pt x="405" y="255"/>
                </a:cubicBezTo>
                <a:cubicBezTo>
                  <a:pt x="406" y="255"/>
                  <a:pt x="407" y="255"/>
                  <a:pt x="408" y="255"/>
                </a:cubicBezTo>
                <a:cubicBezTo>
                  <a:pt x="408" y="255"/>
                  <a:pt x="409" y="256"/>
                  <a:pt x="409" y="256"/>
                </a:cubicBezTo>
                <a:cubicBezTo>
                  <a:pt x="409" y="256"/>
                  <a:pt x="409" y="257"/>
                  <a:pt x="409" y="257"/>
                </a:cubicBezTo>
                <a:cubicBezTo>
                  <a:pt x="406" y="258"/>
                  <a:pt x="404" y="259"/>
                  <a:pt x="401" y="260"/>
                </a:cubicBezTo>
                <a:cubicBezTo>
                  <a:pt x="401" y="261"/>
                  <a:pt x="400" y="262"/>
                  <a:pt x="401" y="263"/>
                </a:cubicBezTo>
                <a:cubicBezTo>
                  <a:pt x="401" y="263"/>
                  <a:pt x="401" y="263"/>
                  <a:pt x="401" y="263"/>
                </a:cubicBezTo>
                <a:cubicBezTo>
                  <a:pt x="402" y="264"/>
                  <a:pt x="402" y="264"/>
                  <a:pt x="403" y="264"/>
                </a:cubicBezTo>
                <a:cubicBezTo>
                  <a:pt x="406" y="267"/>
                  <a:pt x="410" y="268"/>
                  <a:pt x="414" y="265"/>
                </a:cubicBezTo>
                <a:cubicBezTo>
                  <a:pt x="415" y="265"/>
                  <a:pt x="415" y="264"/>
                  <a:pt x="415" y="265"/>
                </a:cubicBezTo>
                <a:cubicBezTo>
                  <a:pt x="416" y="265"/>
                  <a:pt x="416" y="265"/>
                  <a:pt x="416" y="266"/>
                </a:cubicBezTo>
                <a:cubicBezTo>
                  <a:pt x="415" y="267"/>
                  <a:pt x="415" y="268"/>
                  <a:pt x="414" y="269"/>
                </a:cubicBezTo>
                <a:cubicBezTo>
                  <a:pt x="413" y="270"/>
                  <a:pt x="412" y="271"/>
                  <a:pt x="411" y="272"/>
                </a:cubicBezTo>
                <a:cubicBezTo>
                  <a:pt x="410" y="272"/>
                  <a:pt x="410" y="273"/>
                  <a:pt x="409" y="274"/>
                </a:cubicBezTo>
                <a:cubicBezTo>
                  <a:pt x="408" y="277"/>
                  <a:pt x="407" y="277"/>
                  <a:pt x="405" y="275"/>
                </a:cubicBezTo>
                <a:cubicBezTo>
                  <a:pt x="403" y="273"/>
                  <a:pt x="401" y="273"/>
                  <a:pt x="398" y="274"/>
                </a:cubicBezTo>
                <a:cubicBezTo>
                  <a:pt x="397" y="275"/>
                  <a:pt x="396" y="276"/>
                  <a:pt x="396" y="276"/>
                </a:cubicBezTo>
                <a:cubicBezTo>
                  <a:pt x="396" y="279"/>
                  <a:pt x="394" y="281"/>
                  <a:pt x="391" y="281"/>
                </a:cubicBezTo>
                <a:cubicBezTo>
                  <a:pt x="391" y="281"/>
                  <a:pt x="391" y="281"/>
                  <a:pt x="391" y="281"/>
                </a:cubicBezTo>
                <a:cubicBezTo>
                  <a:pt x="391" y="281"/>
                  <a:pt x="391" y="281"/>
                  <a:pt x="391" y="281"/>
                </a:cubicBezTo>
                <a:cubicBezTo>
                  <a:pt x="390" y="282"/>
                  <a:pt x="389" y="282"/>
                  <a:pt x="388" y="283"/>
                </a:cubicBezTo>
                <a:cubicBezTo>
                  <a:pt x="388" y="283"/>
                  <a:pt x="388" y="283"/>
                  <a:pt x="388" y="283"/>
                </a:cubicBezTo>
                <a:cubicBezTo>
                  <a:pt x="387" y="283"/>
                  <a:pt x="387" y="283"/>
                  <a:pt x="387" y="283"/>
                </a:cubicBezTo>
                <a:cubicBezTo>
                  <a:pt x="387" y="283"/>
                  <a:pt x="387" y="284"/>
                  <a:pt x="386" y="284"/>
                </a:cubicBezTo>
                <a:cubicBezTo>
                  <a:pt x="386" y="284"/>
                  <a:pt x="386" y="284"/>
                  <a:pt x="386" y="284"/>
                </a:cubicBezTo>
                <a:cubicBezTo>
                  <a:pt x="386" y="283"/>
                  <a:pt x="387" y="283"/>
                  <a:pt x="387" y="283"/>
                </a:cubicBezTo>
                <a:cubicBezTo>
                  <a:pt x="387" y="283"/>
                  <a:pt x="387" y="283"/>
                  <a:pt x="387" y="283"/>
                </a:cubicBezTo>
                <a:cubicBezTo>
                  <a:pt x="388" y="283"/>
                  <a:pt x="388" y="283"/>
                  <a:pt x="388" y="283"/>
                </a:cubicBezTo>
                <a:cubicBezTo>
                  <a:pt x="389" y="282"/>
                  <a:pt x="390" y="281"/>
                  <a:pt x="391" y="281"/>
                </a:cubicBezTo>
                <a:cubicBezTo>
                  <a:pt x="391" y="281"/>
                  <a:pt x="391" y="281"/>
                  <a:pt x="391" y="281"/>
                </a:cubicBezTo>
                <a:cubicBezTo>
                  <a:pt x="391" y="281"/>
                  <a:pt x="391" y="281"/>
                  <a:pt x="391" y="281"/>
                </a:cubicBezTo>
                <a:cubicBezTo>
                  <a:pt x="392" y="280"/>
                  <a:pt x="392" y="279"/>
                  <a:pt x="393" y="277"/>
                </a:cubicBezTo>
                <a:cubicBezTo>
                  <a:pt x="393" y="276"/>
                  <a:pt x="391" y="274"/>
                  <a:pt x="390" y="275"/>
                </a:cubicBezTo>
                <a:cubicBezTo>
                  <a:pt x="388" y="275"/>
                  <a:pt x="387" y="276"/>
                  <a:pt x="385" y="277"/>
                </a:cubicBezTo>
                <a:cubicBezTo>
                  <a:pt x="384" y="277"/>
                  <a:pt x="383" y="279"/>
                  <a:pt x="382" y="280"/>
                </a:cubicBezTo>
                <a:close/>
                <a:moveTo>
                  <a:pt x="403" y="285"/>
                </a:moveTo>
                <a:cubicBezTo>
                  <a:pt x="402" y="285"/>
                  <a:pt x="402" y="286"/>
                  <a:pt x="401" y="286"/>
                </a:cubicBezTo>
                <a:cubicBezTo>
                  <a:pt x="401" y="286"/>
                  <a:pt x="401" y="286"/>
                  <a:pt x="401" y="286"/>
                </a:cubicBezTo>
                <a:cubicBezTo>
                  <a:pt x="401" y="286"/>
                  <a:pt x="401" y="286"/>
                  <a:pt x="401" y="287"/>
                </a:cubicBezTo>
                <a:cubicBezTo>
                  <a:pt x="401" y="287"/>
                  <a:pt x="401" y="287"/>
                  <a:pt x="401" y="288"/>
                </a:cubicBezTo>
                <a:cubicBezTo>
                  <a:pt x="400" y="287"/>
                  <a:pt x="401" y="287"/>
                  <a:pt x="401" y="287"/>
                </a:cubicBezTo>
                <a:cubicBezTo>
                  <a:pt x="401" y="286"/>
                  <a:pt x="401" y="286"/>
                  <a:pt x="401" y="286"/>
                </a:cubicBezTo>
                <a:cubicBezTo>
                  <a:pt x="401" y="286"/>
                  <a:pt x="401" y="286"/>
                  <a:pt x="401" y="286"/>
                </a:cubicBezTo>
                <a:cubicBezTo>
                  <a:pt x="402" y="285"/>
                  <a:pt x="402" y="285"/>
                  <a:pt x="402" y="284"/>
                </a:cubicBezTo>
                <a:cubicBezTo>
                  <a:pt x="402" y="284"/>
                  <a:pt x="403" y="285"/>
                  <a:pt x="403" y="285"/>
                </a:cubicBezTo>
                <a:close/>
                <a:moveTo>
                  <a:pt x="395" y="312"/>
                </a:moveTo>
                <a:cubicBezTo>
                  <a:pt x="395" y="312"/>
                  <a:pt x="395" y="313"/>
                  <a:pt x="395" y="313"/>
                </a:cubicBezTo>
                <a:cubicBezTo>
                  <a:pt x="392" y="312"/>
                  <a:pt x="391" y="311"/>
                  <a:pt x="391" y="309"/>
                </a:cubicBezTo>
                <a:cubicBezTo>
                  <a:pt x="390" y="308"/>
                  <a:pt x="391" y="308"/>
                  <a:pt x="392" y="308"/>
                </a:cubicBezTo>
                <a:cubicBezTo>
                  <a:pt x="392" y="307"/>
                  <a:pt x="393" y="307"/>
                  <a:pt x="393" y="307"/>
                </a:cubicBezTo>
                <a:cubicBezTo>
                  <a:pt x="394" y="309"/>
                  <a:pt x="395" y="311"/>
                  <a:pt x="395" y="312"/>
                </a:cubicBezTo>
                <a:close/>
                <a:moveTo>
                  <a:pt x="389" y="358"/>
                </a:moveTo>
                <a:cubicBezTo>
                  <a:pt x="389" y="357"/>
                  <a:pt x="389" y="357"/>
                  <a:pt x="389" y="357"/>
                </a:cubicBezTo>
                <a:cubicBezTo>
                  <a:pt x="390" y="357"/>
                  <a:pt x="390" y="357"/>
                  <a:pt x="390" y="357"/>
                </a:cubicBezTo>
                <a:lnTo>
                  <a:pt x="389" y="358"/>
                </a:lnTo>
                <a:close/>
                <a:moveTo>
                  <a:pt x="403" y="384"/>
                </a:moveTo>
                <a:cubicBezTo>
                  <a:pt x="403" y="384"/>
                  <a:pt x="402" y="384"/>
                  <a:pt x="402" y="384"/>
                </a:cubicBezTo>
                <a:cubicBezTo>
                  <a:pt x="402" y="384"/>
                  <a:pt x="402" y="383"/>
                  <a:pt x="402" y="383"/>
                </a:cubicBezTo>
                <a:cubicBezTo>
                  <a:pt x="402" y="383"/>
                  <a:pt x="402" y="383"/>
                  <a:pt x="402" y="383"/>
                </a:cubicBezTo>
                <a:cubicBezTo>
                  <a:pt x="403" y="383"/>
                  <a:pt x="403" y="383"/>
                  <a:pt x="403" y="383"/>
                </a:cubicBezTo>
                <a:cubicBezTo>
                  <a:pt x="403" y="384"/>
                  <a:pt x="403" y="384"/>
                  <a:pt x="403" y="384"/>
                </a:cubicBezTo>
                <a:close/>
                <a:moveTo>
                  <a:pt x="406" y="345"/>
                </a:moveTo>
                <a:cubicBezTo>
                  <a:pt x="405" y="347"/>
                  <a:pt x="404" y="347"/>
                  <a:pt x="402" y="348"/>
                </a:cubicBezTo>
                <a:cubicBezTo>
                  <a:pt x="399" y="348"/>
                  <a:pt x="397" y="349"/>
                  <a:pt x="394" y="349"/>
                </a:cubicBezTo>
                <a:cubicBezTo>
                  <a:pt x="392" y="349"/>
                  <a:pt x="390" y="349"/>
                  <a:pt x="389" y="347"/>
                </a:cubicBezTo>
                <a:cubicBezTo>
                  <a:pt x="388" y="346"/>
                  <a:pt x="387" y="345"/>
                  <a:pt x="386" y="344"/>
                </a:cubicBezTo>
                <a:cubicBezTo>
                  <a:pt x="386" y="344"/>
                  <a:pt x="386" y="343"/>
                  <a:pt x="386" y="343"/>
                </a:cubicBezTo>
                <a:cubicBezTo>
                  <a:pt x="386" y="343"/>
                  <a:pt x="387" y="343"/>
                  <a:pt x="387" y="343"/>
                </a:cubicBezTo>
                <a:cubicBezTo>
                  <a:pt x="388" y="343"/>
                  <a:pt x="389" y="344"/>
                  <a:pt x="390" y="344"/>
                </a:cubicBezTo>
                <a:cubicBezTo>
                  <a:pt x="391" y="344"/>
                  <a:pt x="392" y="344"/>
                  <a:pt x="393" y="343"/>
                </a:cubicBezTo>
                <a:cubicBezTo>
                  <a:pt x="394" y="342"/>
                  <a:pt x="395" y="341"/>
                  <a:pt x="396" y="339"/>
                </a:cubicBezTo>
                <a:cubicBezTo>
                  <a:pt x="397" y="338"/>
                  <a:pt x="399" y="337"/>
                  <a:pt x="401" y="338"/>
                </a:cubicBezTo>
                <a:cubicBezTo>
                  <a:pt x="401" y="338"/>
                  <a:pt x="402" y="338"/>
                  <a:pt x="402" y="337"/>
                </a:cubicBezTo>
                <a:cubicBezTo>
                  <a:pt x="404" y="337"/>
                  <a:pt x="405" y="336"/>
                  <a:pt x="404" y="335"/>
                </a:cubicBezTo>
                <a:cubicBezTo>
                  <a:pt x="404" y="334"/>
                  <a:pt x="404" y="333"/>
                  <a:pt x="404" y="332"/>
                </a:cubicBezTo>
                <a:cubicBezTo>
                  <a:pt x="404" y="331"/>
                  <a:pt x="403" y="329"/>
                  <a:pt x="403" y="327"/>
                </a:cubicBezTo>
                <a:cubicBezTo>
                  <a:pt x="403" y="327"/>
                  <a:pt x="403" y="326"/>
                  <a:pt x="404" y="326"/>
                </a:cubicBezTo>
                <a:cubicBezTo>
                  <a:pt x="404" y="326"/>
                  <a:pt x="404" y="326"/>
                  <a:pt x="404" y="326"/>
                </a:cubicBezTo>
                <a:cubicBezTo>
                  <a:pt x="407" y="328"/>
                  <a:pt x="409" y="331"/>
                  <a:pt x="410" y="334"/>
                </a:cubicBezTo>
                <a:cubicBezTo>
                  <a:pt x="411" y="335"/>
                  <a:pt x="412" y="336"/>
                  <a:pt x="414" y="336"/>
                </a:cubicBezTo>
                <a:cubicBezTo>
                  <a:pt x="418" y="336"/>
                  <a:pt x="422" y="335"/>
                  <a:pt x="425" y="333"/>
                </a:cubicBezTo>
                <a:cubicBezTo>
                  <a:pt x="427" y="330"/>
                  <a:pt x="431" y="329"/>
                  <a:pt x="434" y="329"/>
                </a:cubicBezTo>
                <a:cubicBezTo>
                  <a:pt x="435" y="328"/>
                  <a:pt x="437" y="329"/>
                  <a:pt x="438" y="329"/>
                </a:cubicBezTo>
                <a:cubicBezTo>
                  <a:pt x="438" y="329"/>
                  <a:pt x="438" y="329"/>
                  <a:pt x="438" y="329"/>
                </a:cubicBezTo>
                <a:cubicBezTo>
                  <a:pt x="438" y="328"/>
                  <a:pt x="438" y="328"/>
                  <a:pt x="439" y="328"/>
                </a:cubicBezTo>
                <a:cubicBezTo>
                  <a:pt x="439" y="328"/>
                  <a:pt x="438" y="329"/>
                  <a:pt x="438" y="329"/>
                </a:cubicBezTo>
                <a:cubicBezTo>
                  <a:pt x="438" y="329"/>
                  <a:pt x="438" y="329"/>
                  <a:pt x="438" y="329"/>
                </a:cubicBezTo>
                <a:cubicBezTo>
                  <a:pt x="438" y="330"/>
                  <a:pt x="437" y="331"/>
                  <a:pt x="436" y="331"/>
                </a:cubicBezTo>
                <a:cubicBezTo>
                  <a:pt x="435" y="332"/>
                  <a:pt x="434" y="333"/>
                  <a:pt x="432" y="333"/>
                </a:cubicBezTo>
                <a:cubicBezTo>
                  <a:pt x="429" y="335"/>
                  <a:pt x="427" y="336"/>
                  <a:pt x="424" y="338"/>
                </a:cubicBezTo>
                <a:cubicBezTo>
                  <a:pt x="421" y="340"/>
                  <a:pt x="417" y="342"/>
                  <a:pt x="414" y="343"/>
                </a:cubicBezTo>
                <a:cubicBezTo>
                  <a:pt x="414" y="344"/>
                  <a:pt x="413" y="344"/>
                  <a:pt x="412" y="343"/>
                </a:cubicBezTo>
                <a:cubicBezTo>
                  <a:pt x="410" y="342"/>
                  <a:pt x="408" y="343"/>
                  <a:pt x="406" y="345"/>
                </a:cubicBezTo>
                <a:close/>
                <a:moveTo>
                  <a:pt x="412" y="420"/>
                </a:moveTo>
                <a:cubicBezTo>
                  <a:pt x="412" y="420"/>
                  <a:pt x="412" y="420"/>
                  <a:pt x="412" y="419"/>
                </a:cubicBezTo>
                <a:cubicBezTo>
                  <a:pt x="412" y="419"/>
                  <a:pt x="411" y="419"/>
                  <a:pt x="411" y="418"/>
                </a:cubicBezTo>
                <a:cubicBezTo>
                  <a:pt x="411" y="419"/>
                  <a:pt x="412" y="419"/>
                  <a:pt x="412" y="419"/>
                </a:cubicBezTo>
                <a:cubicBezTo>
                  <a:pt x="412" y="419"/>
                  <a:pt x="413" y="420"/>
                  <a:pt x="412" y="420"/>
                </a:cubicBezTo>
                <a:close/>
                <a:moveTo>
                  <a:pt x="413" y="384"/>
                </a:moveTo>
                <a:cubicBezTo>
                  <a:pt x="413" y="384"/>
                  <a:pt x="412" y="383"/>
                  <a:pt x="412" y="383"/>
                </a:cubicBezTo>
                <a:cubicBezTo>
                  <a:pt x="412" y="383"/>
                  <a:pt x="412" y="383"/>
                  <a:pt x="412" y="383"/>
                </a:cubicBezTo>
                <a:cubicBezTo>
                  <a:pt x="413" y="382"/>
                  <a:pt x="413" y="380"/>
                  <a:pt x="414" y="380"/>
                </a:cubicBezTo>
                <a:cubicBezTo>
                  <a:pt x="417" y="378"/>
                  <a:pt x="421" y="376"/>
                  <a:pt x="424" y="374"/>
                </a:cubicBezTo>
                <a:cubicBezTo>
                  <a:pt x="424" y="374"/>
                  <a:pt x="425" y="374"/>
                  <a:pt x="425" y="375"/>
                </a:cubicBezTo>
                <a:cubicBezTo>
                  <a:pt x="427" y="376"/>
                  <a:pt x="429" y="377"/>
                  <a:pt x="431" y="377"/>
                </a:cubicBezTo>
                <a:cubicBezTo>
                  <a:pt x="431" y="377"/>
                  <a:pt x="431" y="378"/>
                  <a:pt x="431" y="378"/>
                </a:cubicBezTo>
                <a:cubicBezTo>
                  <a:pt x="431" y="378"/>
                  <a:pt x="431" y="379"/>
                  <a:pt x="431" y="379"/>
                </a:cubicBezTo>
                <a:cubicBezTo>
                  <a:pt x="429" y="379"/>
                  <a:pt x="427" y="379"/>
                  <a:pt x="425" y="380"/>
                </a:cubicBezTo>
                <a:cubicBezTo>
                  <a:pt x="425" y="379"/>
                  <a:pt x="425" y="379"/>
                  <a:pt x="425" y="379"/>
                </a:cubicBezTo>
                <a:cubicBezTo>
                  <a:pt x="424" y="379"/>
                  <a:pt x="423" y="379"/>
                  <a:pt x="422" y="379"/>
                </a:cubicBezTo>
                <a:cubicBezTo>
                  <a:pt x="420" y="379"/>
                  <a:pt x="417" y="380"/>
                  <a:pt x="415" y="382"/>
                </a:cubicBezTo>
                <a:cubicBezTo>
                  <a:pt x="415" y="383"/>
                  <a:pt x="414" y="383"/>
                  <a:pt x="413" y="384"/>
                </a:cubicBezTo>
                <a:close/>
                <a:moveTo>
                  <a:pt x="504" y="835"/>
                </a:moveTo>
                <a:cubicBezTo>
                  <a:pt x="504" y="835"/>
                  <a:pt x="504" y="836"/>
                  <a:pt x="504" y="836"/>
                </a:cubicBezTo>
                <a:cubicBezTo>
                  <a:pt x="502" y="836"/>
                  <a:pt x="500" y="835"/>
                  <a:pt x="500" y="833"/>
                </a:cubicBezTo>
                <a:cubicBezTo>
                  <a:pt x="500" y="833"/>
                  <a:pt x="501" y="833"/>
                  <a:pt x="501" y="833"/>
                </a:cubicBezTo>
                <a:cubicBezTo>
                  <a:pt x="502" y="832"/>
                  <a:pt x="504" y="833"/>
                  <a:pt x="504" y="834"/>
                </a:cubicBezTo>
                <a:cubicBezTo>
                  <a:pt x="504" y="835"/>
                  <a:pt x="504" y="835"/>
                  <a:pt x="504" y="835"/>
                </a:cubicBezTo>
                <a:close/>
                <a:moveTo>
                  <a:pt x="602" y="850"/>
                </a:moveTo>
                <a:cubicBezTo>
                  <a:pt x="602" y="850"/>
                  <a:pt x="601" y="852"/>
                  <a:pt x="601" y="851"/>
                </a:cubicBezTo>
                <a:cubicBezTo>
                  <a:pt x="600" y="851"/>
                  <a:pt x="600" y="851"/>
                  <a:pt x="599" y="850"/>
                </a:cubicBezTo>
                <a:cubicBezTo>
                  <a:pt x="598" y="848"/>
                  <a:pt x="598" y="847"/>
                  <a:pt x="601" y="844"/>
                </a:cubicBezTo>
                <a:cubicBezTo>
                  <a:pt x="601" y="844"/>
                  <a:pt x="602" y="844"/>
                  <a:pt x="602" y="844"/>
                </a:cubicBezTo>
                <a:cubicBezTo>
                  <a:pt x="602" y="844"/>
                  <a:pt x="602" y="845"/>
                  <a:pt x="602" y="845"/>
                </a:cubicBezTo>
                <a:cubicBezTo>
                  <a:pt x="603" y="846"/>
                  <a:pt x="603" y="846"/>
                  <a:pt x="603" y="848"/>
                </a:cubicBezTo>
                <a:cubicBezTo>
                  <a:pt x="603" y="848"/>
                  <a:pt x="603" y="849"/>
                  <a:pt x="602" y="850"/>
                </a:cubicBezTo>
                <a:close/>
                <a:moveTo>
                  <a:pt x="620" y="1318"/>
                </a:moveTo>
                <a:cubicBezTo>
                  <a:pt x="620" y="1318"/>
                  <a:pt x="619" y="1318"/>
                  <a:pt x="619" y="1318"/>
                </a:cubicBezTo>
                <a:cubicBezTo>
                  <a:pt x="619" y="1318"/>
                  <a:pt x="619" y="1318"/>
                  <a:pt x="619" y="1317"/>
                </a:cubicBezTo>
                <a:cubicBezTo>
                  <a:pt x="620" y="1317"/>
                  <a:pt x="620" y="1317"/>
                  <a:pt x="620" y="1318"/>
                </a:cubicBezTo>
                <a:cubicBezTo>
                  <a:pt x="620" y="1318"/>
                  <a:pt x="620" y="1318"/>
                  <a:pt x="620" y="1318"/>
                </a:cubicBezTo>
                <a:close/>
                <a:moveTo>
                  <a:pt x="622" y="1040"/>
                </a:moveTo>
                <a:cubicBezTo>
                  <a:pt x="622" y="1040"/>
                  <a:pt x="622" y="1040"/>
                  <a:pt x="622" y="1040"/>
                </a:cubicBezTo>
                <a:cubicBezTo>
                  <a:pt x="619" y="1040"/>
                  <a:pt x="618" y="1038"/>
                  <a:pt x="616" y="1036"/>
                </a:cubicBezTo>
                <a:cubicBezTo>
                  <a:pt x="616" y="1036"/>
                  <a:pt x="616" y="1035"/>
                  <a:pt x="616" y="1034"/>
                </a:cubicBezTo>
                <a:cubicBezTo>
                  <a:pt x="617" y="1034"/>
                  <a:pt x="617" y="1034"/>
                  <a:pt x="617" y="1034"/>
                </a:cubicBezTo>
                <a:cubicBezTo>
                  <a:pt x="619" y="1036"/>
                  <a:pt x="621" y="1037"/>
                  <a:pt x="622" y="1040"/>
                </a:cubicBezTo>
                <a:cubicBezTo>
                  <a:pt x="622" y="1040"/>
                  <a:pt x="622" y="1040"/>
                  <a:pt x="622" y="1040"/>
                </a:cubicBezTo>
                <a:cubicBezTo>
                  <a:pt x="622" y="1040"/>
                  <a:pt x="623" y="1040"/>
                  <a:pt x="623" y="1040"/>
                </a:cubicBezTo>
                <a:cubicBezTo>
                  <a:pt x="622" y="1040"/>
                  <a:pt x="622" y="1040"/>
                  <a:pt x="622" y="1040"/>
                </a:cubicBezTo>
                <a:close/>
                <a:moveTo>
                  <a:pt x="638" y="1351"/>
                </a:moveTo>
                <a:cubicBezTo>
                  <a:pt x="638" y="1352"/>
                  <a:pt x="638" y="1352"/>
                  <a:pt x="638" y="1352"/>
                </a:cubicBezTo>
                <a:cubicBezTo>
                  <a:pt x="638" y="1352"/>
                  <a:pt x="638" y="1352"/>
                  <a:pt x="638" y="1352"/>
                </a:cubicBezTo>
                <a:cubicBezTo>
                  <a:pt x="638" y="1352"/>
                  <a:pt x="638" y="1352"/>
                  <a:pt x="638" y="1352"/>
                </a:cubicBezTo>
                <a:cubicBezTo>
                  <a:pt x="638" y="1352"/>
                  <a:pt x="638" y="1352"/>
                  <a:pt x="638" y="1351"/>
                </a:cubicBezTo>
                <a:cubicBezTo>
                  <a:pt x="638" y="1351"/>
                  <a:pt x="638" y="1351"/>
                  <a:pt x="638" y="1351"/>
                </a:cubicBezTo>
                <a:cubicBezTo>
                  <a:pt x="639" y="1351"/>
                  <a:pt x="639" y="1351"/>
                  <a:pt x="638" y="1351"/>
                </a:cubicBezTo>
                <a:close/>
                <a:moveTo>
                  <a:pt x="643" y="1360"/>
                </a:moveTo>
                <a:cubicBezTo>
                  <a:pt x="642" y="1360"/>
                  <a:pt x="642" y="1361"/>
                  <a:pt x="641" y="1361"/>
                </a:cubicBezTo>
                <a:cubicBezTo>
                  <a:pt x="641" y="1361"/>
                  <a:pt x="641" y="1361"/>
                  <a:pt x="641" y="1361"/>
                </a:cubicBezTo>
                <a:cubicBezTo>
                  <a:pt x="640" y="1360"/>
                  <a:pt x="641" y="1359"/>
                  <a:pt x="641" y="1359"/>
                </a:cubicBezTo>
                <a:cubicBezTo>
                  <a:pt x="642" y="1359"/>
                  <a:pt x="642" y="1360"/>
                  <a:pt x="643" y="1360"/>
                </a:cubicBezTo>
                <a:cubicBezTo>
                  <a:pt x="643" y="1360"/>
                  <a:pt x="643" y="1360"/>
                  <a:pt x="643" y="1360"/>
                </a:cubicBezTo>
                <a:close/>
                <a:moveTo>
                  <a:pt x="644" y="1370"/>
                </a:moveTo>
                <a:cubicBezTo>
                  <a:pt x="644" y="1370"/>
                  <a:pt x="644" y="1370"/>
                  <a:pt x="644" y="1370"/>
                </a:cubicBezTo>
                <a:cubicBezTo>
                  <a:pt x="644" y="1370"/>
                  <a:pt x="645" y="1370"/>
                  <a:pt x="645" y="1370"/>
                </a:cubicBezTo>
                <a:cubicBezTo>
                  <a:pt x="645" y="1370"/>
                  <a:pt x="645" y="1370"/>
                  <a:pt x="645" y="1370"/>
                </a:cubicBezTo>
                <a:cubicBezTo>
                  <a:pt x="645" y="1370"/>
                  <a:pt x="645" y="1370"/>
                  <a:pt x="644" y="1370"/>
                </a:cubicBezTo>
                <a:close/>
                <a:moveTo>
                  <a:pt x="649" y="1364"/>
                </a:moveTo>
                <a:cubicBezTo>
                  <a:pt x="649" y="1364"/>
                  <a:pt x="649" y="1364"/>
                  <a:pt x="649" y="1364"/>
                </a:cubicBezTo>
                <a:cubicBezTo>
                  <a:pt x="648" y="1364"/>
                  <a:pt x="648" y="1364"/>
                  <a:pt x="648" y="1364"/>
                </a:cubicBezTo>
                <a:cubicBezTo>
                  <a:pt x="648" y="1365"/>
                  <a:pt x="648" y="1365"/>
                  <a:pt x="647" y="1365"/>
                </a:cubicBezTo>
                <a:cubicBezTo>
                  <a:pt x="647" y="1366"/>
                  <a:pt x="647" y="1366"/>
                  <a:pt x="647" y="1366"/>
                </a:cubicBezTo>
                <a:cubicBezTo>
                  <a:pt x="646" y="1366"/>
                  <a:pt x="646" y="1366"/>
                  <a:pt x="646" y="1366"/>
                </a:cubicBezTo>
                <a:cubicBezTo>
                  <a:pt x="647" y="1366"/>
                  <a:pt x="647" y="1366"/>
                  <a:pt x="647" y="1366"/>
                </a:cubicBezTo>
                <a:cubicBezTo>
                  <a:pt x="647" y="1366"/>
                  <a:pt x="647" y="1365"/>
                  <a:pt x="647" y="1365"/>
                </a:cubicBezTo>
                <a:cubicBezTo>
                  <a:pt x="647" y="1365"/>
                  <a:pt x="648" y="1364"/>
                  <a:pt x="648" y="1364"/>
                </a:cubicBezTo>
                <a:cubicBezTo>
                  <a:pt x="648" y="1364"/>
                  <a:pt x="648" y="1364"/>
                  <a:pt x="648" y="1364"/>
                </a:cubicBezTo>
                <a:cubicBezTo>
                  <a:pt x="649" y="1364"/>
                  <a:pt x="649" y="1364"/>
                  <a:pt x="649" y="1364"/>
                </a:cubicBezTo>
                <a:cubicBezTo>
                  <a:pt x="649" y="1364"/>
                  <a:pt x="649" y="1363"/>
                  <a:pt x="649" y="1363"/>
                </a:cubicBezTo>
                <a:cubicBezTo>
                  <a:pt x="649" y="1364"/>
                  <a:pt x="649" y="1364"/>
                  <a:pt x="649" y="1364"/>
                </a:cubicBezTo>
                <a:close/>
                <a:moveTo>
                  <a:pt x="661" y="1368"/>
                </a:moveTo>
                <a:cubicBezTo>
                  <a:pt x="662" y="1368"/>
                  <a:pt x="662" y="1368"/>
                  <a:pt x="663" y="1368"/>
                </a:cubicBezTo>
                <a:cubicBezTo>
                  <a:pt x="663" y="1369"/>
                  <a:pt x="663" y="1369"/>
                  <a:pt x="662" y="1369"/>
                </a:cubicBezTo>
                <a:cubicBezTo>
                  <a:pt x="662" y="1370"/>
                  <a:pt x="662" y="1370"/>
                  <a:pt x="661" y="1370"/>
                </a:cubicBezTo>
                <a:cubicBezTo>
                  <a:pt x="661" y="1370"/>
                  <a:pt x="661" y="1370"/>
                  <a:pt x="660" y="1370"/>
                </a:cubicBezTo>
                <a:cubicBezTo>
                  <a:pt x="660" y="1370"/>
                  <a:pt x="660" y="1369"/>
                  <a:pt x="661" y="1368"/>
                </a:cubicBezTo>
                <a:close/>
                <a:moveTo>
                  <a:pt x="656" y="1374"/>
                </a:moveTo>
                <a:cubicBezTo>
                  <a:pt x="656" y="1375"/>
                  <a:pt x="656" y="1375"/>
                  <a:pt x="656" y="1375"/>
                </a:cubicBezTo>
                <a:cubicBezTo>
                  <a:pt x="657" y="1375"/>
                  <a:pt x="658" y="1376"/>
                  <a:pt x="659" y="1377"/>
                </a:cubicBezTo>
                <a:cubicBezTo>
                  <a:pt x="659" y="1377"/>
                  <a:pt x="659" y="1377"/>
                  <a:pt x="659" y="1377"/>
                </a:cubicBezTo>
                <a:cubicBezTo>
                  <a:pt x="659" y="1377"/>
                  <a:pt x="659" y="1376"/>
                  <a:pt x="659" y="1376"/>
                </a:cubicBezTo>
                <a:cubicBezTo>
                  <a:pt x="659" y="1376"/>
                  <a:pt x="659" y="1376"/>
                  <a:pt x="659" y="1375"/>
                </a:cubicBezTo>
                <a:cubicBezTo>
                  <a:pt x="659" y="1375"/>
                  <a:pt x="660" y="1374"/>
                  <a:pt x="660" y="1374"/>
                </a:cubicBezTo>
                <a:cubicBezTo>
                  <a:pt x="661" y="1374"/>
                  <a:pt x="661" y="1375"/>
                  <a:pt x="661" y="1375"/>
                </a:cubicBezTo>
                <a:cubicBezTo>
                  <a:pt x="662" y="1375"/>
                  <a:pt x="661" y="1376"/>
                  <a:pt x="661" y="1376"/>
                </a:cubicBezTo>
                <a:cubicBezTo>
                  <a:pt x="660" y="1376"/>
                  <a:pt x="660" y="1376"/>
                  <a:pt x="659" y="1376"/>
                </a:cubicBezTo>
                <a:cubicBezTo>
                  <a:pt x="659" y="1377"/>
                  <a:pt x="659" y="1377"/>
                  <a:pt x="659" y="1377"/>
                </a:cubicBezTo>
                <a:cubicBezTo>
                  <a:pt x="659" y="1377"/>
                  <a:pt x="659" y="1377"/>
                  <a:pt x="659" y="1377"/>
                </a:cubicBezTo>
                <a:cubicBezTo>
                  <a:pt x="659" y="1377"/>
                  <a:pt x="658" y="1377"/>
                  <a:pt x="658" y="1377"/>
                </a:cubicBezTo>
                <a:cubicBezTo>
                  <a:pt x="657" y="1377"/>
                  <a:pt x="656" y="1377"/>
                  <a:pt x="656" y="1376"/>
                </a:cubicBezTo>
                <a:cubicBezTo>
                  <a:pt x="656" y="1376"/>
                  <a:pt x="656" y="1375"/>
                  <a:pt x="656" y="1375"/>
                </a:cubicBezTo>
                <a:cubicBezTo>
                  <a:pt x="656" y="1375"/>
                  <a:pt x="656" y="1375"/>
                  <a:pt x="655" y="1375"/>
                </a:cubicBezTo>
                <a:cubicBezTo>
                  <a:pt x="655" y="1375"/>
                  <a:pt x="655" y="1374"/>
                  <a:pt x="655" y="1374"/>
                </a:cubicBezTo>
                <a:cubicBezTo>
                  <a:pt x="655" y="1374"/>
                  <a:pt x="654" y="1374"/>
                  <a:pt x="654" y="1374"/>
                </a:cubicBezTo>
                <a:cubicBezTo>
                  <a:pt x="654" y="1373"/>
                  <a:pt x="655" y="1373"/>
                  <a:pt x="655" y="1373"/>
                </a:cubicBezTo>
                <a:cubicBezTo>
                  <a:pt x="655" y="1374"/>
                  <a:pt x="655" y="1374"/>
                  <a:pt x="655" y="1374"/>
                </a:cubicBezTo>
                <a:cubicBezTo>
                  <a:pt x="655" y="1374"/>
                  <a:pt x="656" y="1374"/>
                  <a:pt x="656" y="1374"/>
                </a:cubicBezTo>
                <a:close/>
                <a:moveTo>
                  <a:pt x="663" y="867"/>
                </a:moveTo>
                <a:cubicBezTo>
                  <a:pt x="664" y="866"/>
                  <a:pt x="664" y="866"/>
                  <a:pt x="664" y="866"/>
                </a:cubicBezTo>
                <a:cubicBezTo>
                  <a:pt x="664" y="867"/>
                  <a:pt x="664" y="867"/>
                  <a:pt x="664" y="867"/>
                </a:cubicBezTo>
                <a:lnTo>
                  <a:pt x="663" y="867"/>
                </a:lnTo>
                <a:close/>
                <a:moveTo>
                  <a:pt x="676" y="1153"/>
                </a:moveTo>
                <a:cubicBezTo>
                  <a:pt x="676" y="1153"/>
                  <a:pt x="675" y="1153"/>
                  <a:pt x="675" y="1153"/>
                </a:cubicBezTo>
                <a:cubicBezTo>
                  <a:pt x="675" y="1153"/>
                  <a:pt x="675" y="1152"/>
                  <a:pt x="676" y="1152"/>
                </a:cubicBezTo>
                <a:cubicBezTo>
                  <a:pt x="676" y="1152"/>
                  <a:pt x="676" y="1152"/>
                  <a:pt x="676" y="1152"/>
                </a:cubicBezTo>
                <a:cubicBezTo>
                  <a:pt x="677" y="1152"/>
                  <a:pt x="677" y="1153"/>
                  <a:pt x="677" y="1153"/>
                </a:cubicBezTo>
                <a:cubicBezTo>
                  <a:pt x="677" y="1153"/>
                  <a:pt x="677" y="1153"/>
                  <a:pt x="676" y="1153"/>
                </a:cubicBezTo>
                <a:close/>
                <a:moveTo>
                  <a:pt x="717" y="883"/>
                </a:moveTo>
                <a:cubicBezTo>
                  <a:pt x="716" y="883"/>
                  <a:pt x="716" y="883"/>
                  <a:pt x="716" y="883"/>
                </a:cubicBezTo>
                <a:cubicBezTo>
                  <a:pt x="717" y="882"/>
                  <a:pt x="717" y="882"/>
                  <a:pt x="718" y="882"/>
                </a:cubicBezTo>
                <a:cubicBezTo>
                  <a:pt x="718" y="882"/>
                  <a:pt x="718" y="883"/>
                  <a:pt x="718" y="883"/>
                </a:cubicBezTo>
                <a:cubicBezTo>
                  <a:pt x="718" y="883"/>
                  <a:pt x="717" y="884"/>
                  <a:pt x="717" y="883"/>
                </a:cubicBezTo>
                <a:close/>
                <a:moveTo>
                  <a:pt x="751" y="924"/>
                </a:moveTo>
                <a:cubicBezTo>
                  <a:pt x="750" y="925"/>
                  <a:pt x="749" y="925"/>
                  <a:pt x="748" y="925"/>
                </a:cubicBezTo>
                <a:cubicBezTo>
                  <a:pt x="747" y="924"/>
                  <a:pt x="747" y="923"/>
                  <a:pt x="747" y="923"/>
                </a:cubicBezTo>
                <a:cubicBezTo>
                  <a:pt x="748" y="922"/>
                  <a:pt x="748" y="921"/>
                  <a:pt x="748" y="921"/>
                </a:cubicBezTo>
                <a:cubicBezTo>
                  <a:pt x="748" y="921"/>
                  <a:pt x="748" y="922"/>
                  <a:pt x="749" y="922"/>
                </a:cubicBezTo>
                <a:cubicBezTo>
                  <a:pt x="749" y="923"/>
                  <a:pt x="750" y="923"/>
                  <a:pt x="751" y="923"/>
                </a:cubicBezTo>
                <a:cubicBezTo>
                  <a:pt x="751" y="923"/>
                  <a:pt x="751" y="923"/>
                  <a:pt x="752" y="923"/>
                </a:cubicBezTo>
                <a:cubicBezTo>
                  <a:pt x="751" y="923"/>
                  <a:pt x="751" y="924"/>
                  <a:pt x="751" y="924"/>
                </a:cubicBezTo>
                <a:close/>
                <a:moveTo>
                  <a:pt x="759" y="934"/>
                </a:moveTo>
                <a:cubicBezTo>
                  <a:pt x="759" y="934"/>
                  <a:pt x="759" y="933"/>
                  <a:pt x="760" y="933"/>
                </a:cubicBezTo>
                <a:cubicBezTo>
                  <a:pt x="760" y="933"/>
                  <a:pt x="760" y="933"/>
                  <a:pt x="761" y="933"/>
                </a:cubicBezTo>
                <a:cubicBezTo>
                  <a:pt x="761" y="933"/>
                  <a:pt x="761" y="933"/>
                  <a:pt x="761" y="933"/>
                </a:cubicBezTo>
                <a:cubicBezTo>
                  <a:pt x="761" y="933"/>
                  <a:pt x="761" y="934"/>
                  <a:pt x="761" y="934"/>
                </a:cubicBezTo>
                <a:cubicBezTo>
                  <a:pt x="760" y="934"/>
                  <a:pt x="760" y="934"/>
                  <a:pt x="759" y="934"/>
                </a:cubicBezTo>
                <a:close/>
                <a:moveTo>
                  <a:pt x="762" y="954"/>
                </a:moveTo>
                <a:cubicBezTo>
                  <a:pt x="762" y="954"/>
                  <a:pt x="761" y="954"/>
                  <a:pt x="761" y="954"/>
                </a:cubicBezTo>
                <a:cubicBezTo>
                  <a:pt x="761" y="953"/>
                  <a:pt x="760" y="952"/>
                  <a:pt x="760" y="951"/>
                </a:cubicBezTo>
                <a:cubicBezTo>
                  <a:pt x="760" y="951"/>
                  <a:pt x="760" y="950"/>
                  <a:pt x="760" y="950"/>
                </a:cubicBezTo>
                <a:cubicBezTo>
                  <a:pt x="760" y="950"/>
                  <a:pt x="761" y="950"/>
                  <a:pt x="761" y="951"/>
                </a:cubicBezTo>
                <a:cubicBezTo>
                  <a:pt x="761" y="951"/>
                  <a:pt x="762" y="952"/>
                  <a:pt x="762" y="953"/>
                </a:cubicBezTo>
                <a:cubicBezTo>
                  <a:pt x="762" y="953"/>
                  <a:pt x="762" y="953"/>
                  <a:pt x="762" y="954"/>
                </a:cubicBezTo>
                <a:close/>
                <a:moveTo>
                  <a:pt x="768" y="1055"/>
                </a:moveTo>
                <a:cubicBezTo>
                  <a:pt x="767" y="1055"/>
                  <a:pt x="767" y="1055"/>
                  <a:pt x="767" y="1055"/>
                </a:cubicBezTo>
                <a:cubicBezTo>
                  <a:pt x="768" y="1054"/>
                  <a:pt x="768" y="1054"/>
                  <a:pt x="768" y="1054"/>
                </a:cubicBezTo>
                <a:lnTo>
                  <a:pt x="768" y="1055"/>
                </a:lnTo>
                <a:close/>
                <a:moveTo>
                  <a:pt x="284" y="483"/>
                </a:moveTo>
                <a:cubicBezTo>
                  <a:pt x="284" y="483"/>
                  <a:pt x="284" y="482"/>
                  <a:pt x="284" y="482"/>
                </a:cubicBezTo>
                <a:cubicBezTo>
                  <a:pt x="284" y="483"/>
                  <a:pt x="284" y="483"/>
                  <a:pt x="284" y="483"/>
                </a:cubicBezTo>
                <a:cubicBezTo>
                  <a:pt x="284" y="483"/>
                  <a:pt x="284" y="483"/>
                  <a:pt x="284" y="483"/>
                </a:cubicBezTo>
                <a:cubicBezTo>
                  <a:pt x="284" y="483"/>
                  <a:pt x="284" y="483"/>
                  <a:pt x="284" y="483"/>
                </a:cubicBezTo>
                <a:close/>
                <a:moveTo>
                  <a:pt x="808" y="299"/>
                </a:moveTo>
                <a:cubicBezTo>
                  <a:pt x="808" y="299"/>
                  <a:pt x="808" y="299"/>
                  <a:pt x="808" y="299"/>
                </a:cubicBezTo>
                <a:cubicBezTo>
                  <a:pt x="808" y="299"/>
                  <a:pt x="808" y="299"/>
                  <a:pt x="808" y="299"/>
                </a:cubicBezTo>
                <a:close/>
                <a:moveTo>
                  <a:pt x="985" y="293"/>
                </a:moveTo>
                <a:cubicBezTo>
                  <a:pt x="985" y="292"/>
                  <a:pt x="985" y="292"/>
                  <a:pt x="985" y="291"/>
                </a:cubicBezTo>
                <a:cubicBezTo>
                  <a:pt x="985" y="291"/>
                  <a:pt x="985" y="291"/>
                  <a:pt x="984" y="291"/>
                </a:cubicBezTo>
                <a:cubicBezTo>
                  <a:pt x="981" y="289"/>
                  <a:pt x="977" y="290"/>
                  <a:pt x="974" y="288"/>
                </a:cubicBezTo>
                <a:cubicBezTo>
                  <a:pt x="972" y="287"/>
                  <a:pt x="969" y="287"/>
                  <a:pt x="967" y="288"/>
                </a:cubicBezTo>
                <a:cubicBezTo>
                  <a:pt x="966" y="288"/>
                  <a:pt x="966" y="288"/>
                  <a:pt x="965" y="287"/>
                </a:cubicBezTo>
                <a:cubicBezTo>
                  <a:pt x="965" y="287"/>
                  <a:pt x="965" y="287"/>
                  <a:pt x="964" y="287"/>
                </a:cubicBezTo>
                <a:cubicBezTo>
                  <a:pt x="964" y="286"/>
                  <a:pt x="964" y="286"/>
                  <a:pt x="965" y="285"/>
                </a:cubicBezTo>
                <a:cubicBezTo>
                  <a:pt x="966" y="285"/>
                  <a:pt x="967" y="285"/>
                  <a:pt x="969" y="284"/>
                </a:cubicBezTo>
                <a:cubicBezTo>
                  <a:pt x="970" y="283"/>
                  <a:pt x="971" y="282"/>
                  <a:pt x="971" y="280"/>
                </a:cubicBezTo>
                <a:cubicBezTo>
                  <a:pt x="971" y="278"/>
                  <a:pt x="971" y="276"/>
                  <a:pt x="970" y="275"/>
                </a:cubicBezTo>
                <a:cubicBezTo>
                  <a:pt x="970" y="274"/>
                  <a:pt x="972" y="273"/>
                  <a:pt x="972" y="273"/>
                </a:cubicBezTo>
                <a:cubicBezTo>
                  <a:pt x="973" y="273"/>
                  <a:pt x="973" y="274"/>
                  <a:pt x="973" y="274"/>
                </a:cubicBezTo>
                <a:cubicBezTo>
                  <a:pt x="975" y="277"/>
                  <a:pt x="976" y="281"/>
                  <a:pt x="978" y="284"/>
                </a:cubicBezTo>
                <a:cubicBezTo>
                  <a:pt x="979" y="286"/>
                  <a:pt x="981" y="287"/>
                  <a:pt x="984" y="287"/>
                </a:cubicBezTo>
                <a:cubicBezTo>
                  <a:pt x="985" y="286"/>
                  <a:pt x="986" y="286"/>
                  <a:pt x="987" y="287"/>
                </a:cubicBezTo>
                <a:cubicBezTo>
                  <a:pt x="990" y="287"/>
                  <a:pt x="991" y="286"/>
                  <a:pt x="991" y="283"/>
                </a:cubicBezTo>
                <a:cubicBezTo>
                  <a:pt x="991" y="281"/>
                  <a:pt x="991" y="278"/>
                  <a:pt x="991" y="276"/>
                </a:cubicBezTo>
                <a:cubicBezTo>
                  <a:pt x="991" y="273"/>
                  <a:pt x="989" y="271"/>
                  <a:pt x="990" y="268"/>
                </a:cubicBezTo>
                <a:cubicBezTo>
                  <a:pt x="990" y="268"/>
                  <a:pt x="989" y="267"/>
                  <a:pt x="989" y="266"/>
                </a:cubicBezTo>
                <a:cubicBezTo>
                  <a:pt x="987" y="263"/>
                  <a:pt x="985" y="260"/>
                  <a:pt x="982" y="258"/>
                </a:cubicBezTo>
                <a:cubicBezTo>
                  <a:pt x="981" y="257"/>
                  <a:pt x="979" y="256"/>
                  <a:pt x="978" y="255"/>
                </a:cubicBezTo>
                <a:cubicBezTo>
                  <a:pt x="978" y="255"/>
                  <a:pt x="977" y="254"/>
                  <a:pt x="977" y="253"/>
                </a:cubicBezTo>
                <a:cubicBezTo>
                  <a:pt x="976" y="251"/>
                  <a:pt x="976" y="249"/>
                  <a:pt x="976" y="247"/>
                </a:cubicBezTo>
                <a:cubicBezTo>
                  <a:pt x="976" y="247"/>
                  <a:pt x="976" y="246"/>
                  <a:pt x="977" y="246"/>
                </a:cubicBezTo>
                <a:cubicBezTo>
                  <a:pt x="977" y="246"/>
                  <a:pt x="978" y="246"/>
                  <a:pt x="978" y="246"/>
                </a:cubicBezTo>
                <a:cubicBezTo>
                  <a:pt x="979" y="247"/>
                  <a:pt x="979" y="248"/>
                  <a:pt x="979" y="248"/>
                </a:cubicBezTo>
                <a:cubicBezTo>
                  <a:pt x="979" y="252"/>
                  <a:pt x="980" y="254"/>
                  <a:pt x="983" y="256"/>
                </a:cubicBezTo>
                <a:cubicBezTo>
                  <a:pt x="985" y="257"/>
                  <a:pt x="986" y="259"/>
                  <a:pt x="988" y="259"/>
                </a:cubicBezTo>
                <a:cubicBezTo>
                  <a:pt x="989" y="259"/>
                  <a:pt x="990" y="259"/>
                  <a:pt x="990" y="258"/>
                </a:cubicBezTo>
                <a:cubicBezTo>
                  <a:pt x="990" y="257"/>
                  <a:pt x="990" y="255"/>
                  <a:pt x="991" y="254"/>
                </a:cubicBezTo>
                <a:cubicBezTo>
                  <a:pt x="991" y="252"/>
                  <a:pt x="992" y="251"/>
                  <a:pt x="992" y="250"/>
                </a:cubicBezTo>
                <a:cubicBezTo>
                  <a:pt x="993" y="249"/>
                  <a:pt x="993" y="248"/>
                  <a:pt x="992" y="247"/>
                </a:cubicBezTo>
                <a:cubicBezTo>
                  <a:pt x="990" y="246"/>
                  <a:pt x="988" y="244"/>
                  <a:pt x="986" y="243"/>
                </a:cubicBezTo>
                <a:cubicBezTo>
                  <a:pt x="986" y="243"/>
                  <a:pt x="985" y="242"/>
                  <a:pt x="985" y="241"/>
                </a:cubicBezTo>
                <a:cubicBezTo>
                  <a:pt x="985" y="241"/>
                  <a:pt x="985" y="241"/>
                  <a:pt x="985" y="241"/>
                </a:cubicBezTo>
                <a:cubicBezTo>
                  <a:pt x="985" y="241"/>
                  <a:pt x="985" y="241"/>
                  <a:pt x="985" y="241"/>
                </a:cubicBezTo>
                <a:cubicBezTo>
                  <a:pt x="983" y="240"/>
                  <a:pt x="981" y="239"/>
                  <a:pt x="980" y="238"/>
                </a:cubicBezTo>
                <a:cubicBezTo>
                  <a:pt x="980" y="238"/>
                  <a:pt x="980" y="238"/>
                  <a:pt x="980" y="238"/>
                </a:cubicBezTo>
                <a:cubicBezTo>
                  <a:pt x="980" y="238"/>
                  <a:pt x="980" y="237"/>
                  <a:pt x="981" y="237"/>
                </a:cubicBezTo>
                <a:cubicBezTo>
                  <a:pt x="981" y="237"/>
                  <a:pt x="982" y="237"/>
                  <a:pt x="982" y="238"/>
                </a:cubicBezTo>
                <a:cubicBezTo>
                  <a:pt x="983" y="239"/>
                  <a:pt x="984" y="240"/>
                  <a:pt x="985" y="241"/>
                </a:cubicBezTo>
                <a:cubicBezTo>
                  <a:pt x="985" y="241"/>
                  <a:pt x="985" y="241"/>
                  <a:pt x="985" y="241"/>
                </a:cubicBezTo>
                <a:cubicBezTo>
                  <a:pt x="985" y="241"/>
                  <a:pt x="985" y="241"/>
                  <a:pt x="985" y="241"/>
                </a:cubicBezTo>
                <a:cubicBezTo>
                  <a:pt x="986" y="241"/>
                  <a:pt x="987" y="242"/>
                  <a:pt x="987" y="242"/>
                </a:cubicBezTo>
                <a:cubicBezTo>
                  <a:pt x="989" y="243"/>
                  <a:pt x="991" y="243"/>
                  <a:pt x="993" y="242"/>
                </a:cubicBezTo>
                <a:cubicBezTo>
                  <a:pt x="995" y="241"/>
                  <a:pt x="997" y="240"/>
                  <a:pt x="1000" y="240"/>
                </a:cubicBezTo>
                <a:cubicBezTo>
                  <a:pt x="1000" y="240"/>
                  <a:pt x="1001" y="239"/>
                  <a:pt x="1001" y="238"/>
                </a:cubicBezTo>
                <a:cubicBezTo>
                  <a:pt x="1002" y="237"/>
                  <a:pt x="1002" y="236"/>
                  <a:pt x="1002" y="235"/>
                </a:cubicBezTo>
                <a:cubicBezTo>
                  <a:pt x="1003" y="234"/>
                  <a:pt x="1002" y="232"/>
                  <a:pt x="1001" y="232"/>
                </a:cubicBezTo>
                <a:cubicBezTo>
                  <a:pt x="999" y="232"/>
                  <a:pt x="997" y="230"/>
                  <a:pt x="995" y="229"/>
                </a:cubicBezTo>
                <a:cubicBezTo>
                  <a:pt x="995" y="229"/>
                  <a:pt x="994" y="229"/>
                  <a:pt x="995" y="229"/>
                </a:cubicBezTo>
                <a:cubicBezTo>
                  <a:pt x="995" y="228"/>
                  <a:pt x="995" y="228"/>
                  <a:pt x="996" y="228"/>
                </a:cubicBezTo>
                <a:cubicBezTo>
                  <a:pt x="999" y="229"/>
                  <a:pt x="1001" y="230"/>
                  <a:pt x="1004" y="228"/>
                </a:cubicBezTo>
                <a:cubicBezTo>
                  <a:pt x="1004" y="227"/>
                  <a:pt x="1006" y="228"/>
                  <a:pt x="1006" y="227"/>
                </a:cubicBezTo>
                <a:cubicBezTo>
                  <a:pt x="1009" y="227"/>
                  <a:pt x="1011" y="222"/>
                  <a:pt x="1009" y="221"/>
                </a:cubicBezTo>
                <a:cubicBezTo>
                  <a:pt x="1007" y="219"/>
                  <a:pt x="1006" y="218"/>
                  <a:pt x="1006" y="216"/>
                </a:cubicBezTo>
                <a:cubicBezTo>
                  <a:pt x="1006" y="216"/>
                  <a:pt x="1005" y="215"/>
                  <a:pt x="1005" y="214"/>
                </a:cubicBezTo>
                <a:cubicBezTo>
                  <a:pt x="1004" y="214"/>
                  <a:pt x="1004" y="214"/>
                  <a:pt x="1004" y="213"/>
                </a:cubicBezTo>
                <a:cubicBezTo>
                  <a:pt x="1004" y="212"/>
                  <a:pt x="1005" y="212"/>
                  <a:pt x="1006" y="212"/>
                </a:cubicBezTo>
                <a:cubicBezTo>
                  <a:pt x="1006" y="212"/>
                  <a:pt x="1007" y="213"/>
                  <a:pt x="1008" y="212"/>
                </a:cubicBezTo>
                <a:cubicBezTo>
                  <a:pt x="1009" y="212"/>
                  <a:pt x="1010" y="211"/>
                  <a:pt x="1010" y="210"/>
                </a:cubicBezTo>
                <a:cubicBezTo>
                  <a:pt x="1010" y="207"/>
                  <a:pt x="1010" y="205"/>
                  <a:pt x="1010" y="203"/>
                </a:cubicBezTo>
                <a:cubicBezTo>
                  <a:pt x="1010" y="202"/>
                  <a:pt x="1010" y="200"/>
                  <a:pt x="1009" y="200"/>
                </a:cubicBezTo>
                <a:cubicBezTo>
                  <a:pt x="1007" y="198"/>
                  <a:pt x="1008" y="197"/>
                  <a:pt x="1009" y="196"/>
                </a:cubicBezTo>
                <a:cubicBezTo>
                  <a:pt x="1010" y="196"/>
                  <a:pt x="1009" y="194"/>
                  <a:pt x="1009" y="194"/>
                </a:cubicBezTo>
                <a:cubicBezTo>
                  <a:pt x="1007" y="193"/>
                  <a:pt x="1005" y="193"/>
                  <a:pt x="1004" y="192"/>
                </a:cubicBezTo>
                <a:cubicBezTo>
                  <a:pt x="1004" y="192"/>
                  <a:pt x="1003" y="192"/>
                  <a:pt x="1003" y="192"/>
                </a:cubicBezTo>
                <a:cubicBezTo>
                  <a:pt x="1001" y="191"/>
                  <a:pt x="1001" y="190"/>
                  <a:pt x="1001" y="189"/>
                </a:cubicBezTo>
                <a:cubicBezTo>
                  <a:pt x="1001" y="188"/>
                  <a:pt x="1001" y="187"/>
                  <a:pt x="1002" y="187"/>
                </a:cubicBezTo>
                <a:cubicBezTo>
                  <a:pt x="1003" y="187"/>
                  <a:pt x="1004" y="188"/>
                  <a:pt x="1004" y="188"/>
                </a:cubicBezTo>
                <a:cubicBezTo>
                  <a:pt x="1004" y="188"/>
                  <a:pt x="1004" y="189"/>
                  <a:pt x="1004" y="189"/>
                </a:cubicBezTo>
                <a:cubicBezTo>
                  <a:pt x="1004" y="188"/>
                  <a:pt x="1004" y="188"/>
                  <a:pt x="1004" y="188"/>
                </a:cubicBezTo>
                <a:cubicBezTo>
                  <a:pt x="1004" y="188"/>
                  <a:pt x="1003" y="187"/>
                  <a:pt x="1002" y="186"/>
                </a:cubicBezTo>
                <a:cubicBezTo>
                  <a:pt x="1002" y="186"/>
                  <a:pt x="1002" y="186"/>
                  <a:pt x="1002" y="186"/>
                </a:cubicBezTo>
                <a:cubicBezTo>
                  <a:pt x="1004" y="185"/>
                  <a:pt x="1005" y="184"/>
                  <a:pt x="1007" y="182"/>
                </a:cubicBezTo>
                <a:cubicBezTo>
                  <a:pt x="1007" y="181"/>
                  <a:pt x="1009" y="181"/>
                  <a:pt x="1010" y="182"/>
                </a:cubicBezTo>
                <a:cubicBezTo>
                  <a:pt x="1010" y="182"/>
                  <a:pt x="1010" y="182"/>
                  <a:pt x="1011" y="182"/>
                </a:cubicBezTo>
                <a:cubicBezTo>
                  <a:pt x="1012" y="184"/>
                  <a:pt x="1015" y="186"/>
                  <a:pt x="1014" y="189"/>
                </a:cubicBezTo>
                <a:cubicBezTo>
                  <a:pt x="1014" y="192"/>
                  <a:pt x="1014" y="194"/>
                  <a:pt x="1015" y="197"/>
                </a:cubicBezTo>
                <a:cubicBezTo>
                  <a:pt x="1015" y="197"/>
                  <a:pt x="1016" y="197"/>
                  <a:pt x="1016" y="197"/>
                </a:cubicBezTo>
                <a:cubicBezTo>
                  <a:pt x="1016" y="196"/>
                  <a:pt x="1017" y="195"/>
                  <a:pt x="1016" y="194"/>
                </a:cubicBezTo>
                <a:cubicBezTo>
                  <a:pt x="1016" y="191"/>
                  <a:pt x="1016" y="188"/>
                  <a:pt x="1018" y="185"/>
                </a:cubicBezTo>
                <a:cubicBezTo>
                  <a:pt x="1020" y="183"/>
                  <a:pt x="1020" y="180"/>
                  <a:pt x="1020" y="177"/>
                </a:cubicBezTo>
                <a:cubicBezTo>
                  <a:pt x="1020" y="176"/>
                  <a:pt x="1019" y="174"/>
                  <a:pt x="1018" y="174"/>
                </a:cubicBezTo>
                <a:cubicBezTo>
                  <a:pt x="1016" y="174"/>
                  <a:pt x="1015" y="174"/>
                  <a:pt x="1014" y="173"/>
                </a:cubicBezTo>
                <a:cubicBezTo>
                  <a:pt x="1013" y="173"/>
                  <a:pt x="1013" y="173"/>
                  <a:pt x="1012" y="172"/>
                </a:cubicBezTo>
                <a:cubicBezTo>
                  <a:pt x="1012" y="172"/>
                  <a:pt x="1012" y="171"/>
                  <a:pt x="1012" y="171"/>
                </a:cubicBezTo>
                <a:cubicBezTo>
                  <a:pt x="1012" y="171"/>
                  <a:pt x="1012" y="170"/>
                  <a:pt x="1013" y="170"/>
                </a:cubicBezTo>
                <a:cubicBezTo>
                  <a:pt x="1016" y="170"/>
                  <a:pt x="1016" y="169"/>
                  <a:pt x="1015" y="167"/>
                </a:cubicBezTo>
                <a:cubicBezTo>
                  <a:pt x="1014" y="165"/>
                  <a:pt x="1014" y="164"/>
                  <a:pt x="1012" y="163"/>
                </a:cubicBezTo>
                <a:cubicBezTo>
                  <a:pt x="1012" y="163"/>
                  <a:pt x="1011" y="162"/>
                  <a:pt x="1010" y="161"/>
                </a:cubicBezTo>
                <a:cubicBezTo>
                  <a:pt x="1010" y="161"/>
                  <a:pt x="1010" y="160"/>
                  <a:pt x="1010" y="160"/>
                </a:cubicBezTo>
                <a:cubicBezTo>
                  <a:pt x="1010" y="160"/>
                  <a:pt x="1011" y="160"/>
                  <a:pt x="1011" y="160"/>
                </a:cubicBezTo>
                <a:cubicBezTo>
                  <a:pt x="1013" y="161"/>
                  <a:pt x="1015" y="160"/>
                  <a:pt x="1016" y="157"/>
                </a:cubicBezTo>
                <a:cubicBezTo>
                  <a:pt x="1016" y="154"/>
                  <a:pt x="1018" y="152"/>
                  <a:pt x="1018" y="148"/>
                </a:cubicBezTo>
                <a:cubicBezTo>
                  <a:pt x="1018" y="140"/>
                  <a:pt x="1021" y="134"/>
                  <a:pt x="1026" y="128"/>
                </a:cubicBezTo>
                <a:cubicBezTo>
                  <a:pt x="1028" y="126"/>
                  <a:pt x="1029" y="124"/>
                  <a:pt x="1031" y="122"/>
                </a:cubicBezTo>
                <a:cubicBezTo>
                  <a:pt x="1031" y="121"/>
                  <a:pt x="1031" y="120"/>
                  <a:pt x="1031" y="120"/>
                </a:cubicBezTo>
                <a:cubicBezTo>
                  <a:pt x="1031" y="117"/>
                  <a:pt x="1031" y="117"/>
                  <a:pt x="1033" y="117"/>
                </a:cubicBezTo>
                <a:cubicBezTo>
                  <a:pt x="1035" y="117"/>
                  <a:pt x="1037" y="115"/>
                  <a:pt x="1038" y="113"/>
                </a:cubicBezTo>
                <a:cubicBezTo>
                  <a:pt x="1038" y="112"/>
                  <a:pt x="1038" y="110"/>
                  <a:pt x="1037" y="110"/>
                </a:cubicBezTo>
                <a:cubicBezTo>
                  <a:pt x="1036" y="109"/>
                  <a:pt x="1035" y="109"/>
                  <a:pt x="1035" y="109"/>
                </a:cubicBezTo>
                <a:cubicBezTo>
                  <a:pt x="1033" y="109"/>
                  <a:pt x="1032" y="109"/>
                  <a:pt x="1031" y="109"/>
                </a:cubicBezTo>
                <a:cubicBezTo>
                  <a:pt x="1031" y="109"/>
                  <a:pt x="1031" y="108"/>
                  <a:pt x="1031" y="108"/>
                </a:cubicBezTo>
                <a:cubicBezTo>
                  <a:pt x="1031" y="108"/>
                  <a:pt x="1031" y="107"/>
                  <a:pt x="1032" y="107"/>
                </a:cubicBezTo>
                <a:cubicBezTo>
                  <a:pt x="1033" y="106"/>
                  <a:pt x="1034" y="107"/>
                  <a:pt x="1036" y="107"/>
                </a:cubicBezTo>
                <a:cubicBezTo>
                  <a:pt x="1038" y="108"/>
                  <a:pt x="1040" y="108"/>
                  <a:pt x="1043" y="107"/>
                </a:cubicBezTo>
                <a:cubicBezTo>
                  <a:pt x="1043" y="106"/>
                  <a:pt x="1044" y="106"/>
                  <a:pt x="1045" y="105"/>
                </a:cubicBezTo>
                <a:cubicBezTo>
                  <a:pt x="1046" y="105"/>
                  <a:pt x="1046" y="104"/>
                  <a:pt x="1046" y="103"/>
                </a:cubicBezTo>
                <a:cubicBezTo>
                  <a:pt x="1046" y="102"/>
                  <a:pt x="1045" y="102"/>
                  <a:pt x="1045" y="101"/>
                </a:cubicBezTo>
                <a:cubicBezTo>
                  <a:pt x="1045" y="100"/>
                  <a:pt x="1046" y="99"/>
                  <a:pt x="1047" y="100"/>
                </a:cubicBezTo>
                <a:cubicBezTo>
                  <a:pt x="1049" y="100"/>
                  <a:pt x="1051" y="100"/>
                  <a:pt x="1052" y="98"/>
                </a:cubicBezTo>
                <a:cubicBezTo>
                  <a:pt x="1053" y="97"/>
                  <a:pt x="1054" y="96"/>
                  <a:pt x="1055" y="96"/>
                </a:cubicBezTo>
                <a:cubicBezTo>
                  <a:pt x="1059" y="92"/>
                  <a:pt x="1059" y="90"/>
                  <a:pt x="1056" y="86"/>
                </a:cubicBezTo>
                <a:cubicBezTo>
                  <a:pt x="1056" y="86"/>
                  <a:pt x="1055" y="85"/>
                  <a:pt x="1055" y="85"/>
                </a:cubicBezTo>
                <a:cubicBezTo>
                  <a:pt x="1051" y="81"/>
                  <a:pt x="1047" y="79"/>
                  <a:pt x="1042" y="79"/>
                </a:cubicBezTo>
                <a:cubicBezTo>
                  <a:pt x="1039" y="79"/>
                  <a:pt x="1036" y="80"/>
                  <a:pt x="1033" y="81"/>
                </a:cubicBezTo>
                <a:cubicBezTo>
                  <a:pt x="1033" y="81"/>
                  <a:pt x="1032" y="82"/>
                  <a:pt x="1032" y="82"/>
                </a:cubicBezTo>
                <a:cubicBezTo>
                  <a:pt x="1032" y="83"/>
                  <a:pt x="1031" y="84"/>
                  <a:pt x="1031" y="85"/>
                </a:cubicBezTo>
                <a:cubicBezTo>
                  <a:pt x="1031" y="86"/>
                  <a:pt x="1030" y="86"/>
                  <a:pt x="1028" y="86"/>
                </a:cubicBezTo>
                <a:cubicBezTo>
                  <a:pt x="1027" y="86"/>
                  <a:pt x="1026" y="85"/>
                  <a:pt x="1025" y="84"/>
                </a:cubicBezTo>
                <a:cubicBezTo>
                  <a:pt x="1024" y="84"/>
                  <a:pt x="1024" y="84"/>
                  <a:pt x="1023" y="85"/>
                </a:cubicBezTo>
                <a:cubicBezTo>
                  <a:pt x="1020" y="90"/>
                  <a:pt x="1016" y="92"/>
                  <a:pt x="1011" y="94"/>
                </a:cubicBezTo>
                <a:cubicBezTo>
                  <a:pt x="1008" y="95"/>
                  <a:pt x="1005" y="95"/>
                  <a:pt x="1003" y="97"/>
                </a:cubicBezTo>
                <a:cubicBezTo>
                  <a:pt x="1003" y="97"/>
                  <a:pt x="1003" y="97"/>
                  <a:pt x="1003" y="97"/>
                </a:cubicBezTo>
                <a:cubicBezTo>
                  <a:pt x="1002" y="98"/>
                  <a:pt x="1002" y="98"/>
                  <a:pt x="1001" y="99"/>
                </a:cubicBezTo>
                <a:cubicBezTo>
                  <a:pt x="1000" y="99"/>
                  <a:pt x="1000" y="100"/>
                  <a:pt x="999" y="101"/>
                </a:cubicBezTo>
                <a:cubicBezTo>
                  <a:pt x="999" y="101"/>
                  <a:pt x="999" y="101"/>
                  <a:pt x="999" y="101"/>
                </a:cubicBezTo>
                <a:cubicBezTo>
                  <a:pt x="999" y="100"/>
                  <a:pt x="999" y="100"/>
                  <a:pt x="999" y="100"/>
                </a:cubicBezTo>
                <a:cubicBezTo>
                  <a:pt x="1000" y="100"/>
                  <a:pt x="1000" y="99"/>
                  <a:pt x="1001" y="99"/>
                </a:cubicBezTo>
                <a:cubicBezTo>
                  <a:pt x="1001" y="98"/>
                  <a:pt x="1002" y="98"/>
                  <a:pt x="1003" y="97"/>
                </a:cubicBezTo>
                <a:cubicBezTo>
                  <a:pt x="1003" y="97"/>
                  <a:pt x="1003" y="97"/>
                  <a:pt x="1003" y="97"/>
                </a:cubicBezTo>
                <a:cubicBezTo>
                  <a:pt x="1003" y="96"/>
                  <a:pt x="1003" y="95"/>
                  <a:pt x="1003" y="95"/>
                </a:cubicBezTo>
                <a:cubicBezTo>
                  <a:pt x="1005" y="93"/>
                  <a:pt x="1007" y="90"/>
                  <a:pt x="1010" y="89"/>
                </a:cubicBezTo>
                <a:cubicBezTo>
                  <a:pt x="1013" y="88"/>
                  <a:pt x="1016" y="86"/>
                  <a:pt x="1017" y="83"/>
                </a:cubicBezTo>
                <a:cubicBezTo>
                  <a:pt x="1017" y="82"/>
                  <a:pt x="1017" y="81"/>
                  <a:pt x="1018" y="80"/>
                </a:cubicBezTo>
                <a:cubicBezTo>
                  <a:pt x="1020" y="74"/>
                  <a:pt x="1017" y="72"/>
                  <a:pt x="1012" y="73"/>
                </a:cubicBezTo>
                <a:cubicBezTo>
                  <a:pt x="1012" y="73"/>
                  <a:pt x="1011" y="73"/>
                  <a:pt x="1011" y="73"/>
                </a:cubicBezTo>
                <a:cubicBezTo>
                  <a:pt x="1011" y="73"/>
                  <a:pt x="1010" y="73"/>
                  <a:pt x="1010" y="74"/>
                </a:cubicBezTo>
                <a:cubicBezTo>
                  <a:pt x="1009" y="75"/>
                  <a:pt x="1009" y="77"/>
                  <a:pt x="1008" y="78"/>
                </a:cubicBezTo>
                <a:cubicBezTo>
                  <a:pt x="1008" y="80"/>
                  <a:pt x="1006" y="81"/>
                  <a:pt x="1004" y="81"/>
                </a:cubicBezTo>
                <a:cubicBezTo>
                  <a:pt x="1004" y="81"/>
                  <a:pt x="1004" y="81"/>
                  <a:pt x="1003" y="81"/>
                </a:cubicBezTo>
                <a:cubicBezTo>
                  <a:pt x="1000" y="79"/>
                  <a:pt x="997" y="80"/>
                  <a:pt x="994" y="80"/>
                </a:cubicBezTo>
                <a:cubicBezTo>
                  <a:pt x="994" y="80"/>
                  <a:pt x="993" y="80"/>
                  <a:pt x="993" y="80"/>
                </a:cubicBezTo>
                <a:cubicBezTo>
                  <a:pt x="993" y="80"/>
                  <a:pt x="994" y="79"/>
                  <a:pt x="994" y="79"/>
                </a:cubicBezTo>
                <a:cubicBezTo>
                  <a:pt x="995" y="78"/>
                  <a:pt x="997" y="78"/>
                  <a:pt x="999" y="77"/>
                </a:cubicBezTo>
                <a:cubicBezTo>
                  <a:pt x="1000" y="77"/>
                  <a:pt x="1001" y="76"/>
                  <a:pt x="1001" y="74"/>
                </a:cubicBezTo>
                <a:cubicBezTo>
                  <a:pt x="1002" y="73"/>
                  <a:pt x="1001" y="72"/>
                  <a:pt x="1000" y="71"/>
                </a:cubicBezTo>
                <a:cubicBezTo>
                  <a:pt x="998" y="71"/>
                  <a:pt x="996" y="70"/>
                  <a:pt x="994" y="70"/>
                </a:cubicBezTo>
                <a:cubicBezTo>
                  <a:pt x="985" y="68"/>
                  <a:pt x="982" y="68"/>
                  <a:pt x="974" y="72"/>
                </a:cubicBezTo>
                <a:cubicBezTo>
                  <a:pt x="973" y="72"/>
                  <a:pt x="972" y="73"/>
                  <a:pt x="971" y="73"/>
                </a:cubicBezTo>
                <a:cubicBezTo>
                  <a:pt x="969" y="74"/>
                  <a:pt x="967" y="74"/>
                  <a:pt x="966" y="75"/>
                </a:cubicBezTo>
                <a:cubicBezTo>
                  <a:pt x="965" y="75"/>
                  <a:pt x="965" y="74"/>
                  <a:pt x="965" y="74"/>
                </a:cubicBezTo>
                <a:cubicBezTo>
                  <a:pt x="964" y="74"/>
                  <a:pt x="965" y="73"/>
                  <a:pt x="965" y="73"/>
                </a:cubicBezTo>
                <a:cubicBezTo>
                  <a:pt x="966" y="72"/>
                  <a:pt x="967" y="72"/>
                  <a:pt x="968" y="71"/>
                </a:cubicBezTo>
                <a:cubicBezTo>
                  <a:pt x="971" y="70"/>
                  <a:pt x="974" y="69"/>
                  <a:pt x="977" y="68"/>
                </a:cubicBezTo>
                <a:cubicBezTo>
                  <a:pt x="982" y="65"/>
                  <a:pt x="987" y="65"/>
                  <a:pt x="993" y="67"/>
                </a:cubicBezTo>
                <a:cubicBezTo>
                  <a:pt x="997" y="68"/>
                  <a:pt x="1000" y="68"/>
                  <a:pt x="1004" y="68"/>
                </a:cubicBezTo>
                <a:cubicBezTo>
                  <a:pt x="1008" y="67"/>
                  <a:pt x="1011" y="66"/>
                  <a:pt x="1015" y="66"/>
                </a:cubicBezTo>
                <a:cubicBezTo>
                  <a:pt x="1019" y="66"/>
                  <a:pt x="1022" y="64"/>
                  <a:pt x="1025" y="61"/>
                </a:cubicBezTo>
                <a:cubicBezTo>
                  <a:pt x="1026" y="60"/>
                  <a:pt x="1026" y="57"/>
                  <a:pt x="1025" y="56"/>
                </a:cubicBezTo>
                <a:cubicBezTo>
                  <a:pt x="1023" y="54"/>
                  <a:pt x="1021" y="53"/>
                  <a:pt x="1019" y="51"/>
                </a:cubicBezTo>
                <a:cubicBezTo>
                  <a:pt x="1015" y="49"/>
                  <a:pt x="1011" y="47"/>
                  <a:pt x="1007" y="50"/>
                </a:cubicBezTo>
                <a:cubicBezTo>
                  <a:pt x="1007" y="50"/>
                  <a:pt x="1006" y="50"/>
                  <a:pt x="1005" y="50"/>
                </a:cubicBezTo>
                <a:cubicBezTo>
                  <a:pt x="1005" y="50"/>
                  <a:pt x="1005" y="49"/>
                  <a:pt x="1005" y="49"/>
                </a:cubicBezTo>
                <a:cubicBezTo>
                  <a:pt x="1005" y="49"/>
                  <a:pt x="1005" y="49"/>
                  <a:pt x="1005" y="49"/>
                </a:cubicBezTo>
                <a:cubicBezTo>
                  <a:pt x="1006" y="48"/>
                  <a:pt x="1007" y="48"/>
                  <a:pt x="1007" y="48"/>
                </a:cubicBezTo>
                <a:cubicBezTo>
                  <a:pt x="1010" y="46"/>
                  <a:pt x="1010" y="44"/>
                  <a:pt x="1009" y="41"/>
                </a:cubicBezTo>
                <a:cubicBezTo>
                  <a:pt x="1008" y="40"/>
                  <a:pt x="1007" y="40"/>
                  <a:pt x="1006" y="40"/>
                </a:cubicBezTo>
                <a:cubicBezTo>
                  <a:pt x="1000" y="42"/>
                  <a:pt x="995" y="42"/>
                  <a:pt x="990" y="39"/>
                </a:cubicBezTo>
                <a:cubicBezTo>
                  <a:pt x="988" y="39"/>
                  <a:pt x="986" y="39"/>
                  <a:pt x="985" y="39"/>
                </a:cubicBezTo>
                <a:cubicBezTo>
                  <a:pt x="983" y="39"/>
                  <a:pt x="981" y="40"/>
                  <a:pt x="979" y="40"/>
                </a:cubicBezTo>
                <a:cubicBezTo>
                  <a:pt x="976" y="41"/>
                  <a:pt x="973" y="41"/>
                  <a:pt x="970" y="41"/>
                </a:cubicBezTo>
                <a:cubicBezTo>
                  <a:pt x="968" y="40"/>
                  <a:pt x="966" y="41"/>
                  <a:pt x="964" y="42"/>
                </a:cubicBezTo>
                <a:cubicBezTo>
                  <a:pt x="963" y="42"/>
                  <a:pt x="962" y="42"/>
                  <a:pt x="962" y="42"/>
                </a:cubicBezTo>
                <a:cubicBezTo>
                  <a:pt x="961" y="42"/>
                  <a:pt x="961" y="42"/>
                  <a:pt x="961" y="42"/>
                </a:cubicBezTo>
                <a:cubicBezTo>
                  <a:pt x="961" y="42"/>
                  <a:pt x="961" y="41"/>
                  <a:pt x="961" y="41"/>
                </a:cubicBezTo>
                <a:cubicBezTo>
                  <a:pt x="962" y="41"/>
                  <a:pt x="963" y="40"/>
                  <a:pt x="964" y="40"/>
                </a:cubicBezTo>
                <a:cubicBezTo>
                  <a:pt x="966" y="40"/>
                  <a:pt x="969" y="40"/>
                  <a:pt x="971" y="39"/>
                </a:cubicBezTo>
                <a:cubicBezTo>
                  <a:pt x="975" y="38"/>
                  <a:pt x="980" y="38"/>
                  <a:pt x="984" y="38"/>
                </a:cubicBezTo>
                <a:cubicBezTo>
                  <a:pt x="987" y="37"/>
                  <a:pt x="991" y="37"/>
                  <a:pt x="994" y="38"/>
                </a:cubicBezTo>
                <a:cubicBezTo>
                  <a:pt x="998" y="40"/>
                  <a:pt x="1001" y="38"/>
                  <a:pt x="1003" y="37"/>
                </a:cubicBezTo>
                <a:cubicBezTo>
                  <a:pt x="1004" y="36"/>
                  <a:pt x="1004" y="35"/>
                  <a:pt x="1004" y="35"/>
                </a:cubicBezTo>
                <a:cubicBezTo>
                  <a:pt x="1002" y="32"/>
                  <a:pt x="999" y="30"/>
                  <a:pt x="996" y="29"/>
                </a:cubicBezTo>
                <a:cubicBezTo>
                  <a:pt x="989" y="28"/>
                  <a:pt x="983" y="25"/>
                  <a:pt x="977" y="23"/>
                </a:cubicBezTo>
                <a:cubicBezTo>
                  <a:pt x="974" y="22"/>
                  <a:pt x="972" y="22"/>
                  <a:pt x="969" y="22"/>
                </a:cubicBezTo>
                <a:cubicBezTo>
                  <a:pt x="965" y="21"/>
                  <a:pt x="962" y="23"/>
                  <a:pt x="959" y="23"/>
                </a:cubicBezTo>
                <a:cubicBezTo>
                  <a:pt x="957" y="24"/>
                  <a:pt x="955" y="26"/>
                  <a:pt x="954" y="28"/>
                </a:cubicBezTo>
                <a:cubicBezTo>
                  <a:pt x="954" y="28"/>
                  <a:pt x="954" y="29"/>
                  <a:pt x="953" y="29"/>
                </a:cubicBezTo>
                <a:cubicBezTo>
                  <a:pt x="953" y="29"/>
                  <a:pt x="953" y="29"/>
                  <a:pt x="953" y="29"/>
                </a:cubicBezTo>
                <a:cubicBezTo>
                  <a:pt x="953" y="29"/>
                  <a:pt x="953" y="29"/>
                  <a:pt x="953" y="29"/>
                </a:cubicBezTo>
                <a:cubicBezTo>
                  <a:pt x="954" y="29"/>
                  <a:pt x="954" y="29"/>
                  <a:pt x="954" y="29"/>
                </a:cubicBezTo>
                <a:cubicBezTo>
                  <a:pt x="953" y="29"/>
                  <a:pt x="953" y="30"/>
                  <a:pt x="953" y="30"/>
                </a:cubicBezTo>
                <a:cubicBezTo>
                  <a:pt x="953" y="30"/>
                  <a:pt x="953" y="30"/>
                  <a:pt x="953" y="30"/>
                </a:cubicBezTo>
                <a:cubicBezTo>
                  <a:pt x="954" y="31"/>
                  <a:pt x="954" y="31"/>
                  <a:pt x="954" y="31"/>
                </a:cubicBezTo>
                <a:cubicBezTo>
                  <a:pt x="953" y="31"/>
                  <a:pt x="953" y="31"/>
                  <a:pt x="953" y="31"/>
                </a:cubicBezTo>
                <a:cubicBezTo>
                  <a:pt x="953" y="30"/>
                  <a:pt x="953" y="30"/>
                  <a:pt x="953" y="30"/>
                </a:cubicBezTo>
                <a:cubicBezTo>
                  <a:pt x="951" y="31"/>
                  <a:pt x="950" y="29"/>
                  <a:pt x="948" y="28"/>
                </a:cubicBezTo>
                <a:cubicBezTo>
                  <a:pt x="947" y="28"/>
                  <a:pt x="947" y="28"/>
                  <a:pt x="947" y="29"/>
                </a:cubicBezTo>
                <a:cubicBezTo>
                  <a:pt x="946" y="29"/>
                  <a:pt x="946" y="29"/>
                  <a:pt x="946" y="29"/>
                </a:cubicBezTo>
                <a:cubicBezTo>
                  <a:pt x="946" y="30"/>
                  <a:pt x="947" y="31"/>
                  <a:pt x="947" y="32"/>
                </a:cubicBezTo>
                <a:cubicBezTo>
                  <a:pt x="947" y="32"/>
                  <a:pt x="947" y="33"/>
                  <a:pt x="947" y="33"/>
                </a:cubicBezTo>
                <a:cubicBezTo>
                  <a:pt x="946" y="33"/>
                  <a:pt x="945" y="34"/>
                  <a:pt x="945" y="34"/>
                </a:cubicBezTo>
                <a:cubicBezTo>
                  <a:pt x="943" y="33"/>
                  <a:pt x="940" y="32"/>
                  <a:pt x="938" y="30"/>
                </a:cubicBezTo>
                <a:cubicBezTo>
                  <a:pt x="937" y="29"/>
                  <a:pt x="935" y="29"/>
                  <a:pt x="933" y="30"/>
                </a:cubicBezTo>
                <a:cubicBezTo>
                  <a:pt x="932" y="31"/>
                  <a:pt x="930" y="32"/>
                  <a:pt x="929" y="32"/>
                </a:cubicBezTo>
                <a:cubicBezTo>
                  <a:pt x="927" y="32"/>
                  <a:pt x="927" y="33"/>
                  <a:pt x="927" y="33"/>
                </a:cubicBezTo>
                <a:cubicBezTo>
                  <a:pt x="927" y="35"/>
                  <a:pt x="927" y="38"/>
                  <a:pt x="927" y="40"/>
                </a:cubicBezTo>
                <a:cubicBezTo>
                  <a:pt x="926" y="41"/>
                  <a:pt x="926" y="42"/>
                  <a:pt x="925" y="42"/>
                </a:cubicBezTo>
                <a:cubicBezTo>
                  <a:pt x="924" y="43"/>
                  <a:pt x="923" y="44"/>
                  <a:pt x="922" y="45"/>
                </a:cubicBezTo>
                <a:cubicBezTo>
                  <a:pt x="922" y="45"/>
                  <a:pt x="921" y="45"/>
                  <a:pt x="921" y="45"/>
                </a:cubicBezTo>
                <a:cubicBezTo>
                  <a:pt x="919" y="44"/>
                  <a:pt x="917" y="43"/>
                  <a:pt x="915" y="43"/>
                </a:cubicBezTo>
                <a:cubicBezTo>
                  <a:pt x="915" y="43"/>
                  <a:pt x="913" y="44"/>
                  <a:pt x="913" y="45"/>
                </a:cubicBezTo>
                <a:cubicBezTo>
                  <a:pt x="913" y="45"/>
                  <a:pt x="913" y="46"/>
                  <a:pt x="913" y="47"/>
                </a:cubicBezTo>
                <a:cubicBezTo>
                  <a:pt x="914" y="50"/>
                  <a:pt x="914" y="54"/>
                  <a:pt x="915" y="57"/>
                </a:cubicBezTo>
                <a:cubicBezTo>
                  <a:pt x="916" y="61"/>
                  <a:pt x="916" y="65"/>
                  <a:pt x="918" y="68"/>
                </a:cubicBezTo>
                <a:cubicBezTo>
                  <a:pt x="918" y="69"/>
                  <a:pt x="918" y="70"/>
                  <a:pt x="916" y="70"/>
                </a:cubicBezTo>
                <a:cubicBezTo>
                  <a:pt x="915" y="70"/>
                  <a:pt x="914" y="70"/>
                  <a:pt x="913" y="68"/>
                </a:cubicBezTo>
                <a:cubicBezTo>
                  <a:pt x="913" y="67"/>
                  <a:pt x="912" y="66"/>
                  <a:pt x="910" y="65"/>
                </a:cubicBezTo>
                <a:cubicBezTo>
                  <a:pt x="910" y="65"/>
                  <a:pt x="910" y="65"/>
                  <a:pt x="911" y="64"/>
                </a:cubicBezTo>
                <a:cubicBezTo>
                  <a:pt x="912" y="63"/>
                  <a:pt x="912" y="62"/>
                  <a:pt x="911" y="61"/>
                </a:cubicBezTo>
                <a:cubicBezTo>
                  <a:pt x="910" y="60"/>
                  <a:pt x="908" y="59"/>
                  <a:pt x="908" y="57"/>
                </a:cubicBezTo>
                <a:cubicBezTo>
                  <a:pt x="907" y="54"/>
                  <a:pt x="906" y="52"/>
                  <a:pt x="904" y="49"/>
                </a:cubicBezTo>
                <a:cubicBezTo>
                  <a:pt x="904" y="47"/>
                  <a:pt x="902" y="46"/>
                  <a:pt x="901" y="45"/>
                </a:cubicBezTo>
                <a:cubicBezTo>
                  <a:pt x="899" y="45"/>
                  <a:pt x="897" y="45"/>
                  <a:pt x="897" y="46"/>
                </a:cubicBezTo>
                <a:cubicBezTo>
                  <a:pt x="897" y="47"/>
                  <a:pt x="897" y="47"/>
                  <a:pt x="896" y="48"/>
                </a:cubicBezTo>
                <a:cubicBezTo>
                  <a:pt x="895" y="51"/>
                  <a:pt x="895" y="55"/>
                  <a:pt x="895" y="58"/>
                </a:cubicBezTo>
                <a:cubicBezTo>
                  <a:pt x="895" y="60"/>
                  <a:pt x="895" y="61"/>
                  <a:pt x="895" y="63"/>
                </a:cubicBezTo>
                <a:cubicBezTo>
                  <a:pt x="894" y="64"/>
                  <a:pt x="892" y="63"/>
                  <a:pt x="891" y="63"/>
                </a:cubicBezTo>
                <a:cubicBezTo>
                  <a:pt x="890" y="63"/>
                  <a:pt x="890" y="63"/>
                  <a:pt x="890" y="63"/>
                </a:cubicBezTo>
                <a:cubicBezTo>
                  <a:pt x="889" y="63"/>
                  <a:pt x="889" y="64"/>
                  <a:pt x="888" y="64"/>
                </a:cubicBezTo>
                <a:cubicBezTo>
                  <a:pt x="888" y="64"/>
                  <a:pt x="887" y="64"/>
                  <a:pt x="887" y="63"/>
                </a:cubicBezTo>
                <a:cubicBezTo>
                  <a:pt x="886" y="61"/>
                  <a:pt x="888" y="60"/>
                  <a:pt x="888" y="59"/>
                </a:cubicBezTo>
                <a:cubicBezTo>
                  <a:pt x="887" y="56"/>
                  <a:pt x="887" y="53"/>
                  <a:pt x="887" y="50"/>
                </a:cubicBezTo>
                <a:cubicBezTo>
                  <a:pt x="887" y="49"/>
                  <a:pt x="887" y="49"/>
                  <a:pt x="886" y="48"/>
                </a:cubicBezTo>
                <a:cubicBezTo>
                  <a:pt x="886" y="48"/>
                  <a:pt x="886" y="47"/>
                  <a:pt x="886" y="47"/>
                </a:cubicBezTo>
                <a:cubicBezTo>
                  <a:pt x="885" y="47"/>
                  <a:pt x="885" y="47"/>
                  <a:pt x="884" y="48"/>
                </a:cubicBezTo>
                <a:cubicBezTo>
                  <a:pt x="883" y="49"/>
                  <a:pt x="883" y="51"/>
                  <a:pt x="883" y="52"/>
                </a:cubicBezTo>
                <a:cubicBezTo>
                  <a:pt x="883" y="53"/>
                  <a:pt x="884" y="55"/>
                  <a:pt x="883" y="56"/>
                </a:cubicBezTo>
                <a:cubicBezTo>
                  <a:pt x="883" y="57"/>
                  <a:pt x="881" y="58"/>
                  <a:pt x="881" y="60"/>
                </a:cubicBezTo>
                <a:cubicBezTo>
                  <a:pt x="880" y="60"/>
                  <a:pt x="880" y="60"/>
                  <a:pt x="880" y="60"/>
                </a:cubicBezTo>
                <a:cubicBezTo>
                  <a:pt x="880" y="60"/>
                  <a:pt x="880" y="60"/>
                  <a:pt x="880" y="60"/>
                </a:cubicBezTo>
                <a:cubicBezTo>
                  <a:pt x="880" y="61"/>
                  <a:pt x="879" y="61"/>
                  <a:pt x="878" y="62"/>
                </a:cubicBezTo>
                <a:cubicBezTo>
                  <a:pt x="878" y="63"/>
                  <a:pt x="877" y="63"/>
                  <a:pt x="876" y="64"/>
                </a:cubicBezTo>
                <a:cubicBezTo>
                  <a:pt x="876" y="64"/>
                  <a:pt x="876" y="64"/>
                  <a:pt x="876" y="64"/>
                </a:cubicBezTo>
                <a:cubicBezTo>
                  <a:pt x="876" y="65"/>
                  <a:pt x="876" y="65"/>
                  <a:pt x="876" y="65"/>
                </a:cubicBezTo>
                <a:cubicBezTo>
                  <a:pt x="875" y="65"/>
                  <a:pt x="876" y="65"/>
                  <a:pt x="876" y="64"/>
                </a:cubicBezTo>
                <a:cubicBezTo>
                  <a:pt x="876" y="64"/>
                  <a:pt x="876" y="64"/>
                  <a:pt x="876" y="64"/>
                </a:cubicBezTo>
                <a:cubicBezTo>
                  <a:pt x="877" y="63"/>
                  <a:pt x="877" y="62"/>
                  <a:pt x="878" y="62"/>
                </a:cubicBezTo>
                <a:cubicBezTo>
                  <a:pt x="879" y="61"/>
                  <a:pt x="879" y="61"/>
                  <a:pt x="880" y="60"/>
                </a:cubicBezTo>
                <a:cubicBezTo>
                  <a:pt x="880" y="60"/>
                  <a:pt x="880" y="60"/>
                  <a:pt x="880" y="60"/>
                </a:cubicBezTo>
                <a:cubicBezTo>
                  <a:pt x="880" y="59"/>
                  <a:pt x="879" y="58"/>
                  <a:pt x="879" y="57"/>
                </a:cubicBezTo>
                <a:cubicBezTo>
                  <a:pt x="880" y="55"/>
                  <a:pt x="881" y="53"/>
                  <a:pt x="882" y="51"/>
                </a:cubicBezTo>
                <a:cubicBezTo>
                  <a:pt x="882" y="49"/>
                  <a:pt x="882" y="47"/>
                  <a:pt x="882" y="45"/>
                </a:cubicBezTo>
                <a:cubicBezTo>
                  <a:pt x="882" y="44"/>
                  <a:pt x="880" y="43"/>
                  <a:pt x="879" y="43"/>
                </a:cubicBezTo>
                <a:cubicBezTo>
                  <a:pt x="878" y="44"/>
                  <a:pt x="876" y="44"/>
                  <a:pt x="875" y="45"/>
                </a:cubicBezTo>
                <a:cubicBezTo>
                  <a:pt x="872" y="46"/>
                  <a:pt x="870" y="46"/>
                  <a:pt x="867" y="47"/>
                </a:cubicBezTo>
                <a:cubicBezTo>
                  <a:pt x="863" y="47"/>
                  <a:pt x="859" y="47"/>
                  <a:pt x="855" y="48"/>
                </a:cubicBezTo>
                <a:cubicBezTo>
                  <a:pt x="853" y="48"/>
                  <a:pt x="852" y="49"/>
                  <a:pt x="852" y="51"/>
                </a:cubicBezTo>
                <a:cubicBezTo>
                  <a:pt x="852" y="52"/>
                  <a:pt x="852" y="52"/>
                  <a:pt x="852" y="53"/>
                </a:cubicBezTo>
                <a:cubicBezTo>
                  <a:pt x="852" y="53"/>
                  <a:pt x="852" y="54"/>
                  <a:pt x="852" y="54"/>
                </a:cubicBezTo>
                <a:cubicBezTo>
                  <a:pt x="851" y="54"/>
                  <a:pt x="851" y="54"/>
                  <a:pt x="851" y="54"/>
                </a:cubicBezTo>
                <a:cubicBezTo>
                  <a:pt x="850" y="53"/>
                  <a:pt x="850" y="51"/>
                  <a:pt x="849" y="51"/>
                </a:cubicBezTo>
                <a:cubicBezTo>
                  <a:pt x="847" y="50"/>
                  <a:pt x="846" y="51"/>
                  <a:pt x="844" y="52"/>
                </a:cubicBezTo>
                <a:cubicBezTo>
                  <a:pt x="843" y="52"/>
                  <a:pt x="842" y="53"/>
                  <a:pt x="842" y="55"/>
                </a:cubicBezTo>
                <a:cubicBezTo>
                  <a:pt x="841" y="56"/>
                  <a:pt x="841" y="56"/>
                  <a:pt x="841" y="57"/>
                </a:cubicBezTo>
                <a:cubicBezTo>
                  <a:pt x="841" y="59"/>
                  <a:pt x="841" y="61"/>
                  <a:pt x="840" y="62"/>
                </a:cubicBezTo>
                <a:cubicBezTo>
                  <a:pt x="840" y="64"/>
                  <a:pt x="838" y="65"/>
                  <a:pt x="837" y="66"/>
                </a:cubicBezTo>
                <a:cubicBezTo>
                  <a:pt x="837" y="67"/>
                  <a:pt x="836" y="67"/>
                  <a:pt x="836" y="68"/>
                </a:cubicBezTo>
                <a:cubicBezTo>
                  <a:pt x="835" y="69"/>
                  <a:pt x="834" y="69"/>
                  <a:pt x="833" y="68"/>
                </a:cubicBezTo>
                <a:cubicBezTo>
                  <a:pt x="831" y="66"/>
                  <a:pt x="829" y="66"/>
                  <a:pt x="827" y="67"/>
                </a:cubicBezTo>
                <a:cubicBezTo>
                  <a:pt x="824" y="67"/>
                  <a:pt x="821" y="68"/>
                  <a:pt x="819" y="70"/>
                </a:cubicBezTo>
                <a:cubicBezTo>
                  <a:pt x="817" y="73"/>
                  <a:pt x="815" y="74"/>
                  <a:pt x="812" y="74"/>
                </a:cubicBezTo>
                <a:cubicBezTo>
                  <a:pt x="811" y="75"/>
                  <a:pt x="811" y="76"/>
                  <a:pt x="810" y="76"/>
                </a:cubicBezTo>
                <a:cubicBezTo>
                  <a:pt x="807" y="78"/>
                  <a:pt x="805" y="81"/>
                  <a:pt x="803" y="84"/>
                </a:cubicBezTo>
                <a:cubicBezTo>
                  <a:pt x="802" y="86"/>
                  <a:pt x="803" y="88"/>
                  <a:pt x="805" y="88"/>
                </a:cubicBezTo>
                <a:cubicBezTo>
                  <a:pt x="807" y="89"/>
                  <a:pt x="809" y="90"/>
                  <a:pt x="811" y="90"/>
                </a:cubicBezTo>
                <a:cubicBezTo>
                  <a:pt x="811" y="90"/>
                  <a:pt x="811" y="90"/>
                  <a:pt x="811" y="90"/>
                </a:cubicBezTo>
                <a:cubicBezTo>
                  <a:pt x="812" y="90"/>
                  <a:pt x="812" y="90"/>
                  <a:pt x="812" y="90"/>
                </a:cubicBezTo>
                <a:cubicBezTo>
                  <a:pt x="812" y="90"/>
                  <a:pt x="812" y="90"/>
                  <a:pt x="812" y="90"/>
                </a:cubicBezTo>
                <a:cubicBezTo>
                  <a:pt x="812" y="90"/>
                  <a:pt x="812" y="90"/>
                  <a:pt x="811" y="90"/>
                </a:cubicBezTo>
                <a:cubicBezTo>
                  <a:pt x="812" y="91"/>
                  <a:pt x="812" y="91"/>
                  <a:pt x="812" y="92"/>
                </a:cubicBezTo>
                <a:cubicBezTo>
                  <a:pt x="812" y="93"/>
                  <a:pt x="812" y="94"/>
                  <a:pt x="811" y="94"/>
                </a:cubicBezTo>
                <a:cubicBezTo>
                  <a:pt x="810" y="95"/>
                  <a:pt x="809" y="96"/>
                  <a:pt x="809" y="97"/>
                </a:cubicBezTo>
                <a:cubicBezTo>
                  <a:pt x="809" y="99"/>
                  <a:pt x="808" y="100"/>
                  <a:pt x="807" y="100"/>
                </a:cubicBezTo>
                <a:cubicBezTo>
                  <a:pt x="806" y="102"/>
                  <a:pt x="804" y="104"/>
                  <a:pt x="802" y="106"/>
                </a:cubicBezTo>
                <a:cubicBezTo>
                  <a:pt x="801" y="107"/>
                  <a:pt x="800" y="108"/>
                  <a:pt x="799" y="107"/>
                </a:cubicBezTo>
                <a:cubicBezTo>
                  <a:pt x="795" y="105"/>
                  <a:pt x="791" y="106"/>
                  <a:pt x="788" y="106"/>
                </a:cubicBezTo>
                <a:cubicBezTo>
                  <a:pt x="786" y="106"/>
                  <a:pt x="785" y="106"/>
                  <a:pt x="784" y="107"/>
                </a:cubicBezTo>
                <a:cubicBezTo>
                  <a:pt x="782" y="108"/>
                  <a:pt x="780" y="109"/>
                  <a:pt x="778" y="109"/>
                </a:cubicBezTo>
                <a:cubicBezTo>
                  <a:pt x="774" y="110"/>
                  <a:pt x="770" y="111"/>
                  <a:pt x="766" y="111"/>
                </a:cubicBezTo>
                <a:cubicBezTo>
                  <a:pt x="763" y="112"/>
                  <a:pt x="761" y="114"/>
                  <a:pt x="759" y="117"/>
                </a:cubicBezTo>
                <a:cubicBezTo>
                  <a:pt x="758" y="119"/>
                  <a:pt x="757" y="121"/>
                  <a:pt x="759" y="123"/>
                </a:cubicBezTo>
                <a:cubicBezTo>
                  <a:pt x="761" y="125"/>
                  <a:pt x="762" y="128"/>
                  <a:pt x="764" y="130"/>
                </a:cubicBezTo>
                <a:cubicBezTo>
                  <a:pt x="764" y="130"/>
                  <a:pt x="764" y="130"/>
                  <a:pt x="765" y="130"/>
                </a:cubicBezTo>
                <a:cubicBezTo>
                  <a:pt x="765" y="130"/>
                  <a:pt x="765" y="130"/>
                  <a:pt x="765" y="130"/>
                </a:cubicBezTo>
                <a:cubicBezTo>
                  <a:pt x="765" y="130"/>
                  <a:pt x="765" y="130"/>
                  <a:pt x="765" y="130"/>
                </a:cubicBezTo>
                <a:cubicBezTo>
                  <a:pt x="764" y="130"/>
                  <a:pt x="764" y="130"/>
                  <a:pt x="764" y="130"/>
                </a:cubicBezTo>
                <a:cubicBezTo>
                  <a:pt x="764" y="130"/>
                  <a:pt x="764" y="130"/>
                  <a:pt x="764" y="130"/>
                </a:cubicBezTo>
                <a:cubicBezTo>
                  <a:pt x="764" y="130"/>
                  <a:pt x="764" y="130"/>
                  <a:pt x="764" y="130"/>
                </a:cubicBezTo>
                <a:cubicBezTo>
                  <a:pt x="765" y="132"/>
                  <a:pt x="765" y="134"/>
                  <a:pt x="766" y="135"/>
                </a:cubicBezTo>
                <a:cubicBezTo>
                  <a:pt x="767" y="137"/>
                  <a:pt x="769" y="138"/>
                  <a:pt x="771" y="137"/>
                </a:cubicBezTo>
                <a:cubicBezTo>
                  <a:pt x="772" y="137"/>
                  <a:pt x="773" y="136"/>
                  <a:pt x="775" y="137"/>
                </a:cubicBezTo>
                <a:cubicBezTo>
                  <a:pt x="776" y="137"/>
                  <a:pt x="778" y="137"/>
                  <a:pt x="780" y="137"/>
                </a:cubicBezTo>
                <a:cubicBezTo>
                  <a:pt x="780" y="137"/>
                  <a:pt x="781" y="137"/>
                  <a:pt x="781" y="137"/>
                </a:cubicBezTo>
                <a:cubicBezTo>
                  <a:pt x="782" y="138"/>
                  <a:pt x="782" y="138"/>
                  <a:pt x="782" y="139"/>
                </a:cubicBezTo>
                <a:cubicBezTo>
                  <a:pt x="782" y="139"/>
                  <a:pt x="782" y="140"/>
                  <a:pt x="781" y="140"/>
                </a:cubicBezTo>
                <a:cubicBezTo>
                  <a:pt x="780" y="140"/>
                  <a:pt x="779" y="140"/>
                  <a:pt x="779" y="140"/>
                </a:cubicBezTo>
                <a:cubicBezTo>
                  <a:pt x="775" y="139"/>
                  <a:pt x="772" y="138"/>
                  <a:pt x="769" y="140"/>
                </a:cubicBezTo>
                <a:cubicBezTo>
                  <a:pt x="767" y="141"/>
                  <a:pt x="766" y="141"/>
                  <a:pt x="764" y="141"/>
                </a:cubicBezTo>
                <a:cubicBezTo>
                  <a:pt x="763" y="140"/>
                  <a:pt x="761" y="141"/>
                  <a:pt x="759" y="141"/>
                </a:cubicBezTo>
                <a:cubicBezTo>
                  <a:pt x="757" y="143"/>
                  <a:pt x="756" y="146"/>
                  <a:pt x="758" y="148"/>
                </a:cubicBezTo>
                <a:cubicBezTo>
                  <a:pt x="759" y="150"/>
                  <a:pt x="761" y="152"/>
                  <a:pt x="763" y="153"/>
                </a:cubicBezTo>
                <a:cubicBezTo>
                  <a:pt x="764" y="154"/>
                  <a:pt x="764" y="154"/>
                  <a:pt x="763" y="155"/>
                </a:cubicBezTo>
                <a:cubicBezTo>
                  <a:pt x="762" y="156"/>
                  <a:pt x="761" y="156"/>
                  <a:pt x="760" y="157"/>
                </a:cubicBezTo>
                <a:cubicBezTo>
                  <a:pt x="760" y="157"/>
                  <a:pt x="759" y="159"/>
                  <a:pt x="759" y="159"/>
                </a:cubicBezTo>
                <a:cubicBezTo>
                  <a:pt x="761" y="163"/>
                  <a:pt x="763" y="166"/>
                  <a:pt x="766" y="168"/>
                </a:cubicBezTo>
                <a:cubicBezTo>
                  <a:pt x="769" y="169"/>
                  <a:pt x="770" y="169"/>
                  <a:pt x="771" y="167"/>
                </a:cubicBezTo>
                <a:cubicBezTo>
                  <a:pt x="772" y="165"/>
                  <a:pt x="772" y="165"/>
                  <a:pt x="774" y="166"/>
                </a:cubicBezTo>
                <a:cubicBezTo>
                  <a:pt x="775" y="166"/>
                  <a:pt x="776" y="166"/>
                  <a:pt x="777" y="168"/>
                </a:cubicBezTo>
                <a:cubicBezTo>
                  <a:pt x="777" y="168"/>
                  <a:pt x="778" y="168"/>
                  <a:pt x="778" y="168"/>
                </a:cubicBezTo>
                <a:cubicBezTo>
                  <a:pt x="782" y="167"/>
                  <a:pt x="786" y="169"/>
                  <a:pt x="789" y="167"/>
                </a:cubicBezTo>
                <a:cubicBezTo>
                  <a:pt x="789" y="167"/>
                  <a:pt x="790" y="167"/>
                  <a:pt x="790" y="167"/>
                </a:cubicBezTo>
                <a:cubicBezTo>
                  <a:pt x="793" y="168"/>
                  <a:pt x="797" y="170"/>
                  <a:pt x="800" y="172"/>
                </a:cubicBezTo>
                <a:cubicBezTo>
                  <a:pt x="802" y="174"/>
                  <a:pt x="805" y="176"/>
                  <a:pt x="807" y="178"/>
                </a:cubicBezTo>
                <a:cubicBezTo>
                  <a:pt x="808" y="179"/>
                  <a:pt x="809" y="180"/>
                  <a:pt x="810" y="181"/>
                </a:cubicBezTo>
                <a:cubicBezTo>
                  <a:pt x="810" y="181"/>
                  <a:pt x="810" y="182"/>
                  <a:pt x="810" y="183"/>
                </a:cubicBezTo>
                <a:cubicBezTo>
                  <a:pt x="810" y="184"/>
                  <a:pt x="810" y="186"/>
                  <a:pt x="809" y="187"/>
                </a:cubicBezTo>
                <a:cubicBezTo>
                  <a:pt x="807" y="190"/>
                  <a:pt x="808" y="192"/>
                  <a:pt x="810" y="194"/>
                </a:cubicBezTo>
                <a:cubicBezTo>
                  <a:pt x="810" y="194"/>
                  <a:pt x="811" y="196"/>
                  <a:pt x="811" y="197"/>
                </a:cubicBezTo>
                <a:cubicBezTo>
                  <a:pt x="811" y="198"/>
                  <a:pt x="811" y="200"/>
                  <a:pt x="810" y="201"/>
                </a:cubicBezTo>
                <a:cubicBezTo>
                  <a:pt x="809" y="201"/>
                  <a:pt x="809" y="202"/>
                  <a:pt x="810" y="202"/>
                </a:cubicBezTo>
                <a:cubicBezTo>
                  <a:pt x="811" y="202"/>
                  <a:pt x="811" y="202"/>
                  <a:pt x="812" y="203"/>
                </a:cubicBezTo>
                <a:cubicBezTo>
                  <a:pt x="813" y="203"/>
                  <a:pt x="814" y="204"/>
                  <a:pt x="813" y="205"/>
                </a:cubicBezTo>
                <a:cubicBezTo>
                  <a:pt x="813" y="205"/>
                  <a:pt x="813" y="206"/>
                  <a:pt x="812" y="206"/>
                </a:cubicBezTo>
                <a:cubicBezTo>
                  <a:pt x="811" y="208"/>
                  <a:pt x="811" y="209"/>
                  <a:pt x="812" y="210"/>
                </a:cubicBezTo>
                <a:cubicBezTo>
                  <a:pt x="813" y="210"/>
                  <a:pt x="813" y="211"/>
                  <a:pt x="813" y="212"/>
                </a:cubicBezTo>
                <a:cubicBezTo>
                  <a:pt x="812" y="212"/>
                  <a:pt x="811" y="213"/>
                  <a:pt x="812" y="214"/>
                </a:cubicBezTo>
                <a:cubicBezTo>
                  <a:pt x="812" y="215"/>
                  <a:pt x="813" y="216"/>
                  <a:pt x="813" y="217"/>
                </a:cubicBezTo>
                <a:cubicBezTo>
                  <a:pt x="813" y="219"/>
                  <a:pt x="813" y="220"/>
                  <a:pt x="813" y="222"/>
                </a:cubicBezTo>
                <a:cubicBezTo>
                  <a:pt x="814" y="224"/>
                  <a:pt x="813" y="226"/>
                  <a:pt x="813" y="227"/>
                </a:cubicBezTo>
                <a:cubicBezTo>
                  <a:pt x="812" y="227"/>
                  <a:pt x="812" y="228"/>
                  <a:pt x="813" y="229"/>
                </a:cubicBezTo>
                <a:cubicBezTo>
                  <a:pt x="813" y="229"/>
                  <a:pt x="814" y="229"/>
                  <a:pt x="814" y="230"/>
                </a:cubicBezTo>
                <a:cubicBezTo>
                  <a:pt x="815" y="231"/>
                  <a:pt x="815" y="232"/>
                  <a:pt x="813" y="233"/>
                </a:cubicBezTo>
                <a:cubicBezTo>
                  <a:pt x="812" y="233"/>
                  <a:pt x="811" y="233"/>
                  <a:pt x="810" y="234"/>
                </a:cubicBezTo>
                <a:cubicBezTo>
                  <a:pt x="809" y="234"/>
                  <a:pt x="809" y="235"/>
                  <a:pt x="810" y="235"/>
                </a:cubicBezTo>
                <a:cubicBezTo>
                  <a:pt x="810" y="236"/>
                  <a:pt x="813" y="236"/>
                  <a:pt x="810" y="237"/>
                </a:cubicBezTo>
                <a:cubicBezTo>
                  <a:pt x="808" y="238"/>
                  <a:pt x="808" y="240"/>
                  <a:pt x="808" y="242"/>
                </a:cubicBezTo>
                <a:cubicBezTo>
                  <a:pt x="809" y="243"/>
                  <a:pt x="809" y="243"/>
                  <a:pt x="810" y="243"/>
                </a:cubicBezTo>
                <a:cubicBezTo>
                  <a:pt x="810" y="243"/>
                  <a:pt x="810" y="243"/>
                  <a:pt x="810" y="243"/>
                </a:cubicBezTo>
                <a:cubicBezTo>
                  <a:pt x="810" y="242"/>
                  <a:pt x="810" y="242"/>
                  <a:pt x="810" y="242"/>
                </a:cubicBezTo>
                <a:cubicBezTo>
                  <a:pt x="810" y="243"/>
                  <a:pt x="810" y="243"/>
                  <a:pt x="810" y="243"/>
                </a:cubicBezTo>
                <a:cubicBezTo>
                  <a:pt x="810" y="243"/>
                  <a:pt x="810" y="243"/>
                  <a:pt x="810" y="243"/>
                </a:cubicBezTo>
                <a:cubicBezTo>
                  <a:pt x="809" y="243"/>
                  <a:pt x="809" y="244"/>
                  <a:pt x="808" y="244"/>
                </a:cubicBezTo>
                <a:cubicBezTo>
                  <a:pt x="808" y="244"/>
                  <a:pt x="808" y="244"/>
                  <a:pt x="808" y="244"/>
                </a:cubicBezTo>
                <a:cubicBezTo>
                  <a:pt x="808" y="244"/>
                  <a:pt x="808" y="244"/>
                  <a:pt x="808" y="244"/>
                </a:cubicBezTo>
                <a:cubicBezTo>
                  <a:pt x="808" y="244"/>
                  <a:pt x="808" y="244"/>
                  <a:pt x="808" y="244"/>
                </a:cubicBezTo>
                <a:cubicBezTo>
                  <a:pt x="808" y="247"/>
                  <a:pt x="807" y="249"/>
                  <a:pt x="805" y="250"/>
                </a:cubicBezTo>
                <a:cubicBezTo>
                  <a:pt x="804" y="251"/>
                  <a:pt x="805" y="253"/>
                  <a:pt x="806" y="254"/>
                </a:cubicBezTo>
                <a:cubicBezTo>
                  <a:pt x="809" y="258"/>
                  <a:pt x="811" y="258"/>
                  <a:pt x="814" y="255"/>
                </a:cubicBezTo>
                <a:cubicBezTo>
                  <a:pt x="815" y="254"/>
                  <a:pt x="815" y="253"/>
                  <a:pt x="816" y="253"/>
                </a:cubicBezTo>
                <a:cubicBezTo>
                  <a:pt x="817" y="252"/>
                  <a:pt x="818" y="252"/>
                  <a:pt x="819" y="252"/>
                </a:cubicBezTo>
                <a:cubicBezTo>
                  <a:pt x="819" y="252"/>
                  <a:pt x="820" y="253"/>
                  <a:pt x="820" y="253"/>
                </a:cubicBezTo>
                <a:cubicBezTo>
                  <a:pt x="820" y="253"/>
                  <a:pt x="820" y="253"/>
                  <a:pt x="820" y="253"/>
                </a:cubicBezTo>
                <a:cubicBezTo>
                  <a:pt x="820" y="253"/>
                  <a:pt x="820" y="253"/>
                  <a:pt x="820" y="253"/>
                </a:cubicBezTo>
                <a:cubicBezTo>
                  <a:pt x="820" y="253"/>
                  <a:pt x="820" y="253"/>
                  <a:pt x="820" y="253"/>
                </a:cubicBezTo>
                <a:cubicBezTo>
                  <a:pt x="821" y="253"/>
                  <a:pt x="821" y="253"/>
                  <a:pt x="822" y="254"/>
                </a:cubicBezTo>
                <a:cubicBezTo>
                  <a:pt x="822" y="255"/>
                  <a:pt x="821" y="255"/>
                  <a:pt x="820" y="255"/>
                </a:cubicBezTo>
                <a:cubicBezTo>
                  <a:pt x="819" y="256"/>
                  <a:pt x="818" y="258"/>
                  <a:pt x="818" y="259"/>
                </a:cubicBezTo>
                <a:cubicBezTo>
                  <a:pt x="817" y="260"/>
                  <a:pt x="817" y="261"/>
                  <a:pt x="818" y="261"/>
                </a:cubicBezTo>
                <a:cubicBezTo>
                  <a:pt x="819" y="261"/>
                  <a:pt x="820" y="262"/>
                  <a:pt x="820" y="262"/>
                </a:cubicBezTo>
                <a:cubicBezTo>
                  <a:pt x="821" y="263"/>
                  <a:pt x="822" y="264"/>
                  <a:pt x="821" y="265"/>
                </a:cubicBezTo>
                <a:cubicBezTo>
                  <a:pt x="821" y="266"/>
                  <a:pt x="820" y="266"/>
                  <a:pt x="820" y="267"/>
                </a:cubicBezTo>
                <a:cubicBezTo>
                  <a:pt x="820" y="267"/>
                  <a:pt x="820" y="267"/>
                  <a:pt x="820" y="267"/>
                </a:cubicBezTo>
                <a:cubicBezTo>
                  <a:pt x="820" y="267"/>
                  <a:pt x="820" y="267"/>
                  <a:pt x="820" y="267"/>
                </a:cubicBezTo>
                <a:cubicBezTo>
                  <a:pt x="822" y="267"/>
                  <a:pt x="824" y="269"/>
                  <a:pt x="824" y="271"/>
                </a:cubicBezTo>
                <a:cubicBezTo>
                  <a:pt x="824" y="271"/>
                  <a:pt x="824" y="271"/>
                  <a:pt x="824" y="271"/>
                </a:cubicBezTo>
                <a:cubicBezTo>
                  <a:pt x="823" y="271"/>
                  <a:pt x="823" y="271"/>
                  <a:pt x="823" y="271"/>
                </a:cubicBezTo>
                <a:cubicBezTo>
                  <a:pt x="822" y="270"/>
                  <a:pt x="821" y="269"/>
                  <a:pt x="820" y="267"/>
                </a:cubicBezTo>
                <a:cubicBezTo>
                  <a:pt x="820" y="267"/>
                  <a:pt x="820" y="267"/>
                  <a:pt x="820" y="267"/>
                </a:cubicBezTo>
                <a:cubicBezTo>
                  <a:pt x="820" y="267"/>
                  <a:pt x="820" y="267"/>
                  <a:pt x="820" y="267"/>
                </a:cubicBezTo>
                <a:cubicBezTo>
                  <a:pt x="818" y="267"/>
                  <a:pt x="816" y="266"/>
                  <a:pt x="814" y="265"/>
                </a:cubicBezTo>
                <a:cubicBezTo>
                  <a:pt x="812" y="265"/>
                  <a:pt x="811" y="265"/>
                  <a:pt x="809" y="264"/>
                </a:cubicBezTo>
                <a:cubicBezTo>
                  <a:pt x="808" y="264"/>
                  <a:pt x="806" y="266"/>
                  <a:pt x="806" y="268"/>
                </a:cubicBezTo>
                <a:cubicBezTo>
                  <a:pt x="806" y="268"/>
                  <a:pt x="806" y="268"/>
                  <a:pt x="806" y="268"/>
                </a:cubicBezTo>
                <a:cubicBezTo>
                  <a:pt x="807" y="269"/>
                  <a:pt x="807" y="270"/>
                  <a:pt x="807" y="271"/>
                </a:cubicBezTo>
                <a:cubicBezTo>
                  <a:pt x="806" y="272"/>
                  <a:pt x="805" y="272"/>
                  <a:pt x="805" y="272"/>
                </a:cubicBezTo>
                <a:cubicBezTo>
                  <a:pt x="803" y="273"/>
                  <a:pt x="803" y="274"/>
                  <a:pt x="802" y="275"/>
                </a:cubicBezTo>
                <a:cubicBezTo>
                  <a:pt x="802" y="276"/>
                  <a:pt x="801" y="278"/>
                  <a:pt x="802" y="280"/>
                </a:cubicBezTo>
                <a:cubicBezTo>
                  <a:pt x="802" y="283"/>
                  <a:pt x="803" y="286"/>
                  <a:pt x="806" y="288"/>
                </a:cubicBezTo>
                <a:cubicBezTo>
                  <a:pt x="806" y="288"/>
                  <a:pt x="806" y="288"/>
                  <a:pt x="807" y="288"/>
                </a:cubicBezTo>
                <a:cubicBezTo>
                  <a:pt x="810" y="289"/>
                  <a:pt x="813" y="288"/>
                  <a:pt x="816" y="287"/>
                </a:cubicBezTo>
                <a:cubicBezTo>
                  <a:pt x="817" y="286"/>
                  <a:pt x="818" y="284"/>
                  <a:pt x="817" y="282"/>
                </a:cubicBezTo>
                <a:cubicBezTo>
                  <a:pt x="817" y="282"/>
                  <a:pt x="816" y="281"/>
                  <a:pt x="815" y="280"/>
                </a:cubicBezTo>
                <a:cubicBezTo>
                  <a:pt x="814" y="279"/>
                  <a:pt x="814" y="278"/>
                  <a:pt x="813" y="276"/>
                </a:cubicBezTo>
                <a:cubicBezTo>
                  <a:pt x="813" y="276"/>
                  <a:pt x="813" y="276"/>
                  <a:pt x="813" y="276"/>
                </a:cubicBezTo>
                <a:cubicBezTo>
                  <a:pt x="813" y="275"/>
                  <a:pt x="813" y="275"/>
                  <a:pt x="813" y="275"/>
                </a:cubicBezTo>
                <a:cubicBezTo>
                  <a:pt x="813" y="276"/>
                  <a:pt x="813" y="276"/>
                  <a:pt x="813" y="276"/>
                </a:cubicBezTo>
                <a:cubicBezTo>
                  <a:pt x="813" y="276"/>
                  <a:pt x="813" y="276"/>
                  <a:pt x="813" y="276"/>
                </a:cubicBezTo>
                <a:cubicBezTo>
                  <a:pt x="817" y="278"/>
                  <a:pt x="821" y="280"/>
                  <a:pt x="825" y="280"/>
                </a:cubicBezTo>
                <a:cubicBezTo>
                  <a:pt x="826" y="280"/>
                  <a:pt x="827" y="282"/>
                  <a:pt x="826" y="282"/>
                </a:cubicBezTo>
                <a:cubicBezTo>
                  <a:pt x="825" y="283"/>
                  <a:pt x="825" y="284"/>
                  <a:pt x="824" y="285"/>
                </a:cubicBezTo>
                <a:cubicBezTo>
                  <a:pt x="824" y="285"/>
                  <a:pt x="824" y="284"/>
                  <a:pt x="824" y="284"/>
                </a:cubicBezTo>
                <a:cubicBezTo>
                  <a:pt x="824" y="285"/>
                  <a:pt x="824" y="285"/>
                  <a:pt x="824" y="285"/>
                </a:cubicBezTo>
                <a:cubicBezTo>
                  <a:pt x="824" y="285"/>
                  <a:pt x="824" y="285"/>
                  <a:pt x="824" y="285"/>
                </a:cubicBezTo>
                <a:cubicBezTo>
                  <a:pt x="823" y="286"/>
                  <a:pt x="823" y="287"/>
                  <a:pt x="822" y="288"/>
                </a:cubicBezTo>
                <a:cubicBezTo>
                  <a:pt x="822" y="289"/>
                  <a:pt x="822" y="289"/>
                  <a:pt x="822" y="290"/>
                </a:cubicBezTo>
                <a:cubicBezTo>
                  <a:pt x="823" y="292"/>
                  <a:pt x="823" y="292"/>
                  <a:pt x="821" y="292"/>
                </a:cubicBezTo>
                <a:cubicBezTo>
                  <a:pt x="820" y="292"/>
                  <a:pt x="819" y="292"/>
                  <a:pt x="819" y="293"/>
                </a:cubicBezTo>
                <a:cubicBezTo>
                  <a:pt x="818" y="297"/>
                  <a:pt x="816" y="299"/>
                  <a:pt x="812" y="298"/>
                </a:cubicBezTo>
                <a:cubicBezTo>
                  <a:pt x="811" y="298"/>
                  <a:pt x="810" y="298"/>
                  <a:pt x="808" y="299"/>
                </a:cubicBezTo>
                <a:cubicBezTo>
                  <a:pt x="808" y="300"/>
                  <a:pt x="809" y="302"/>
                  <a:pt x="809" y="304"/>
                </a:cubicBezTo>
                <a:cubicBezTo>
                  <a:pt x="810" y="304"/>
                  <a:pt x="810" y="304"/>
                  <a:pt x="810" y="304"/>
                </a:cubicBezTo>
                <a:cubicBezTo>
                  <a:pt x="810" y="304"/>
                  <a:pt x="810" y="304"/>
                  <a:pt x="810" y="304"/>
                </a:cubicBezTo>
                <a:cubicBezTo>
                  <a:pt x="810" y="304"/>
                  <a:pt x="810" y="304"/>
                  <a:pt x="810" y="304"/>
                </a:cubicBezTo>
                <a:cubicBezTo>
                  <a:pt x="809" y="304"/>
                  <a:pt x="809" y="304"/>
                  <a:pt x="809" y="304"/>
                </a:cubicBezTo>
                <a:cubicBezTo>
                  <a:pt x="809" y="304"/>
                  <a:pt x="808" y="303"/>
                  <a:pt x="807" y="303"/>
                </a:cubicBezTo>
                <a:cubicBezTo>
                  <a:pt x="805" y="303"/>
                  <a:pt x="805" y="303"/>
                  <a:pt x="805" y="305"/>
                </a:cubicBezTo>
                <a:cubicBezTo>
                  <a:pt x="804" y="305"/>
                  <a:pt x="804" y="306"/>
                  <a:pt x="804" y="307"/>
                </a:cubicBezTo>
                <a:cubicBezTo>
                  <a:pt x="802" y="308"/>
                  <a:pt x="801" y="309"/>
                  <a:pt x="800" y="311"/>
                </a:cubicBezTo>
                <a:cubicBezTo>
                  <a:pt x="800" y="312"/>
                  <a:pt x="799" y="314"/>
                  <a:pt x="799" y="315"/>
                </a:cubicBezTo>
                <a:cubicBezTo>
                  <a:pt x="798" y="316"/>
                  <a:pt x="798" y="318"/>
                  <a:pt x="798" y="319"/>
                </a:cubicBezTo>
                <a:cubicBezTo>
                  <a:pt x="798" y="320"/>
                  <a:pt x="798" y="321"/>
                  <a:pt x="799" y="322"/>
                </a:cubicBezTo>
                <a:cubicBezTo>
                  <a:pt x="799" y="322"/>
                  <a:pt x="800" y="323"/>
                  <a:pt x="801" y="323"/>
                </a:cubicBezTo>
                <a:cubicBezTo>
                  <a:pt x="801" y="323"/>
                  <a:pt x="801" y="323"/>
                  <a:pt x="801" y="323"/>
                </a:cubicBezTo>
                <a:cubicBezTo>
                  <a:pt x="801" y="323"/>
                  <a:pt x="801" y="323"/>
                  <a:pt x="801" y="323"/>
                </a:cubicBezTo>
                <a:cubicBezTo>
                  <a:pt x="802" y="323"/>
                  <a:pt x="802" y="322"/>
                  <a:pt x="802" y="322"/>
                </a:cubicBezTo>
                <a:cubicBezTo>
                  <a:pt x="802" y="322"/>
                  <a:pt x="802" y="322"/>
                  <a:pt x="803" y="322"/>
                </a:cubicBezTo>
                <a:cubicBezTo>
                  <a:pt x="802" y="323"/>
                  <a:pt x="802" y="323"/>
                  <a:pt x="801" y="323"/>
                </a:cubicBezTo>
                <a:cubicBezTo>
                  <a:pt x="801" y="323"/>
                  <a:pt x="801" y="323"/>
                  <a:pt x="801" y="323"/>
                </a:cubicBezTo>
                <a:cubicBezTo>
                  <a:pt x="801" y="323"/>
                  <a:pt x="801" y="323"/>
                  <a:pt x="801" y="323"/>
                </a:cubicBezTo>
                <a:cubicBezTo>
                  <a:pt x="799" y="324"/>
                  <a:pt x="798" y="325"/>
                  <a:pt x="797" y="327"/>
                </a:cubicBezTo>
                <a:cubicBezTo>
                  <a:pt x="796" y="328"/>
                  <a:pt x="795" y="330"/>
                  <a:pt x="797" y="332"/>
                </a:cubicBezTo>
                <a:cubicBezTo>
                  <a:pt x="798" y="333"/>
                  <a:pt x="798" y="335"/>
                  <a:pt x="798" y="336"/>
                </a:cubicBezTo>
                <a:cubicBezTo>
                  <a:pt x="798" y="337"/>
                  <a:pt x="798" y="339"/>
                  <a:pt x="799" y="340"/>
                </a:cubicBezTo>
                <a:cubicBezTo>
                  <a:pt x="800" y="343"/>
                  <a:pt x="801" y="347"/>
                  <a:pt x="800" y="352"/>
                </a:cubicBezTo>
                <a:cubicBezTo>
                  <a:pt x="800" y="352"/>
                  <a:pt x="800" y="353"/>
                  <a:pt x="800" y="353"/>
                </a:cubicBezTo>
                <a:cubicBezTo>
                  <a:pt x="800" y="354"/>
                  <a:pt x="801" y="355"/>
                  <a:pt x="802" y="355"/>
                </a:cubicBezTo>
                <a:cubicBezTo>
                  <a:pt x="804" y="354"/>
                  <a:pt x="806" y="354"/>
                  <a:pt x="808" y="353"/>
                </a:cubicBezTo>
                <a:cubicBezTo>
                  <a:pt x="808" y="353"/>
                  <a:pt x="808" y="353"/>
                  <a:pt x="808" y="353"/>
                </a:cubicBezTo>
                <a:cubicBezTo>
                  <a:pt x="808" y="353"/>
                  <a:pt x="808" y="353"/>
                  <a:pt x="808" y="353"/>
                </a:cubicBezTo>
                <a:cubicBezTo>
                  <a:pt x="809" y="352"/>
                  <a:pt x="809" y="352"/>
                  <a:pt x="809" y="352"/>
                </a:cubicBezTo>
                <a:cubicBezTo>
                  <a:pt x="809" y="353"/>
                  <a:pt x="809" y="353"/>
                  <a:pt x="808" y="353"/>
                </a:cubicBezTo>
                <a:cubicBezTo>
                  <a:pt x="808" y="353"/>
                  <a:pt x="808" y="353"/>
                  <a:pt x="808" y="353"/>
                </a:cubicBezTo>
                <a:cubicBezTo>
                  <a:pt x="808" y="353"/>
                  <a:pt x="808" y="353"/>
                  <a:pt x="808" y="353"/>
                </a:cubicBezTo>
                <a:cubicBezTo>
                  <a:pt x="807" y="355"/>
                  <a:pt x="805" y="356"/>
                  <a:pt x="804" y="357"/>
                </a:cubicBezTo>
                <a:cubicBezTo>
                  <a:pt x="802" y="358"/>
                  <a:pt x="801" y="360"/>
                  <a:pt x="802" y="362"/>
                </a:cubicBezTo>
                <a:cubicBezTo>
                  <a:pt x="802" y="365"/>
                  <a:pt x="803" y="368"/>
                  <a:pt x="805" y="371"/>
                </a:cubicBezTo>
                <a:cubicBezTo>
                  <a:pt x="805" y="370"/>
                  <a:pt x="805" y="370"/>
                  <a:pt x="805" y="370"/>
                </a:cubicBezTo>
                <a:cubicBezTo>
                  <a:pt x="805" y="371"/>
                  <a:pt x="805" y="371"/>
                  <a:pt x="805" y="371"/>
                </a:cubicBezTo>
                <a:cubicBezTo>
                  <a:pt x="805" y="371"/>
                  <a:pt x="805" y="371"/>
                  <a:pt x="805" y="371"/>
                </a:cubicBezTo>
                <a:cubicBezTo>
                  <a:pt x="804" y="371"/>
                  <a:pt x="804" y="371"/>
                  <a:pt x="804" y="371"/>
                </a:cubicBezTo>
                <a:cubicBezTo>
                  <a:pt x="805" y="371"/>
                  <a:pt x="805" y="372"/>
                  <a:pt x="806" y="373"/>
                </a:cubicBezTo>
                <a:cubicBezTo>
                  <a:pt x="807" y="374"/>
                  <a:pt x="808" y="375"/>
                  <a:pt x="807" y="376"/>
                </a:cubicBezTo>
                <a:cubicBezTo>
                  <a:pt x="807" y="377"/>
                  <a:pt x="806" y="378"/>
                  <a:pt x="807" y="379"/>
                </a:cubicBezTo>
                <a:cubicBezTo>
                  <a:pt x="809" y="381"/>
                  <a:pt x="809" y="383"/>
                  <a:pt x="810" y="385"/>
                </a:cubicBezTo>
                <a:cubicBezTo>
                  <a:pt x="810" y="387"/>
                  <a:pt x="810" y="388"/>
                  <a:pt x="810" y="389"/>
                </a:cubicBezTo>
                <a:cubicBezTo>
                  <a:pt x="809" y="390"/>
                  <a:pt x="809" y="391"/>
                  <a:pt x="809" y="391"/>
                </a:cubicBezTo>
                <a:cubicBezTo>
                  <a:pt x="811" y="392"/>
                  <a:pt x="812" y="394"/>
                  <a:pt x="813" y="395"/>
                </a:cubicBezTo>
                <a:cubicBezTo>
                  <a:pt x="816" y="395"/>
                  <a:pt x="817" y="397"/>
                  <a:pt x="817" y="399"/>
                </a:cubicBezTo>
                <a:cubicBezTo>
                  <a:pt x="817" y="400"/>
                  <a:pt x="818" y="400"/>
                  <a:pt x="818" y="400"/>
                </a:cubicBezTo>
                <a:cubicBezTo>
                  <a:pt x="820" y="400"/>
                  <a:pt x="821" y="399"/>
                  <a:pt x="823" y="399"/>
                </a:cubicBezTo>
                <a:cubicBezTo>
                  <a:pt x="824" y="399"/>
                  <a:pt x="825" y="398"/>
                  <a:pt x="826" y="398"/>
                </a:cubicBezTo>
                <a:cubicBezTo>
                  <a:pt x="827" y="398"/>
                  <a:pt x="829" y="398"/>
                  <a:pt x="829" y="400"/>
                </a:cubicBezTo>
                <a:cubicBezTo>
                  <a:pt x="829" y="402"/>
                  <a:pt x="830" y="404"/>
                  <a:pt x="832" y="406"/>
                </a:cubicBezTo>
                <a:cubicBezTo>
                  <a:pt x="832" y="406"/>
                  <a:pt x="832" y="408"/>
                  <a:pt x="833" y="408"/>
                </a:cubicBezTo>
                <a:cubicBezTo>
                  <a:pt x="834" y="409"/>
                  <a:pt x="834" y="410"/>
                  <a:pt x="835" y="409"/>
                </a:cubicBezTo>
                <a:cubicBezTo>
                  <a:pt x="837" y="409"/>
                  <a:pt x="839" y="410"/>
                  <a:pt x="841" y="411"/>
                </a:cubicBezTo>
                <a:cubicBezTo>
                  <a:pt x="842" y="411"/>
                  <a:pt x="844" y="410"/>
                  <a:pt x="845" y="409"/>
                </a:cubicBezTo>
                <a:cubicBezTo>
                  <a:pt x="846" y="405"/>
                  <a:pt x="846" y="401"/>
                  <a:pt x="848" y="398"/>
                </a:cubicBezTo>
                <a:cubicBezTo>
                  <a:pt x="849" y="396"/>
                  <a:pt x="850" y="393"/>
                  <a:pt x="852" y="391"/>
                </a:cubicBezTo>
                <a:cubicBezTo>
                  <a:pt x="853" y="390"/>
                  <a:pt x="854" y="388"/>
                  <a:pt x="854" y="386"/>
                </a:cubicBezTo>
                <a:cubicBezTo>
                  <a:pt x="854" y="384"/>
                  <a:pt x="855" y="383"/>
                  <a:pt x="855" y="381"/>
                </a:cubicBezTo>
                <a:cubicBezTo>
                  <a:pt x="855" y="381"/>
                  <a:pt x="855" y="381"/>
                  <a:pt x="855" y="381"/>
                </a:cubicBezTo>
                <a:cubicBezTo>
                  <a:pt x="855" y="381"/>
                  <a:pt x="855" y="381"/>
                  <a:pt x="855" y="381"/>
                </a:cubicBezTo>
                <a:cubicBezTo>
                  <a:pt x="855" y="381"/>
                  <a:pt x="854" y="381"/>
                  <a:pt x="854" y="380"/>
                </a:cubicBezTo>
                <a:cubicBezTo>
                  <a:pt x="854" y="380"/>
                  <a:pt x="854" y="380"/>
                  <a:pt x="854" y="380"/>
                </a:cubicBezTo>
                <a:cubicBezTo>
                  <a:pt x="854" y="379"/>
                  <a:pt x="854" y="379"/>
                  <a:pt x="855" y="380"/>
                </a:cubicBezTo>
                <a:cubicBezTo>
                  <a:pt x="855" y="380"/>
                  <a:pt x="855" y="380"/>
                  <a:pt x="855" y="381"/>
                </a:cubicBezTo>
                <a:cubicBezTo>
                  <a:pt x="855" y="381"/>
                  <a:pt x="855" y="381"/>
                  <a:pt x="855" y="381"/>
                </a:cubicBezTo>
                <a:cubicBezTo>
                  <a:pt x="855" y="381"/>
                  <a:pt x="855" y="381"/>
                  <a:pt x="855" y="381"/>
                </a:cubicBezTo>
                <a:cubicBezTo>
                  <a:pt x="857" y="380"/>
                  <a:pt x="858" y="379"/>
                  <a:pt x="859" y="378"/>
                </a:cubicBezTo>
                <a:cubicBezTo>
                  <a:pt x="860" y="375"/>
                  <a:pt x="862" y="372"/>
                  <a:pt x="865" y="370"/>
                </a:cubicBezTo>
                <a:cubicBezTo>
                  <a:pt x="867" y="368"/>
                  <a:pt x="868" y="365"/>
                  <a:pt x="867" y="361"/>
                </a:cubicBezTo>
                <a:cubicBezTo>
                  <a:pt x="866" y="360"/>
                  <a:pt x="867" y="359"/>
                  <a:pt x="868" y="359"/>
                </a:cubicBezTo>
                <a:cubicBezTo>
                  <a:pt x="869" y="358"/>
                  <a:pt x="869" y="358"/>
                  <a:pt x="870" y="358"/>
                </a:cubicBezTo>
                <a:cubicBezTo>
                  <a:pt x="870" y="357"/>
                  <a:pt x="870" y="356"/>
                  <a:pt x="870" y="355"/>
                </a:cubicBezTo>
                <a:cubicBezTo>
                  <a:pt x="870" y="355"/>
                  <a:pt x="870" y="354"/>
                  <a:pt x="870" y="354"/>
                </a:cubicBezTo>
                <a:cubicBezTo>
                  <a:pt x="869" y="352"/>
                  <a:pt x="869" y="352"/>
                  <a:pt x="871" y="351"/>
                </a:cubicBezTo>
                <a:cubicBezTo>
                  <a:pt x="873" y="351"/>
                  <a:pt x="874" y="351"/>
                  <a:pt x="874" y="349"/>
                </a:cubicBezTo>
                <a:cubicBezTo>
                  <a:pt x="875" y="347"/>
                  <a:pt x="877" y="346"/>
                  <a:pt x="879" y="346"/>
                </a:cubicBezTo>
                <a:cubicBezTo>
                  <a:pt x="882" y="347"/>
                  <a:pt x="885" y="345"/>
                  <a:pt x="889" y="346"/>
                </a:cubicBezTo>
                <a:cubicBezTo>
                  <a:pt x="890" y="346"/>
                  <a:pt x="890" y="345"/>
                  <a:pt x="891" y="345"/>
                </a:cubicBezTo>
                <a:cubicBezTo>
                  <a:pt x="891" y="344"/>
                  <a:pt x="892" y="343"/>
                  <a:pt x="893" y="343"/>
                </a:cubicBezTo>
                <a:cubicBezTo>
                  <a:pt x="897" y="343"/>
                  <a:pt x="901" y="341"/>
                  <a:pt x="905" y="338"/>
                </a:cubicBezTo>
                <a:cubicBezTo>
                  <a:pt x="905" y="338"/>
                  <a:pt x="906" y="338"/>
                  <a:pt x="906" y="338"/>
                </a:cubicBezTo>
                <a:cubicBezTo>
                  <a:pt x="909" y="337"/>
                  <a:pt x="911" y="335"/>
                  <a:pt x="912" y="333"/>
                </a:cubicBezTo>
                <a:cubicBezTo>
                  <a:pt x="914" y="329"/>
                  <a:pt x="917" y="327"/>
                  <a:pt x="919" y="324"/>
                </a:cubicBezTo>
                <a:cubicBezTo>
                  <a:pt x="921" y="320"/>
                  <a:pt x="925" y="320"/>
                  <a:pt x="928" y="316"/>
                </a:cubicBezTo>
                <a:cubicBezTo>
                  <a:pt x="930" y="315"/>
                  <a:pt x="932" y="316"/>
                  <a:pt x="934" y="316"/>
                </a:cubicBezTo>
                <a:cubicBezTo>
                  <a:pt x="935" y="316"/>
                  <a:pt x="936" y="315"/>
                  <a:pt x="937" y="315"/>
                </a:cubicBezTo>
                <a:cubicBezTo>
                  <a:pt x="938" y="315"/>
                  <a:pt x="939" y="314"/>
                  <a:pt x="939" y="314"/>
                </a:cubicBezTo>
                <a:cubicBezTo>
                  <a:pt x="941" y="315"/>
                  <a:pt x="943" y="315"/>
                  <a:pt x="944" y="314"/>
                </a:cubicBezTo>
                <a:cubicBezTo>
                  <a:pt x="947" y="312"/>
                  <a:pt x="950" y="312"/>
                  <a:pt x="954" y="311"/>
                </a:cubicBezTo>
                <a:cubicBezTo>
                  <a:pt x="959" y="310"/>
                  <a:pt x="964" y="308"/>
                  <a:pt x="968" y="305"/>
                </a:cubicBezTo>
                <a:cubicBezTo>
                  <a:pt x="973" y="301"/>
                  <a:pt x="979" y="297"/>
                  <a:pt x="985" y="293"/>
                </a:cubicBezTo>
                <a:close/>
                <a:moveTo>
                  <a:pt x="1024" y="116"/>
                </a:moveTo>
                <a:cubicBezTo>
                  <a:pt x="1024" y="116"/>
                  <a:pt x="1025" y="116"/>
                  <a:pt x="1025" y="116"/>
                </a:cubicBezTo>
                <a:cubicBezTo>
                  <a:pt x="1025" y="116"/>
                  <a:pt x="1026" y="116"/>
                  <a:pt x="1026" y="117"/>
                </a:cubicBezTo>
                <a:cubicBezTo>
                  <a:pt x="1026" y="117"/>
                  <a:pt x="1026" y="118"/>
                  <a:pt x="1025" y="118"/>
                </a:cubicBezTo>
                <a:cubicBezTo>
                  <a:pt x="1025" y="118"/>
                  <a:pt x="1024" y="117"/>
                  <a:pt x="1024" y="117"/>
                </a:cubicBezTo>
                <a:cubicBezTo>
                  <a:pt x="1024" y="117"/>
                  <a:pt x="1024" y="117"/>
                  <a:pt x="1024" y="116"/>
                </a:cubicBezTo>
                <a:close/>
                <a:moveTo>
                  <a:pt x="1018" y="119"/>
                </a:moveTo>
                <a:cubicBezTo>
                  <a:pt x="1018" y="119"/>
                  <a:pt x="1019" y="118"/>
                  <a:pt x="1019" y="118"/>
                </a:cubicBezTo>
                <a:cubicBezTo>
                  <a:pt x="1019" y="118"/>
                  <a:pt x="1020" y="118"/>
                  <a:pt x="1020" y="118"/>
                </a:cubicBezTo>
                <a:cubicBezTo>
                  <a:pt x="1021" y="119"/>
                  <a:pt x="1021" y="119"/>
                  <a:pt x="1020" y="120"/>
                </a:cubicBezTo>
                <a:cubicBezTo>
                  <a:pt x="1020" y="120"/>
                  <a:pt x="1019" y="121"/>
                  <a:pt x="1019" y="121"/>
                </a:cubicBezTo>
                <a:cubicBezTo>
                  <a:pt x="1018" y="121"/>
                  <a:pt x="1018" y="120"/>
                  <a:pt x="1018" y="119"/>
                </a:cubicBezTo>
                <a:close/>
                <a:moveTo>
                  <a:pt x="887" y="342"/>
                </a:moveTo>
                <a:cubicBezTo>
                  <a:pt x="887" y="342"/>
                  <a:pt x="887" y="342"/>
                  <a:pt x="886" y="342"/>
                </a:cubicBezTo>
                <a:cubicBezTo>
                  <a:pt x="887" y="341"/>
                  <a:pt x="887" y="341"/>
                  <a:pt x="887" y="341"/>
                </a:cubicBezTo>
                <a:cubicBezTo>
                  <a:pt x="887" y="341"/>
                  <a:pt x="887" y="341"/>
                  <a:pt x="888" y="342"/>
                </a:cubicBezTo>
                <a:cubicBezTo>
                  <a:pt x="887" y="342"/>
                  <a:pt x="887" y="342"/>
                  <a:pt x="887" y="342"/>
                </a:cubicBezTo>
                <a:close/>
                <a:moveTo>
                  <a:pt x="932" y="43"/>
                </a:moveTo>
                <a:cubicBezTo>
                  <a:pt x="932" y="43"/>
                  <a:pt x="932" y="42"/>
                  <a:pt x="932" y="43"/>
                </a:cubicBezTo>
                <a:cubicBezTo>
                  <a:pt x="932" y="43"/>
                  <a:pt x="933" y="43"/>
                  <a:pt x="933" y="43"/>
                </a:cubicBezTo>
                <a:cubicBezTo>
                  <a:pt x="933" y="43"/>
                  <a:pt x="932" y="43"/>
                  <a:pt x="932" y="43"/>
                </a:cubicBezTo>
                <a:close/>
                <a:moveTo>
                  <a:pt x="935" y="46"/>
                </a:moveTo>
                <a:cubicBezTo>
                  <a:pt x="934" y="46"/>
                  <a:pt x="934" y="45"/>
                  <a:pt x="934" y="45"/>
                </a:cubicBezTo>
                <a:cubicBezTo>
                  <a:pt x="934" y="45"/>
                  <a:pt x="934" y="45"/>
                  <a:pt x="934" y="45"/>
                </a:cubicBezTo>
                <a:cubicBezTo>
                  <a:pt x="934" y="44"/>
                  <a:pt x="934" y="44"/>
                  <a:pt x="934" y="44"/>
                </a:cubicBezTo>
                <a:cubicBezTo>
                  <a:pt x="934" y="44"/>
                  <a:pt x="934" y="44"/>
                  <a:pt x="934" y="45"/>
                </a:cubicBezTo>
                <a:cubicBezTo>
                  <a:pt x="934" y="45"/>
                  <a:pt x="934" y="45"/>
                  <a:pt x="934" y="45"/>
                </a:cubicBezTo>
                <a:cubicBezTo>
                  <a:pt x="935" y="45"/>
                  <a:pt x="935" y="45"/>
                  <a:pt x="935" y="46"/>
                </a:cubicBezTo>
                <a:cubicBezTo>
                  <a:pt x="935" y="46"/>
                  <a:pt x="935" y="46"/>
                  <a:pt x="935" y="46"/>
                </a:cubicBezTo>
                <a:close/>
                <a:moveTo>
                  <a:pt x="958" y="280"/>
                </a:moveTo>
                <a:cubicBezTo>
                  <a:pt x="958" y="279"/>
                  <a:pt x="958" y="279"/>
                  <a:pt x="958" y="279"/>
                </a:cubicBezTo>
                <a:cubicBezTo>
                  <a:pt x="958" y="279"/>
                  <a:pt x="958" y="279"/>
                  <a:pt x="958" y="279"/>
                </a:cubicBezTo>
                <a:lnTo>
                  <a:pt x="958" y="280"/>
                </a:lnTo>
                <a:close/>
                <a:moveTo>
                  <a:pt x="960" y="265"/>
                </a:moveTo>
                <a:cubicBezTo>
                  <a:pt x="960" y="265"/>
                  <a:pt x="960" y="265"/>
                  <a:pt x="960" y="265"/>
                </a:cubicBezTo>
                <a:cubicBezTo>
                  <a:pt x="961" y="265"/>
                  <a:pt x="961" y="265"/>
                  <a:pt x="961" y="265"/>
                </a:cubicBezTo>
                <a:cubicBezTo>
                  <a:pt x="961" y="266"/>
                  <a:pt x="961" y="266"/>
                  <a:pt x="961" y="266"/>
                </a:cubicBezTo>
                <a:lnTo>
                  <a:pt x="960" y="265"/>
                </a:lnTo>
                <a:close/>
                <a:moveTo>
                  <a:pt x="808" y="242"/>
                </a:moveTo>
                <a:cubicBezTo>
                  <a:pt x="808" y="242"/>
                  <a:pt x="808" y="242"/>
                  <a:pt x="808" y="242"/>
                </a:cubicBezTo>
                <a:cubicBezTo>
                  <a:pt x="808" y="243"/>
                  <a:pt x="808" y="243"/>
                  <a:pt x="808" y="243"/>
                </a:cubicBezTo>
                <a:cubicBezTo>
                  <a:pt x="808" y="243"/>
                  <a:pt x="808" y="243"/>
                  <a:pt x="808" y="243"/>
                </a:cubicBezTo>
                <a:cubicBezTo>
                  <a:pt x="808" y="243"/>
                  <a:pt x="808" y="242"/>
                  <a:pt x="808" y="242"/>
                </a:cubicBezTo>
                <a:close/>
                <a:moveTo>
                  <a:pt x="1004" y="192"/>
                </a:moveTo>
                <a:cubicBezTo>
                  <a:pt x="1004" y="192"/>
                  <a:pt x="1004" y="192"/>
                  <a:pt x="1004" y="192"/>
                </a:cubicBezTo>
                <a:cubicBezTo>
                  <a:pt x="1004" y="192"/>
                  <a:pt x="1004" y="192"/>
                  <a:pt x="1004" y="191"/>
                </a:cubicBezTo>
                <a:cubicBezTo>
                  <a:pt x="1004" y="192"/>
                  <a:pt x="1004" y="192"/>
                  <a:pt x="1004" y="192"/>
                </a:cubicBezTo>
                <a:cubicBezTo>
                  <a:pt x="1004" y="192"/>
                  <a:pt x="1004" y="192"/>
                  <a:pt x="1004" y="192"/>
                </a:cubicBezTo>
                <a:close/>
                <a:moveTo>
                  <a:pt x="1923" y="1126"/>
                </a:moveTo>
                <a:cubicBezTo>
                  <a:pt x="1923" y="1126"/>
                  <a:pt x="1923" y="1126"/>
                  <a:pt x="1923" y="1126"/>
                </a:cubicBezTo>
                <a:cubicBezTo>
                  <a:pt x="1922" y="1126"/>
                  <a:pt x="1922" y="1126"/>
                  <a:pt x="1922" y="1126"/>
                </a:cubicBezTo>
                <a:cubicBezTo>
                  <a:pt x="1922" y="1126"/>
                  <a:pt x="1922" y="1126"/>
                  <a:pt x="1922" y="1126"/>
                </a:cubicBezTo>
                <a:cubicBezTo>
                  <a:pt x="1922" y="1126"/>
                  <a:pt x="1922" y="1126"/>
                  <a:pt x="1923" y="1126"/>
                </a:cubicBezTo>
                <a:close/>
                <a:moveTo>
                  <a:pt x="2208" y="1121"/>
                </a:moveTo>
                <a:cubicBezTo>
                  <a:pt x="2205" y="1123"/>
                  <a:pt x="2205" y="1123"/>
                  <a:pt x="2204" y="1121"/>
                </a:cubicBezTo>
                <a:cubicBezTo>
                  <a:pt x="2203" y="1120"/>
                  <a:pt x="2203" y="1120"/>
                  <a:pt x="2203" y="1119"/>
                </a:cubicBezTo>
                <a:cubicBezTo>
                  <a:pt x="2201" y="1117"/>
                  <a:pt x="2201" y="1114"/>
                  <a:pt x="2198" y="1112"/>
                </a:cubicBezTo>
                <a:cubicBezTo>
                  <a:pt x="2197" y="1109"/>
                  <a:pt x="2193" y="1106"/>
                  <a:pt x="2194" y="1102"/>
                </a:cubicBezTo>
                <a:cubicBezTo>
                  <a:pt x="2195" y="1100"/>
                  <a:pt x="2193" y="1099"/>
                  <a:pt x="2192" y="1098"/>
                </a:cubicBezTo>
                <a:cubicBezTo>
                  <a:pt x="2190" y="1098"/>
                  <a:pt x="2188" y="1097"/>
                  <a:pt x="2187" y="1096"/>
                </a:cubicBezTo>
                <a:cubicBezTo>
                  <a:pt x="2186" y="1096"/>
                  <a:pt x="2186" y="1095"/>
                  <a:pt x="2186" y="1095"/>
                </a:cubicBezTo>
                <a:cubicBezTo>
                  <a:pt x="2186" y="1092"/>
                  <a:pt x="2185" y="1090"/>
                  <a:pt x="2184" y="1087"/>
                </a:cubicBezTo>
                <a:cubicBezTo>
                  <a:pt x="2183" y="1085"/>
                  <a:pt x="2182" y="1083"/>
                  <a:pt x="2182" y="1081"/>
                </a:cubicBezTo>
                <a:cubicBezTo>
                  <a:pt x="2182" y="1080"/>
                  <a:pt x="2181" y="1079"/>
                  <a:pt x="2181" y="1079"/>
                </a:cubicBezTo>
                <a:cubicBezTo>
                  <a:pt x="2176" y="1076"/>
                  <a:pt x="2173" y="1072"/>
                  <a:pt x="2168" y="1070"/>
                </a:cubicBezTo>
                <a:cubicBezTo>
                  <a:pt x="2167" y="1070"/>
                  <a:pt x="2167" y="1069"/>
                  <a:pt x="2166" y="1068"/>
                </a:cubicBezTo>
                <a:cubicBezTo>
                  <a:pt x="2166" y="1065"/>
                  <a:pt x="2165" y="1063"/>
                  <a:pt x="2165" y="1061"/>
                </a:cubicBezTo>
                <a:cubicBezTo>
                  <a:pt x="2166" y="1057"/>
                  <a:pt x="2165" y="1054"/>
                  <a:pt x="2163" y="1052"/>
                </a:cubicBezTo>
                <a:cubicBezTo>
                  <a:pt x="2162" y="1049"/>
                  <a:pt x="2161" y="1047"/>
                  <a:pt x="2162" y="1044"/>
                </a:cubicBezTo>
                <a:cubicBezTo>
                  <a:pt x="2162" y="1042"/>
                  <a:pt x="2161" y="1040"/>
                  <a:pt x="2161" y="1038"/>
                </a:cubicBezTo>
                <a:cubicBezTo>
                  <a:pt x="2161" y="1035"/>
                  <a:pt x="2160" y="1033"/>
                  <a:pt x="2158" y="1031"/>
                </a:cubicBezTo>
                <a:cubicBezTo>
                  <a:pt x="2157" y="1030"/>
                  <a:pt x="2155" y="1029"/>
                  <a:pt x="2154" y="1030"/>
                </a:cubicBezTo>
                <a:cubicBezTo>
                  <a:pt x="2152" y="1030"/>
                  <a:pt x="2151" y="1029"/>
                  <a:pt x="2151" y="1028"/>
                </a:cubicBezTo>
                <a:cubicBezTo>
                  <a:pt x="2151" y="1027"/>
                  <a:pt x="2150" y="1026"/>
                  <a:pt x="2151" y="1025"/>
                </a:cubicBezTo>
                <a:cubicBezTo>
                  <a:pt x="2151" y="1022"/>
                  <a:pt x="2150" y="1020"/>
                  <a:pt x="2149" y="1017"/>
                </a:cubicBezTo>
                <a:cubicBezTo>
                  <a:pt x="2148" y="1013"/>
                  <a:pt x="2146" y="1009"/>
                  <a:pt x="2145" y="1005"/>
                </a:cubicBezTo>
                <a:cubicBezTo>
                  <a:pt x="2145" y="1005"/>
                  <a:pt x="2144" y="1004"/>
                  <a:pt x="2143" y="1004"/>
                </a:cubicBezTo>
                <a:cubicBezTo>
                  <a:pt x="2143" y="1003"/>
                  <a:pt x="2142" y="1004"/>
                  <a:pt x="2142" y="1004"/>
                </a:cubicBezTo>
                <a:cubicBezTo>
                  <a:pt x="2141" y="1004"/>
                  <a:pt x="2141" y="1005"/>
                  <a:pt x="2141" y="1005"/>
                </a:cubicBezTo>
                <a:cubicBezTo>
                  <a:pt x="2140" y="1008"/>
                  <a:pt x="2139" y="1010"/>
                  <a:pt x="2138" y="1013"/>
                </a:cubicBezTo>
                <a:cubicBezTo>
                  <a:pt x="2137" y="1015"/>
                  <a:pt x="2137" y="1018"/>
                  <a:pt x="2136" y="1020"/>
                </a:cubicBezTo>
                <a:cubicBezTo>
                  <a:pt x="2135" y="1025"/>
                  <a:pt x="2134" y="1029"/>
                  <a:pt x="2134" y="1033"/>
                </a:cubicBezTo>
                <a:cubicBezTo>
                  <a:pt x="2134" y="1035"/>
                  <a:pt x="2134" y="1036"/>
                  <a:pt x="2134" y="1037"/>
                </a:cubicBezTo>
                <a:cubicBezTo>
                  <a:pt x="2133" y="1041"/>
                  <a:pt x="2132" y="1044"/>
                  <a:pt x="2131" y="1048"/>
                </a:cubicBezTo>
                <a:cubicBezTo>
                  <a:pt x="2130" y="1050"/>
                  <a:pt x="2129" y="1052"/>
                  <a:pt x="2128" y="1054"/>
                </a:cubicBezTo>
                <a:cubicBezTo>
                  <a:pt x="2128" y="1056"/>
                  <a:pt x="2126" y="1057"/>
                  <a:pt x="2124" y="1057"/>
                </a:cubicBezTo>
                <a:cubicBezTo>
                  <a:pt x="2122" y="1058"/>
                  <a:pt x="2119" y="1057"/>
                  <a:pt x="2117" y="1055"/>
                </a:cubicBezTo>
                <a:cubicBezTo>
                  <a:pt x="2116" y="1054"/>
                  <a:pt x="2115" y="1052"/>
                  <a:pt x="2115" y="1050"/>
                </a:cubicBezTo>
                <a:cubicBezTo>
                  <a:pt x="2114" y="1050"/>
                  <a:pt x="2114" y="1050"/>
                  <a:pt x="2113" y="1050"/>
                </a:cubicBezTo>
                <a:cubicBezTo>
                  <a:pt x="2111" y="1050"/>
                  <a:pt x="2109" y="1050"/>
                  <a:pt x="2107" y="1048"/>
                </a:cubicBezTo>
                <a:cubicBezTo>
                  <a:pt x="2105" y="1045"/>
                  <a:pt x="2103" y="1044"/>
                  <a:pt x="2100" y="1043"/>
                </a:cubicBezTo>
                <a:cubicBezTo>
                  <a:pt x="2098" y="1042"/>
                  <a:pt x="2097" y="1041"/>
                  <a:pt x="2096" y="1040"/>
                </a:cubicBezTo>
                <a:cubicBezTo>
                  <a:pt x="2095" y="1038"/>
                  <a:pt x="2094" y="1037"/>
                  <a:pt x="2093" y="1036"/>
                </a:cubicBezTo>
                <a:cubicBezTo>
                  <a:pt x="2092" y="1035"/>
                  <a:pt x="2091" y="1034"/>
                  <a:pt x="2092" y="1033"/>
                </a:cubicBezTo>
                <a:cubicBezTo>
                  <a:pt x="2093" y="1030"/>
                  <a:pt x="2095" y="1027"/>
                  <a:pt x="2095" y="1024"/>
                </a:cubicBezTo>
                <a:cubicBezTo>
                  <a:pt x="2095" y="1024"/>
                  <a:pt x="2096" y="1023"/>
                  <a:pt x="2096" y="1023"/>
                </a:cubicBezTo>
                <a:cubicBezTo>
                  <a:pt x="2097" y="1022"/>
                  <a:pt x="2098" y="1022"/>
                  <a:pt x="2099" y="1021"/>
                </a:cubicBezTo>
                <a:cubicBezTo>
                  <a:pt x="2100" y="1019"/>
                  <a:pt x="2101" y="1017"/>
                  <a:pt x="2102" y="1014"/>
                </a:cubicBezTo>
                <a:cubicBezTo>
                  <a:pt x="2102" y="1014"/>
                  <a:pt x="2102" y="1013"/>
                  <a:pt x="2102" y="1013"/>
                </a:cubicBezTo>
                <a:cubicBezTo>
                  <a:pt x="2100" y="1012"/>
                  <a:pt x="2099" y="1011"/>
                  <a:pt x="2098" y="1012"/>
                </a:cubicBezTo>
                <a:cubicBezTo>
                  <a:pt x="2096" y="1013"/>
                  <a:pt x="2095" y="1013"/>
                  <a:pt x="2094" y="1012"/>
                </a:cubicBezTo>
                <a:cubicBezTo>
                  <a:pt x="2093" y="1011"/>
                  <a:pt x="2092" y="1012"/>
                  <a:pt x="2091" y="1012"/>
                </a:cubicBezTo>
                <a:cubicBezTo>
                  <a:pt x="2090" y="1012"/>
                  <a:pt x="2089" y="1013"/>
                  <a:pt x="2089" y="1013"/>
                </a:cubicBezTo>
                <a:cubicBezTo>
                  <a:pt x="2084" y="1011"/>
                  <a:pt x="2080" y="1010"/>
                  <a:pt x="2076" y="1008"/>
                </a:cubicBezTo>
                <a:cubicBezTo>
                  <a:pt x="2074" y="1007"/>
                  <a:pt x="2071" y="1006"/>
                  <a:pt x="2069" y="1005"/>
                </a:cubicBezTo>
                <a:cubicBezTo>
                  <a:pt x="2069" y="1005"/>
                  <a:pt x="2068" y="1005"/>
                  <a:pt x="2068" y="1005"/>
                </a:cubicBezTo>
                <a:cubicBezTo>
                  <a:pt x="2067" y="1006"/>
                  <a:pt x="2067" y="1006"/>
                  <a:pt x="2067" y="1006"/>
                </a:cubicBezTo>
                <a:cubicBezTo>
                  <a:pt x="2067" y="1006"/>
                  <a:pt x="2067" y="1007"/>
                  <a:pt x="2067" y="1007"/>
                </a:cubicBezTo>
                <a:cubicBezTo>
                  <a:pt x="2068" y="1008"/>
                  <a:pt x="2069" y="1008"/>
                  <a:pt x="2069" y="1009"/>
                </a:cubicBezTo>
                <a:cubicBezTo>
                  <a:pt x="2070" y="1010"/>
                  <a:pt x="2070" y="1011"/>
                  <a:pt x="2069" y="1012"/>
                </a:cubicBezTo>
                <a:cubicBezTo>
                  <a:pt x="2067" y="1013"/>
                  <a:pt x="2065" y="1013"/>
                  <a:pt x="2063" y="1013"/>
                </a:cubicBezTo>
                <a:cubicBezTo>
                  <a:pt x="2062" y="1013"/>
                  <a:pt x="2060" y="1013"/>
                  <a:pt x="2060" y="1014"/>
                </a:cubicBezTo>
                <a:cubicBezTo>
                  <a:pt x="2057" y="1015"/>
                  <a:pt x="2055" y="1016"/>
                  <a:pt x="2053" y="1018"/>
                </a:cubicBezTo>
                <a:cubicBezTo>
                  <a:pt x="2051" y="1021"/>
                  <a:pt x="2049" y="1024"/>
                  <a:pt x="2047" y="1027"/>
                </a:cubicBezTo>
                <a:cubicBezTo>
                  <a:pt x="2045" y="1029"/>
                  <a:pt x="2045" y="1030"/>
                  <a:pt x="2046" y="1032"/>
                </a:cubicBezTo>
                <a:cubicBezTo>
                  <a:pt x="2046" y="1033"/>
                  <a:pt x="2045" y="1034"/>
                  <a:pt x="2044" y="1034"/>
                </a:cubicBezTo>
                <a:cubicBezTo>
                  <a:pt x="2042" y="1034"/>
                  <a:pt x="2041" y="1033"/>
                  <a:pt x="2039" y="1034"/>
                </a:cubicBezTo>
                <a:cubicBezTo>
                  <a:pt x="2038" y="1034"/>
                  <a:pt x="2037" y="1034"/>
                  <a:pt x="2036" y="1033"/>
                </a:cubicBezTo>
                <a:cubicBezTo>
                  <a:pt x="2035" y="1031"/>
                  <a:pt x="2033" y="1029"/>
                  <a:pt x="2032" y="1028"/>
                </a:cubicBezTo>
                <a:cubicBezTo>
                  <a:pt x="2031" y="1026"/>
                  <a:pt x="2029" y="1026"/>
                  <a:pt x="2027" y="1026"/>
                </a:cubicBezTo>
                <a:cubicBezTo>
                  <a:pt x="2026" y="1027"/>
                  <a:pt x="2023" y="1027"/>
                  <a:pt x="2022" y="1029"/>
                </a:cubicBezTo>
                <a:cubicBezTo>
                  <a:pt x="2020" y="1030"/>
                  <a:pt x="2019" y="1030"/>
                  <a:pt x="2017" y="1031"/>
                </a:cubicBezTo>
                <a:cubicBezTo>
                  <a:pt x="2015" y="1031"/>
                  <a:pt x="2015" y="1034"/>
                  <a:pt x="2014" y="1035"/>
                </a:cubicBezTo>
                <a:cubicBezTo>
                  <a:pt x="2013" y="1036"/>
                  <a:pt x="2012" y="1037"/>
                  <a:pt x="2012" y="1037"/>
                </a:cubicBezTo>
                <a:cubicBezTo>
                  <a:pt x="2009" y="1038"/>
                  <a:pt x="2008" y="1040"/>
                  <a:pt x="2008" y="1042"/>
                </a:cubicBezTo>
                <a:cubicBezTo>
                  <a:pt x="2009" y="1043"/>
                  <a:pt x="2008" y="1043"/>
                  <a:pt x="2008" y="1044"/>
                </a:cubicBezTo>
                <a:cubicBezTo>
                  <a:pt x="2008" y="1045"/>
                  <a:pt x="2007" y="1046"/>
                  <a:pt x="2007" y="1046"/>
                </a:cubicBezTo>
                <a:cubicBezTo>
                  <a:pt x="2006" y="1045"/>
                  <a:pt x="2005" y="1045"/>
                  <a:pt x="2004" y="1045"/>
                </a:cubicBezTo>
                <a:cubicBezTo>
                  <a:pt x="2003" y="1045"/>
                  <a:pt x="2002" y="1047"/>
                  <a:pt x="2002" y="1048"/>
                </a:cubicBezTo>
                <a:cubicBezTo>
                  <a:pt x="2002" y="1049"/>
                  <a:pt x="2002" y="1050"/>
                  <a:pt x="2003" y="1051"/>
                </a:cubicBezTo>
                <a:cubicBezTo>
                  <a:pt x="2003" y="1051"/>
                  <a:pt x="2002" y="1052"/>
                  <a:pt x="2002" y="1052"/>
                </a:cubicBezTo>
                <a:cubicBezTo>
                  <a:pt x="2002" y="1052"/>
                  <a:pt x="2001" y="1052"/>
                  <a:pt x="2001" y="1052"/>
                </a:cubicBezTo>
                <a:cubicBezTo>
                  <a:pt x="2000" y="1051"/>
                  <a:pt x="1999" y="1049"/>
                  <a:pt x="1998" y="1048"/>
                </a:cubicBezTo>
                <a:cubicBezTo>
                  <a:pt x="1998" y="1047"/>
                  <a:pt x="1997" y="1047"/>
                  <a:pt x="1996" y="1048"/>
                </a:cubicBezTo>
                <a:cubicBezTo>
                  <a:pt x="1995" y="1049"/>
                  <a:pt x="1993" y="1050"/>
                  <a:pt x="1992" y="1051"/>
                </a:cubicBezTo>
                <a:cubicBezTo>
                  <a:pt x="1991" y="1052"/>
                  <a:pt x="1991" y="1053"/>
                  <a:pt x="1991" y="1054"/>
                </a:cubicBezTo>
                <a:cubicBezTo>
                  <a:pt x="1991" y="1058"/>
                  <a:pt x="1989" y="1062"/>
                  <a:pt x="1986" y="1064"/>
                </a:cubicBezTo>
                <a:cubicBezTo>
                  <a:pt x="1986" y="1065"/>
                  <a:pt x="1985" y="1066"/>
                  <a:pt x="1985" y="1067"/>
                </a:cubicBezTo>
                <a:cubicBezTo>
                  <a:pt x="1982" y="1071"/>
                  <a:pt x="1979" y="1073"/>
                  <a:pt x="1975" y="1073"/>
                </a:cubicBezTo>
                <a:cubicBezTo>
                  <a:pt x="1973" y="1073"/>
                  <a:pt x="1970" y="1074"/>
                  <a:pt x="1967" y="1074"/>
                </a:cubicBezTo>
                <a:cubicBezTo>
                  <a:pt x="1964" y="1077"/>
                  <a:pt x="1959" y="1076"/>
                  <a:pt x="1955" y="1079"/>
                </a:cubicBezTo>
                <a:cubicBezTo>
                  <a:pt x="1955" y="1079"/>
                  <a:pt x="1954" y="1080"/>
                  <a:pt x="1953" y="1079"/>
                </a:cubicBezTo>
                <a:cubicBezTo>
                  <a:pt x="1950" y="1079"/>
                  <a:pt x="1947" y="1080"/>
                  <a:pt x="1945" y="1081"/>
                </a:cubicBezTo>
                <a:cubicBezTo>
                  <a:pt x="1941" y="1083"/>
                  <a:pt x="1938" y="1085"/>
                  <a:pt x="1935" y="1086"/>
                </a:cubicBezTo>
                <a:cubicBezTo>
                  <a:pt x="1933" y="1087"/>
                  <a:pt x="1932" y="1089"/>
                  <a:pt x="1931" y="1090"/>
                </a:cubicBezTo>
                <a:cubicBezTo>
                  <a:pt x="1930" y="1091"/>
                  <a:pt x="1930" y="1090"/>
                  <a:pt x="1929" y="1090"/>
                </a:cubicBezTo>
                <a:cubicBezTo>
                  <a:pt x="1929" y="1090"/>
                  <a:pt x="1928" y="1090"/>
                  <a:pt x="1928" y="1090"/>
                </a:cubicBezTo>
                <a:cubicBezTo>
                  <a:pt x="1927" y="1091"/>
                  <a:pt x="1926" y="1092"/>
                  <a:pt x="1926" y="1093"/>
                </a:cubicBezTo>
                <a:cubicBezTo>
                  <a:pt x="1926" y="1094"/>
                  <a:pt x="1926" y="1096"/>
                  <a:pt x="1926" y="1097"/>
                </a:cubicBezTo>
                <a:cubicBezTo>
                  <a:pt x="1925" y="1100"/>
                  <a:pt x="1925" y="1102"/>
                  <a:pt x="1924" y="1104"/>
                </a:cubicBezTo>
                <a:cubicBezTo>
                  <a:pt x="1922" y="1106"/>
                  <a:pt x="1922" y="1108"/>
                  <a:pt x="1922" y="1111"/>
                </a:cubicBezTo>
                <a:cubicBezTo>
                  <a:pt x="1922" y="1114"/>
                  <a:pt x="1922" y="1117"/>
                  <a:pt x="1924" y="1120"/>
                </a:cubicBezTo>
                <a:cubicBezTo>
                  <a:pt x="1924" y="1121"/>
                  <a:pt x="1924" y="1122"/>
                  <a:pt x="1925" y="1122"/>
                </a:cubicBezTo>
                <a:cubicBezTo>
                  <a:pt x="1925" y="1123"/>
                  <a:pt x="1924" y="1124"/>
                  <a:pt x="1924" y="1125"/>
                </a:cubicBezTo>
                <a:cubicBezTo>
                  <a:pt x="1923" y="1125"/>
                  <a:pt x="1923" y="1125"/>
                  <a:pt x="1923" y="1126"/>
                </a:cubicBezTo>
                <a:cubicBezTo>
                  <a:pt x="1922" y="1127"/>
                  <a:pt x="1921" y="1128"/>
                  <a:pt x="1921" y="1129"/>
                </a:cubicBezTo>
                <a:cubicBezTo>
                  <a:pt x="1921" y="1129"/>
                  <a:pt x="1921" y="1129"/>
                  <a:pt x="1921" y="1129"/>
                </a:cubicBezTo>
                <a:cubicBezTo>
                  <a:pt x="1921" y="1129"/>
                  <a:pt x="1921" y="1129"/>
                  <a:pt x="1921" y="1129"/>
                </a:cubicBezTo>
                <a:cubicBezTo>
                  <a:pt x="1921" y="1129"/>
                  <a:pt x="1921" y="1129"/>
                  <a:pt x="1921" y="1129"/>
                </a:cubicBezTo>
                <a:cubicBezTo>
                  <a:pt x="1921" y="1130"/>
                  <a:pt x="1921" y="1131"/>
                  <a:pt x="1921" y="1132"/>
                </a:cubicBezTo>
                <a:cubicBezTo>
                  <a:pt x="1922" y="1134"/>
                  <a:pt x="1922" y="1136"/>
                  <a:pt x="1922" y="1138"/>
                </a:cubicBezTo>
                <a:cubicBezTo>
                  <a:pt x="1922" y="1141"/>
                  <a:pt x="1923" y="1145"/>
                  <a:pt x="1924" y="1148"/>
                </a:cubicBezTo>
                <a:cubicBezTo>
                  <a:pt x="1925" y="1152"/>
                  <a:pt x="1926" y="1155"/>
                  <a:pt x="1926" y="1159"/>
                </a:cubicBezTo>
                <a:cubicBezTo>
                  <a:pt x="1925" y="1163"/>
                  <a:pt x="1925" y="1168"/>
                  <a:pt x="1927" y="1172"/>
                </a:cubicBezTo>
                <a:cubicBezTo>
                  <a:pt x="1927" y="1173"/>
                  <a:pt x="1927" y="1174"/>
                  <a:pt x="1927" y="1176"/>
                </a:cubicBezTo>
                <a:cubicBezTo>
                  <a:pt x="1927" y="1178"/>
                  <a:pt x="1926" y="1180"/>
                  <a:pt x="1926" y="1182"/>
                </a:cubicBezTo>
                <a:cubicBezTo>
                  <a:pt x="1925" y="1186"/>
                  <a:pt x="1923" y="1188"/>
                  <a:pt x="1921" y="1190"/>
                </a:cubicBezTo>
                <a:cubicBezTo>
                  <a:pt x="1918" y="1192"/>
                  <a:pt x="1918" y="1195"/>
                  <a:pt x="1920" y="1197"/>
                </a:cubicBezTo>
                <a:cubicBezTo>
                  <a:pt x="1921" y="1199"/>
                  <a:pt x="1923" y="1200"/>
                  <a:pt x="1924" y="1201"/>
                </a:cubicBezTo>
                <a:cubicBezTo>
                  <a:pt x="1926" y="1203"/>
                  <a:pt x="1928" y="1204"/>
                  <a:pt x="1931" y="1205"/>
                </a:cubicBezTo>
                <a:cubicBezTo>
                  <a:pt x="1933" y="1205"/>
                  <a:pt x="1935" y="1205"/>
                  <a:pt x="1937" y="1205"/>
                </a:cubicBezTo>
                <a:cubicBezTo>
                  <a:pt x="1938" y="1205"/>
                  <a:pt x="1939" y="1205"/>
                  <a:pt x="1940" y="1204"/>
                </a:cubicBezTo>
                <a:cubicBezTo>
                  <a:pt x="1944" y="1201"/>
                  <a:pt x="1950" y="1201"/>
                  <a:pt x="1953" y="1197"/>
                </a:cubicBezTo>
                <a:cubicBezTo>
                  <a:pt x="1953" y="1197"/>
                  <a:pt x="1954" y="1196"/>
                  <a:pt x="1954" y="1196"/>
                </a:cubicBezTo>
                <a:cubicBezTo>
                  <a:pt x="1958" y="1196"/>
                  <a:pt x="1962" y="1195"/>
                  <a:pt x="1967" y="1195"/>
                </a:cubicBezTo>
                <a:cubicBezTo>
                  <a:pt x="1970" y="1196"/>
                  <a:pt x="1974" y="1196"/>
                  <a:pt x="1977" y="1196"/>
                </a:cubicBezTo>
                <a:cubicBezTo>
                  <a:pt x="1979" y="1196"/>
                  <a:pt x="1980" y="1195"/>
                  <a:pt x="1982" y="1194"/>
                </a:cubicBezTo>
                <a:cubicBezTo>
                  <a:pt x="1985" y="1190"/>
                  <a:pt x="1988" y="1188"/>
                  <a:pt x="1993" y="1186"/>
                </a:cubicBezTo>
                <a:cubicBezTo>
                  <a:pt x="1995" y="1185"/>
                  <a:pt x="1996" y="1184"/>
                  <a:pt x="1997" y="1183"/>
                </a:cubicBezTo>
                <a:cubicBezTo>
                  <a:pt x="1999" y="1182"/>
                  <a:pt x="2001" y="1182"/>
                  <a:pt x="2003" y="1182"/>
                </a:cubicBezTo>
                <a:cubicBezTo>
                  <a:pt x="2008" y="1183"/>
                  <a:pt x="2013" y="1182"/>
                  <a:pt x="2018" y="1179"/>
                </a:cubicBezTo>
                <a:cubicBezTo>
                  <a:pt x="2022" y="1177"/>
                  <a:pt x="2026" y="1177"/>
                  <a:pt x="2030" y="1177"/>
                </a:cubicBezTo>
                <a:cubicBezTo>
                  <a:pt x="2033" y="1177"/>
                  <a:pt x="2036" y="1177"/>
                  <a:pt x="2039" y="1177"/>
                </a:cubicBezTo>
                <a:cubicBezTo>
                  <a:pt x="2040" y="1177"/>
                  <a:pt x="2042" y="1178"/>
                  <a:pt x="2043" y="1179"/>
                </a:cubicBezTo>
                <a:cubicBezTo>
                  <a:pt x="2044" y="1181"/>
                  <a:pt x="2046" y="1181"/>
                  <a:pt x="2049" y="1182"/>
                </a:cubicBezTo>
                <a:cubicBezTo>
                  <a:pt x="2051" y="1182"/>
                  <a:pt x="2053" y="1184"/>
                  <a:pt x="2056" y="1185"/>
                </a:cubicBezTo>
                <a:cubicBezTo>
                  <a:pt x="2057" y="1185"/>
                  <a:pt x="2058" y="1187"/>
                  <a:pt x="2058" y="1188"/>
                </a:cubicBezTo>
                <a:cubicBezTo>
                  <a:pt x="2058" y="1190"/>
                  <a:pt x="2058" y="1192"/>
                  <a:pt x="2060" y="1193"/>
                </a:cubicBezTo>
                <a:cubicBezTo>
                  <a:pt x="2061" y="1194"/>
                  <a:pt x="2062" y="1196"/>
                  <a:pt x="2062" y="1198"/>
                </a:cubicBezTo>
                <a:cubicBezTo>
                  <a:pt x="2062" y="1200"/>
                  <a:pt x="2063" y="1202"/>
                  <a:pt x="2063" y="1204"/>
                </a:cubicBezTo>
                <a:cubicBezTo>
                  <a:pt x="2063" y="1205"/>
                  <a:pt x="2063" y="1206"/>
                  <a:pt x="2063" y="1207"/>
                </a:cubicBezTo>
                <a:cubicBezTo>
                  <a:pt x="2063" y="1207"/>
                  <a:pt x="2063" y="1208"/>
                  <a:pt x="2063" y="1208"/>
                </a:cubicBezTo>
                <a:cubicBezTo>
                  <a:pt x="2064" y="1208"/>
                  <a:pt x="2064" y="1209"/>
                  <a:pt x="2065" y="1209"/>
                </a:cubicBezTo>
                <a:cubicBezTo>
                  <a:pt x="2065" y="1210"/>
                  <a:pt x="2066" y="1209"/>
                  <a:pt x="2067" y="1209"/>
                </a:cubicBezTo>
                <a:cubicBezTo>
                  <a:pt x="2069" y="1207"/>
                  <a:pt x="2071" y="1204"/>
                  <a:pt x="2074" y="1201"/>
                </a:cubicBezTo>
                <a:cubicBezTo>
                  <a:pt x="2075" y="1200"/>
                  <a:pt x="2077" y="1199"/>
                  <a:pt x="2078" y="1198"/>
                </a:cubicBezTo>
                <a:cubicBezTo>
                  <a:pt x="2079" y="1197"/>
                  <a:pt x="2081" y="1195"/>
                  <a:pt x="2082" y="1194"/>
                </a:cubicBezTo>
                <a:cubicBezTo>
                  <a:pt x="2082" y="1194"/>
                  <a:pt x="2082" y="1194"/>
                  <a:pt x="2083" y="1194"/>
                </a:cubicBezTo>
                <a:cubicBezTo>
                  <a:pt x="2083" y="1194"/>
                  <a:pt x="2083" y="1194"/>
                  <a:pt x="2083" y="1194"/>
                </a:cubicBezTo>
                <a:cubicBezTo>
                  <a:pt x="2083" y="1196"/>
                  <a:pt x="2083" y="1197"/>
                  <a:pt x="2083" y="1198"/>
                </a:cubicBezTo>
                <a:cubicBezTo>
                  <a:pt x="2080" y="1200"/>
                  <a:pt x="2079" y="1202"/>
                  <a:pt x="2078" y="1205"/>
                </a:cubicBezTo>
                <a:cubicBezTo>
                  <a:pt x="2078" y="1208"/>
                  <a:pt x="2076" y="1210"/>
                  <a:pt x="2074" y="1211"/>
                </a:cubicBezTo>
                <a:cubicBezTo>
                  <a:pt x="2073" y="1211"/>
                  <a:pt x="2073" y="1212"/>
                  <a:pt x="2073" y="1213"/>
                </a:cubicBezTo>
                <a:cubicBezTo>
                  <a:pt x="2073" y="1213"/>
                  <a:pt x="2073" y="1214"/>
                  <a:pt x="2073" y="1214"/>
                </a:cubicBezTo>
                <a:cubicBezTo>
                  <a:pt x="2074" y="1214"/>
                  <a:pt x="2075" y="1214"/>
                  <a:pt x="2076" y="1214"/>
                </a:cubicBezTo>
                <a:cubicBezTo>
                  <a:pt x="2078" y="1214"/>
                  <a:pt x="2080" y="1213"/>
                  <a:pt x="2081" y="1210"/>
                </a:cubicBezTo>
                <a:cubicBezTo>
                  <a:pt x="2082" y="1210"/>
                  <a:pt x="2082" y="1209"/>
                  <a:pt x="2082" y="1209"/>
                </a:cubicBezTo>
                <a:cubicBezTo>
                  <a:pt x="2082" y="1209"/>
                  <a:pt x="2083" y="1208"/>
                  <a:pt x="2083" y="1208"/>
                </a:cubicBezTo>
                <a:cubicBezTo>
                  <a:pt x="2083" y="1209"/>
                  <a:pt x="2084" y="1209"/>
                  <a:pt x="2084" y="1209"/>
                </a:cubicBezTo>
                <a:cubicBezTo>
                  <a:pt x="2084" y="1212"/>
                  <a:pt x="2084" y="1215"/>
                  <a:pt x="2082" y="1217"/>
                </a:cubicBezTo>
                <a:cubicBezTo>
                  <a:pt x="2081" y="1218"/>
                  <a:pt x="2082" y="1219"/>
                  <a:pt x="2083" y="1219"/>
                </a:cubicBezTo>
                <a:cubicBezTo>
                  <a:pt x="2084" y="1219"/>
                  <a:pt x="2086" y="1219"/>
                  <a:pt x="2087" y="1219"/>
                </a:cubicBezTo>
                <a:cubicBezTo>
                  <a:pt x="2087" y="1219"/>
                  <a:pt x="2087" y="1219"/>
                  <a:pt x="2087" y="1219"/>
                </a:cubicBezTo>
                <a:cubicBezTo>
                  <a:pt x="2087" y="1218"/>
                  <a:pt x="2087" y="1218"/>
                  <a:pt x="2087" y="1218"/>
                </a:cubicBezTo>
                <a:cubicBezTo>
                  <a:pt x="2087" y="1219"/>
                  <a:pt x="2087" y="1219"/>
                  <a:pt x="2087" y="1219"/>
                </a:cubicBezTo>
                <a:cubicBezTo>
                  <a:pt x="2087" y="1219"/>
                  <a:pt x="2087" y="1219"/>
                  <a:pt x="2087" y="1219"/>
                </a:cubicBezTo>
                <a:cubicBezTo>
                  <a:pt x="2087" y="1219"/>
                  <a:pt x="2087" y="1219"/>
                  <a:pt x="2087" y="1220"/>
                </a:cubicBezTo>
                <a:cubicBezTo>
                  <a:pt x="2089" y="1224"/>
                  <a:pt x="2090" y="1229"/>
                  <a:pt x="2088" y="1234"/>
                </a:cubicBezTo>
                <a:cubicBezTo>
                  <a:pt x="2087" y="1235"/>
                  <a:pt x="2088" y="1236"/>
                  <a:pt x="2088" y="1237"/>
                </a:cubicBezTo>
                <a:cubicBezTo>
                  <a:pt x="2089" y="1239"/>
                  <a:pt x="2090" y="1240"/>
                  <a:pt x="2090" y="1241"/>
                </a:cubicBezTo>
                <a:cubicBezTo>
                  <a:pt x="2092" y="1245"/>
                  <a:pt x="2095" y="1248"/>
                  <a:pt x="2099" y="1249"/>
                </a:cubicBezTo>
                <a:cubicBezTo>
                  <a:pt x="2101" y="1249"/>
                  <a:pt x="2103" y="1251"/>
                  <a:pt x="2105" y="1252"/>
                </a:cubicBezTo>
                <a:cubicBezTo>
                  <a:pt x="2106" y="1253"/>
                  <a:pt x="2107" y="1254"/>
                  <a:pt x="2108" y="1255"/>
                </a:cubicBezTo>
                <a:cubicBezTo>
                  <a:pt x="2109" y="1256"/>
                  <a:pt x="2111" y="1256"/>
                  <a:pt x="2112" y="1255"/>
                </a:cubicBezTo>
                <a:cubicBezTo>
                  <a:pt x="2115" y="1253"/>
                  <a:pt x="2119" y="1252"/>
                  <a:pt x="2121" y="1248"/>
                </a:cubicBezTo>
                <a:cubicBezTo>
                  <a:pt x="2122" y="1247"/>
                  <a:pt x="2122" y="1248"/>
                  <a:pt x="2123" y="1248"/>
                </a:cubicBezTo>
                <a:cubicBezTo>
                  <a:pt x="2123" y="1248"/>
                  <a:pt x="2123" y="1249"/>
                  <a:pt x="2123" y="1249"/>
                </a:cubicBezTo>
                <a:cubicBezTo>
                  <a:pt x="2123" y="1250"/>
                  <a:pt x="2122" y="1251"/>
                  <a:pt x="2122" y="1251"/>
                </a:cubicBezTo>
                <a:cubicBezTo>
                  <a:pt x="2124" y="1254"/>
                  <a:pt x="2126" y="1257"/>
                  <a:pt x="2128" y="1259"/>
                </a:cubicBezTo>
                <a:cubicBezTo>
                  <a:pt x="2129" y="1260"/>
                  <a:pt x="2130" y="1260"/>
                  <a:pt x="2130" y="1260"/>
                </a:cubicBezTo>
                <a:cubicBezTo>
                  <a:pt x="2133" y="1257"/>
                  <a:pt x="2137" y="1255"/>
                  <a:pt x="2140" y="1252"/>
                </a:cubicBezTo>
                <a:cubicBezTo>
                  <a:pt x="2143" y="1250"/>
                  <a:pt x="2147" y="1248"/>
                  <a:pt x="2151" y="1248"/>
                </a:cubicBezTo>
                <a:cubicBezTo>
                  <a:pt x="2152" y="1248"/>
                  <a:pt x="2153" y="1248"/>
                  <a:pt x="2155" y="1248"/>
                </a:cubicBezTo>
                <a:cubicBezTo>
                  <a:pt x="2157" y="1248"/>
                  <a:pt x="2161" y="1245"/>
                  <a:pt x="2161" y="1243"/>
                </a:cubicBezTo>
                <a:cubicBezTo>
                  <a:pt x="2161" y="1239"/>
                  <a:pt x="2163" y="1235"/>
                  <a:pt x="2164" y="1232"/>
                </a:cubicBezTo>
                <a:cubicBezTo>
                  <a:pt x="2165" y="1228"/>
                  <a:pt x="2167" y="1224"/>
                  <a:pt x="2170" y="1221"/>
                </a:cubicBezTo>
                <a:cubicBezTo>
                  <a:pt x="2172" y="1219"/>
                  <a:pt x="2173" y="1217"/>
                  <a:pt x="2174" y="1215"/>
                </a:cubicBezTo>
                <a:cubicBezTo>
                  <a:pt x="2176" y="1212"/>
                  <a:pt x="2177" y="1209"/>
                  <a:pt x="2179" y="1206"/>
                </a:cubicBezTo>
                <a:cubicBezTo>
                  <a:pt x="2181" y="1201"/>
                  <a:pt x="2184" y="1197"/>
                  <a:pt x="2189" y="1194"/>
                </a:cubicBezTo>
                <a:cubicBezTo>
                  <a:pt x="2190" y="1194"/>
                  <a:pt x="2191" y="1193"/>
                  <a:pt x="2191" y="1192"/>
                </a:cubicBezTo>
                <a:cubicBezTo>
                  <a:pt x="2192" y="1188"/>
                  <a:pt x="2196" y="1186"/>
                  <a:pt x="2197" y="1182"/>
                </a:cubicBezTo>
                <a:cubicBezTo>
                  <a:pt x="2198" y="1179"/>
                  <a:pt x="2198" y="1175"/>
                  <a:pt x="2200" y="1171"/>
                </a:cubicBezTo>
                <a:cubicBezTo>
                  <a:pt x="2202" y="1167"/>
                  <a:pt x="2202" y="1162"/>
                  <a:pt x="2205" y="1158"/>
                </a:cubicBezTo>
                <a:cubicBezTo>
                  <a:pt x="2206" y="1157"/>
                  <a:pt x="2206" y="1156"/>
                  <a:pt x="2206" y="1154"/>
                </a:cubicBezTo>
                <a:cubicBezTo>
                  <a:pt x="2207" y="1151"/>
                  <a:pt x="2207" y="1149"/>
                  <a:pt x="2206" y="1146"/>
                </a:cubicBezTo>
                <a:cubicBezTo>
                  <a:pt x="2205" y="1144"/>
                  <a:pt x="2205" y="1142"/>
                  <a:pt x="2206" y="1140"/>
                </a:cubicBezTo>
                <a:cubicBezTo>
                  <a:pt x="2206" y="1138"/>
                  <a:pt x="2206" y="1137"/>
                  <a:pt x="2206" y="1135"/>
                </a:cubicBezTo>
                <a:cubicBezTo>
                  <a:pt x="2206" y="1131"/>
                  <a:pt x="2207" y="1127"/>
                  <a:pt x="2209" y="1124"/>
                </a:cubicBezTo>
                <a:cubicBezTo>
                  <a:pt x="2209" y="1123"/>
                  <a:pt x="2209" y="1122"/>
                  <a:pt x="2209" y="1122"/>
                </a:cubicBezTo>
                <a:cubicBezTo>
                  <a:pt x="2209" y="1122"/>
                  <a:pt x="2209" y="1121"/>
                  <a:pt x="2209" y="1121"/>
                </a:cubicBezTo>
                <a:cubicBezTo>
                  <a:pt x="2208" y="1121"/>
                  <a:pt x="2208" y="1121"/>
                  <a:pt x="2208" y="1121"/>
                </a:cubicBezTo>
                <a:close/>
                <a:moveTo>
                  <a:pt x="705" y="90"/>
                </a:moveTo>
                <a:cubicBezTo>
                  <a:pt x="705" y="90"/>
                  <a:pt x="705" y="90"/>
                  <a:pt x="705" y="90"/>
                </a:cubicBezTo>
                <a:cubicBezTo>
                  <a:pt x="705" y="90"/>
                  <a:pt x="705" y="90"/>
                  <a:pt x="705" y="90"/>
                </a:cubicBezTo>
                <a:cubicBezTo>
                  <a:pt x="705" y="90"/>
                  <a:pt x="704" y="90"/>
                  <a:pt x="704" y="90"/>
                </a:cubicBezTo>
                <a:cubicBezTo>
                  <a:pt x="704" y="90"/>
                  <a:pt x="704" y="90"/>
                  <a:pt x="705" y="90"/>
                </a:cubicBezTo>
                <a:close/>
                <a:moveTo>
                  <a:pt x="713" y="64"/>
                </a:moveTo>
                <a:cubicBezTo>
                  <a:pt x="713" y="64"/>
                  <a:pt x="713" y="64"/>
                  <a:pt x="713" y="64"/>
                </a:cubicBezTo>
                <a:cubicBezTo>
                  <a:pt x="713" y="64"/>
                  <a:pt x="713" y="64"/>
                  <a:pt x="713" y="64"/>
                </a:cubicBezTo>
                <a:cubicBezTo>
                  <a:pt x="713" y="64"/>
                  <a:pt x="713" y="64"/>
                  <a:pt x="713" y="64"/>
                </a:cubicBezTo>
                <a:cubicBezTo>
                  <a:pt x="713" y="64"/>
                  <a:pt x="713" y="64"/>
                  <a:pt x="713" y="64"/>
                </a:cubicBezTo>
                <a:close/>
                <a:moveTo>
                  <a:pt x="714" y="67"/>
                </a:moveTo>
                <a:cubicBezTo>
                  <a:pt x="713" y="69"/>
                  <a:pt x="713" y="70"/>
                  <a:pt x="714" y="72"/>
                </a:cubicBezTo>
                <a:cubicBezTo>
                  <a:pt x="714" y="74"/>
                  <a:pt x="715" y="76"/>
                  <a:pt x="714" y="79"/>
                </a:cubicBezTo>
                <a:cubicBezTo>
                  <a:pt x="713" y="80"/>
                  <a:pt x="713" y="83"/>
                  <a:pt x="713" y="84"/>
                </a:cubicBezTo>
                <a:cubicBezTo>
                  <a:pt x="712" y="85"/>
                  <a:pt x="712" y="85"/>
                  <a:pt x="711" y="86"/>
                </a:cubicBezTo>
                <a:cubicBezTo>
                  <a:pt x="709" y="86"/>
                  <a:pt x="710" y="88"/>
                  <a:pt x="710" y="90"/>
                </a:cubicBezTo>
                <a:cubicBezTo>
                  <a:pt x="710" y="90"/>
                  <a:pt x="710" y="90"/>
                  <a:pt x="710" y="90"/>
                </a:cubicBezTo>
                <a:cubicBezTo>
                  <a:pt x="711" y="91"/>
                  <a:pt x="711" y="91"/>
                  <a:pt x="712" y="92"/>
                </a:cubicBezTo>
                <a:cubicBezTo>
                  <a:pt x="712" y="92"/>
                  <a:pt x="712" y="92"/>
                  <a:pt x="713" y="92"/>
                </a:cubicBezTo>
                <a:cubicBezTo>
                  <a:pt x="713" y="93"/>
                  <a:pt x="714" y="93"/>
                  <a:pt x="715" y="93"/>
                </a:cubicBezTo>
                <a:cubicBezTo>
                  <a:pt x="715" y="93"/>
                  <a:pt x="715" y="93"/>
                  <a:pt x="716" y="93"/>
                </a:cubicBezTo>
                <a:cubicBezTo>
                  <a:pt x="716" y="93"/>
                  <a:pt x="716" y="94"/>
                  <a:pt x="715" y="94"/>
                </a:cubicBezTo>
                <a:cubicBezTo>
                  <a:pt x="716" y="94"/>
                  <a:pt x="716" y="94"/>
                  <a:pt x="717" y="94"/>
                </a:cubicBezTo>
                <a:cubicBezTo>
                  <a:pt x="717" y="94"/>
                  <a:pt x="717" y="95"/>
                  <a:pt x="717" y="95"/>
                </a:cubicBezTo>
                <a:cubicBezTo>
                  <a:pt x="717" y="95"/>
                  <a:pt x="717" y="95"/>
                  <a:pt x="717" y="95"/>
                </a:cubicBezTo>
                <a:cubicBezTo>
                  <a:pt x="716" y="96"/>
                  <a:pt x="716" y="96"/>
                  <a:pt x="716" y="95"/>
                </a:cubicBezTo>
                <a:cubicBezTo>
                  <a:pt x="715" y="95"/>
                  <a:pt x="715" y="94"/>
                  <a:pt x="715" y="94"/>
                </a:cubicBezTo>
                <a:cubicBezTo>
                  <a:pt x="715" y="94"/>
                  <a:pt x="715" y="94"/>
                  <a:pt x="715" y="94"/>
                </a:cubicBezTo>
                <a:cubicBezTo>
                  <a:pt x="715" y="93"/>
                  <a:pt x="715" y="93"/>
                  <a:pt x="715" y="93"/>
                </a:cubicBezTo>
                <a:cubicBezTo>
                  <a:pt x="714" y="93"/>
                  <a:pt x="713" y="93"/>
                  <a:pt x="713" y="92"/>
                </a:cubicBezTo>
                <a:cubicBezTo>
                  <a:pt x="712" y="92"/>
                  <a:pt x="712" y="92"/>
                  <a:pt x="712" y="92"/>
                </a:cubicBezTo>
                <a:cubicBezTo>
                  <a:pt x="711" y="91"/>
                  <a:pt x="710" y="91"/>
                  <a:pt x="710" y="90"/>
                </a:cubicBezTo>
                <a:cubicBezTo>
                  <a:pt x="710" y="90"/>
                  <a:pt x="710" y="90"/>
                  <a:pt x="710" y="90"/>
                </a:cubicBezTo>
                <a:cubicBezTo>
                  <a:pt x="708" y="90"/>
                  <a:pt x="706" y="90"/>
                  <a:pt x="705" y="90"/>
                </a:cubicBezTo>
                <a:cubicBezTo>
                  <a:pt x="704" y="91"/>
                  <a:pt x="703" y="91"/>
                  <a:pt x="702" y="91"/>
                </a:cubicBezTo>
                <a:cubicBezTo>
                  <a:pt x="700" y="91"/>
                  <a:pt x="698" y="92"/>
                  <a:pt x="696" y="92"/>
                </a:cubicBezTo>
                <a:cubicBezTo>
                  <a:pt x="695" y="95"/>
                  <a:pt x="693" y="97"/>
                  <a:pt x="691" y="99"/>
                </a:cubicBezTo>
                <a:cubicBezTo>
                  <a:pt x="689" y="100"/>
                  <a:pt x="688" y="102"/>
                  <a:pt x="688" y="104"/>
                </a:cubicBezTo>
                <a:cubicBezTo>
                  <a:pt x="688" y="105"/>
                  <a:pt x="688" y="107"/>
                  <a:pt x="690" y="107"/>
                </a:cubicBezTo>
                <a:cubicBezTo>
                  <a:pt x="690" y="107"/>
                  <a:pt x="691" y="107"/>
                  <a:pt x="691" y="107"/>
                </a:cubicBezTo>
                <a:cubicBezTo>
                  <a:pt x="694" y="107"/>
                  <a:pt x="695" y="108"/>
                  <a:pt x="695" y="111"/>
                </a:cubicBezTo>
                <a:cubicBezTo>
                  <a:pt x="695" y="112"/>
                  <a:pt x="695" y="113"/>
                  <a:pt x="695" y="114"/>
                </a:cubicBezTo>
                <a:cubicBezTo>
                  <a:pt x="695" y="116"/>
                  <a:pt x="694" y="117"/>
                  <a:pt x="693" y="118"/>
                </a:cubicBezTo>
                <a:cubicBezTo>
                  <a:pt x="693" y="118"/>
                  <a:pt x="693" y="118"/>
                  <a:pt x="692" y="118"/>
                </a:cubicBezTo>
                <a:cubicBezTo>
                  <a:pt x="692" y="118"/>
                  <a:pt x="692" y="118"/>
                  <a:pt x="692" y="118"/>
                </a:cubicBezTo>
                <a:cubicBezTo>
                  <a:pt x="691" y="116"/>
                  <a:pt x="691" y="114"/>
                  <a:pt x="690" y="112"/>
                </a:cubicBezTo>
                <a:cubicBezTo>
                  <a:pt x="690" y="111"/>
                  <a:pt x="689" y="110"/>
                  <a:pt x="688" y="110"/>
                </a:cubicBezTo>
                <a:cubicBezTo>
                  <a:pt x="686" y="109"/>
                  <a:pt x="684" y="109"/>
                  <a:pt x="682" y="110"/>
                </a:cubicBezTo>
                <a:cubicBezTo>
                  <a:pt x="682" y="110"/>
                  <a:pt x="681" y="110"/>
                  <a:pt x="681" y="111"/>
                </a:cubicBezTo>
                <a:cubicBezTo>
                  <a:pt x="681" y="112"/>
                  <a:pt x="680" y="112"/>
                  <a:pt x="680" y="113"/>
                </a:cubicBezTo>
                <a:cubicBezTo>
                  <a:pt x="680" y="117"/>
                  <a:pt x="681" y="120"/>
                  <a:pt x="682" y="123"/>
                </a:cubicBezTo>
                <a:cubicBezTo>
                  <a:pt x="682" y="123"/>
                  <a:pt x="682" y="123"/>
                  <a:pt x="682" y="123"/>
                </a:cubicBezTo>
                <a:cubicBezTo>
                  <a:pt x="682" y="123"/>
                  <a:pt x="682" y="123"/>
                  <a:pt x="682" y="123"/>
                </a:cubicBezTo>
                <a:cubicBezTo>
                  <a:pt x="682" y="123"/>
                  <a:pt x="682" y="123"/>
                  <a:pt x="682" y="123"/>
                </a:cubicBezTo>
                <a:cubicBezTo>
                  <a:pt x="681" y="123"/>
                  <a:pt x="680" y="124"/>
                  <a:pt x="679" y="123"/>
                </a:cubicBezTo>
                <a:cubicBezTo>
                  <a:pt x="674" y="122"/>
                  <a:pt x="670" y="124"/>
                  <a:pt x="665" y="127"/>
                </a:cubicBezTo>
                <a:cubicBezTo>
                  <a:pt x="665" y="127"/>
                  <a:pt x="665" y="127"/>
                  <a:pt x="664" y="127"/>
                </a:cubicBezTo>
                <a:cubicBezTo>
                  <a:pt x="664" y="127"/>
                  <a:pt x="663" y="128"/>
                  <a:pt x="662" y="129"/>
                </a:cubicBezTo>
                <a:cubicBezTo>
                  <a:pt x="661" y="130"/>
                  <a:pt x="661" y="128"/>
                  <a:pt x="660" y="128"/>
                </a:cubicBezTo>
                <a:cubicBezTo>
                  <a:pt x="659" y="127"/>
                  <a:pt x="658" y="127"/>
                  <a:pt x="657" y="128"/>
                </a:cubicBezTo>
                <a:cubicBezTo>
                  <a:pt x="657" y="130"/>
                  <a:pt x="657" y="132"/>
                  <a:pt x="658" y="133"/>
                </a:cubicBezTo>
                <a:cubicBezTo>
                  <a:pt x="661" y="136"/>
                  <a:pt x="663" y="138"/>
                  <a:pt x="667" y="139"/>
                </a:cubicBezTo>
                <a:cubicBezTo>
                  <a:pt x="670" y="140"/>
                  <a:pt x="673" y="142"/>
                  <a:pt x="677" y="144"/>
                </a:cubicBezTo>
                <a:cubicBezTo>
                  <a:pt x="678" y="144"/>
                  <a:pt x="678" y="145"/>
                  <a:pt x="679" y="145"/>
                </a:cubicBezTo>
                <a:cubicBezTo>
                  <a:pt x="680" y="146"/>
                  <a:pt x="682" y="146"/>
                  <a:pt x="683" y="144"/>
                </a:cubicBezTo>
                <a:cubicBezTo>
                  <a:pt x="683" y="144"/>
                  <a:pt x="683" y="143"/>
                  <a:pt x="684" y="143"/>
                </a:cubicBezTo>
                <a:cubicBezTo>
                  <a:pt x="684" y="143"/>
                  <a:pt x="684" y="143"/>
                  <a:pt x="684" y="143"/>
                </a:cubicBezTo>
                <a:cubicBezTo>
                  <a:pt x="683" y="142"/>
                  <a:pt x="683" y="142"/>
                  <a:pt x="683" y="142"/>
                </a:cubicBezTo>
                <a:cubicBezTo>
                  <a:pt x="684" y="143"/>
                  <a:pt x="684" y="143"/>
                  <a:pt x="684" y="143"/>
                </a:cubicBezTo>
                <a:cubicBezTo>
                  <a:pt x="684" y="143"/>
                  <a:pt x="684" y="143"/>
                  <a:pt x="684" y="143"/>
                </a:cubicBezTo>
                <a:cubicBezTo>
                  <a:pt x="685" y="142"/>
                  <a:pt x="686" y="142"/>
                  <a:pt x="688" y="143"/>
                </a:cubicBezTo>
                <a:cubicBezTo>
                  <a:pt x="691" y="145"/>
                  <a:pt x="694" y="146"/>
                  <a:pt x="697" y="146"/>
                </a:cubicBezTo>
                <a:cubicBezTo>
                  <a:pt x="698" y="145"/>
                  <a:pt x="699" y="146"/>
                  <a:pt x="699" y="146"/>
                </a:cubicBezTo>
                <a:cubicBezTo>
                  <a:pt x="701" y="146"/>
                  <a:pt x="701" y="147"/>
                  <a:pt x="701" y="149"/>
                </a:cubicBezTo>
                <a:cubicBezTo>
                  <a:pt x="701" y="149"/>
                  <a:pt x="701" y="150"/>
                  <a:pt x="701" y="150"/>
                </a:cubicBezTo>
                <a:cubicBezTo>
                  <a:pt x="701" y="151"/>
                  <a:pt x="703" y="152"/>
                  <a:pt x="704" y="152"/>
                </a:cubicBezTo>
                <a:cubicBezTo>
                  <a:pt x="706" y="151"/>
                  <a:pt x="708" y="151"/>
                  <a:pt x="709" y="150"/>
                </a:cubicBezTo>
                <a:cubicBezTo>
                  <a:pt x="711" y="150"/>
                  <a:pt x="712" y="149"/>
                  <a:pt x="714" y="149"/>
                </a:cubicBezTo>
                <a:cubicBezTo>
                  <a:pt x="717" y="149"/>
                  <a:pt x="719" y="147"/>
                  <a:pt x="721" y="145"/>
                </a:cubicBezTo>
                <a:cubicBezTo>
                  <a:pt x="721" y="145"/>
                  <a:pt x="721" y="144"/>
                  <a:pt x="721" y="144"/>
                </a:cubicBezTo>
                <a:cubicBezTo>
                  <a:pt x="723" y="142"/>
                  <a:pt x="722" y="140"/>
                  <a:pt x="719" y="139"/>
                </a:cubicBezTo>
                <a:cubicBezTo>
                  <a:pt x="718" y="138"/>
                  <a:pt x="718" y="138"/>
                  <a:pt x="717" y="137"/>
                </a:cubicBezTo>
                <a:cubicBezTo>
                  <a:pt x="717" y="136"/>
                  <a:pt x="718" y="135"/>
                  <a:pt x="718" y="134"/>
                </a:cubicBezTo>
                <a:cubicBezTo>
                  <a:pt x="719" y="133"/>
                  <a:pt x="720" y="133"/>
                  <a:pt x="721" y="132"/>
                </a:cubicBezTo>
                <a:cubicBezTo>
                  <a:pt x="722" y="131"/>
                  <a:pt x="724" y="131"/>
                  <a:pt x="726" y="130"/>
                </a:cubicBezTo>
                <a:cubicBezTo>
                  <a:pt x="728" y="129"/>
                  <a:pt x="730" y="127"/>
                  <a:pt x="730" y="125"/>
                </a:cubicBezTo>
                <a:cubicBezTo>
                  <a:pt x="731" y="124"/>
                  <a:pt x="731" y="123"/>
                  <a:pt x="731" y="123"/>
                </a:cubicBezTo>
                <a:cubicBezTo>
                  <a:pt x="731" y="123"/>
                  <a:pt x="731" y="122"/>
                  <a:pt x="731" y="122"/>
                </a:cubicBezTo>
                <a:cubicBezTo>
                  <a:pt x="732" y="121"/>
                  <a:pt x="733" y="120"/>
                  <a:pt x="734" y="121"/>
                </a:cubicBezTo>
                <a:cubicBezTo>
                  <a:pt x="737" y="122"/>
                  <a:pt x="740" y="121"/>
                  <a:pt x="743" y="121"/>
                </a:cubicBezTo>
                <a:cubicBezTo>
                  <a:pt x="744" y="121"/>
                  <a:pt x="745" y="119"/>
                  <a:pt x="744" y="118"/>
                </a:cubicBezTo>
                <a:cubicBezTo>
                  <a:pt x="744" y="117"/>
                  <a:pt x="744" y="117"/>
                  <a:pt x="744" y="116"/>
                </a:cubicBezTo>
                <a:cubicBezTo>
                  <a:pt x="743" y="116"/>
                  <a:pt x="743" y="116"/>
                  <a:pt x="743" y="116"/>
                </a:cubicBezTo>
                <a:cubicBezTo>
                  <a:pt x="743" y="116"/>
                  <a:pt x="743" y="116"/>
                  <a:pt x="743" y="116"/>
                </a:cubicBezTo>
                <a:cubicBezTo>
                  <a:pt x="743" y="116"/>
                  <a:pt x="742" y="116"/>
                  <a:pt x="742" y="116"/>
                </a:cubicBezTo>
                <a:cubicBezTo>
                  <a:pt x="742" y="115"/>
                  <a:pt x="743" y="116"/>
                  <a:pt x="743" y="116"/>
                </a:cubicBezTo>
                <a:cubicBezTo>
                  <a:pt x="743" y="116"/>
                  <a:pt x="743" y="116"/>
                  <a:pt x="743" y="116"/>
                </a:cubicBezTo>
                <a:cubicBezTo>
                  <a:pt x="743" y="116"/>
                  <a:pt x="744" y="116"/>
                  <a:pt x="744" y="116"/>
                </a:cubicBezTo>
                <a:cubicBezTo>
                  <a:pt x="746" y="117"/>
                  <a:pt x="748" y="116"/>
                  <a:pt x="750" y="114"/>
                </a:cubicBezTo>
                <a:cubicBezTo>
                  <a:pt x="751" y="113"/>
                  <a:pt x="751" y="112"/>
                  <a:pt x="753" y="111"/>
                </a:cubicBezTo>
                <a:cubicBezTo>
                  <a:pt x="754" y="110"/>
                  <a:pt x="754" y="108"/>
                  <a:pt x="755" y="107"/>
                </a:cubicBezTo>
                <a:cubicBezTo>
                  <a:pt x="756" y="106"/>
                  <a:pt x="756" y="104"/>
                  <a:pt x="755" y="103"/>
                </a:cubicBezTo>
                <a:cubicBezTo>
                  <a:pt x="754" y="101"/>
                  <a:pt x="754" y="100"/>
                  <a:pt x="754" y="99"/>
                </a:cubicBezTo>
                <a:cubicBezTo>
                  <a:pt x="754" y="99"/>
                  <a:pt x="754" y="99"/>
                  <a:pt x="754" y="99"/>
                </a:cubicBezTo>
                <a:cubicBezTo>
                  <a:pt x="754" y="99"/>
                  <a:pt x="753" y="99"/>
                  <a:pt x="753" y="99"/>
                </a:cubicBezTo>
                <a:cubicBezTo>
                  <a:pt x="753" y="99"/>
                  <a:pt x="754" y="99"/>
                  <a:pt x="754" y="99"/>
                </a:cubicBezTo>
                <a:cubicBezTo>
                  <a:pt x="754" y="99"/>
                  <a:pt x="754" y="99"/>
                  <a:pt x="754" y="99"/>
                </a:cubicBezTo>
                <a:cubicBezTo>
                  <a:pt x="755" y="100"/>
                  <a:pt x="756" y="100"/>
                  <a:pt x="758" y="100"/>
                </a:cubicBezTo>
                <a:cubicBezTo>
                  <a:pt x="759" y="101"/>
                  <a:pt x="761" y="100"/>
                  <a:pt x="761" y="98"/>
                </a:cubicBezTo>
                <a:cubicBezTo>
                  <a:pt x="761" y="97"/>
                  <a:pt x="761" y="95"/>
                  <a:pt x="759" y="95"/>
                </a:cubicBezTo>
                <a:cubicBezTo>
                  <a:pt x="758" y="94"/>
                  <a:pt x="757" y="94"/>
                  <a:pt x="756" y="93"/>
                </a:cubicBezTo>
                <a:cubicBezTo>
                  <a:pt x="756" y="93"/>
                  <a:pt x="756" y="93"/>
                  <a:pt x="755" y="93"/>
                </a:cubicBezTo>
                <a:cubicBezTo>
                  <a:pt x="756" y="93"/>
                  <a:pt x="756" y="92"/>
                  <a:pt x="756" y="92"/>
                </a:cubicBezTo>
                <a:cubicBezTo>
                  <a:pt x="757" y="91"/>
                  <a:pt x="758" y="91"/>
                  <a:pt x="759" y="91"/>
                </a:cubicBezTo>
                <a:cubicBezTo>
                  <a:pt x="761" y="92"/>
                  <a:pt x="764" y="92"/>
                  <a:pt x="767" y="91"/>
                </a:cubicBezTo>
                <a:cubicBezTo>
                  <a:pt x="768" y="91"/>
                  <a:pt x="769" y="91"/>
                  <a:pt x="770" y="89"/>
                </a:cubicBezTo>
                <a:cubicBezTo>
                  <a:pt x="770" y="88"/>
                  <a:pt x="770" y="88"/>
                  <a:pt x="770" y="87"/>
                </a:cubicBezTo>
                <a:cubicBezTo>
                  <a:pt x="771" y="88"/>
                  <a:pt x="771" y="88"/>
                  <a:pt x="771" y="88"/>
                </a:cubicBezTo>
                <a:cubicBezTo>
                  <a:pt x="772" y="88"/>
                  <a:pt x="772" y="89"/>
                  <a:pt x="773" y="89"/>
                </a:cubicBezTo>
                <a:cubicBezTo>
                  <a:pt x="777" y="91"/>
                  <a:pt x="779" y="90"/>
                  <a:pt x="782" y="87"/>
                </a:cubicBezTo>
                <a:cubicBezTo>
                  <a:pt x="785" y="84"/>
                  <a:pt x="788" y="80"/>
                  <a:pt x="792" y="78"/>
                </a:cubicBezTo>
                <a:cubicBezTo>
                  <a:pt x="794" y="77"/>
                  <a:pt x="796" y="76"/>
                  <a:pt x="798" y="74"/>
                </a:cubicBezTo>
                <a:cubicBezTo>
                  <a:pt x="799" y="73"/>
                  <a:pt x="800" y="73"/>
                  <a:pt x="801" y="72"/>
                </a:cubicBezTo>
                <a:cubicBezTo>
                  <a:pt x="806" y="71"/>
                  <a:pt x="810" y="68"/>
                  <a:pt x="814" y="67"/>
                </a:cubicBezTo>
                <a:cubicBezTo>
                  <a:pt x="818" y="65"/>
                  <a:pt x="822" y="63"/>
                  <a:pt x="826" y="60"/>
                </a:cubicBezTo>
                <a:cubicBezTo>
                  <a:pt x="827" y="60"/>
                  <a:pt x="827" y="59"/>
                  <a:pt x="827" y="58"/>
                </a:cubicBezTo>
                <a:cubicBezTo>
                  <a:pt x="828" y="57"/>
                  <a:pt x="827" y="56"/>
                  <a:pt x="825" y="56"/>
                </a:cubicBezTo>
                <a:cubicBezTo>
                  <a:pt x="824" y="56"/>
                  <a:pt x="823" y="55"/>
                  <a:pt x="822" y="55"/>
                </a:cubicBezTo>
                <a:cubicBezTo>
                  <a:pt x="822" y="55"/>
                  <a:pt x="822" y="55"/>
                  <a:pt x="822" y="55"/>
                </a:cubicBezTo>
                <a:cubicBezTo>
                  <a:pt x="822" y="55"/>
                  <a:pt x="822" y="55"/>
                  <a:pt x="822" y="55"/>
                </a:cubicBezTo>
                <a:cubicBezTo>
                  <a:pt x="822" y="55"/>
                  <a:pt x="822" y="55"/>
                  <a:pt x="822" y="55"/>
                </a:cubicBezTo>
                <a:cubicBezTo>
                  <a:pt x="822" y="55"/>
                  <a:pt x="822" y="55"/>
                  <a:pt x="822" y="55"/>
                </a:cubicBezTo>
                <a:cubicBezTo>
                  <a:pt x="822" y="54"/>
                  <a:pt x="823" y="53"/>
                  <a:pt x="824" y="53"/>
                </a:cubicBezTo>
                <a:cubicBezTo>
                  <a:pt x="828" y="53"/>
                  <a:pt x="833" y="52"/>
                  <a:pt x="837" y="52"/>
                </a:cubicBezTo>
                <a:cubicBezTo>
                  <a:pt x="841" y="50"/>
                  <a:pt x="845" y="47"/>
                  <a:pt x="849" y="45"/>
                </a:cubicBezTo>
                <a:cubicBezTo>
                  <a:pt x="850" y="45"/>
                  <a:pt x="851" y="45"/>
                  <a:pt x="851" y="45"/>
                </a:cubicBezTo>
                <a:cubicBezTo>
                  <a:pt x="852" y="43"/>
                  <a:pt x="853" y="42"/>
                  <a:pt x="853" y="41"/>
                </a:cubicBezTo>
                <a:cubicBezTo>
                  <a:pt x="854" y="40"/>
                  <a:pt x="854" y="38"/>
                  <a:pt x="854" y="36"/>
                </a:cubicBezTo>
                <a:cubicBezTo>
                  <a:pt x="854" y="34"/>
                  <a:pt x="853" y="33"/>
                  <a:pt x="852" y="32"/>
                </a:cubicBezTo>
                <a:cubicBezTo>
                  <a:pt x="850" y="32"/>
                  <a:pt x="850" y="31"/>
                  <a:pt x="850" y="30"/>
                </a:cubicBezTo>
                <a:cubicBezTo>
                  <a:pt x="850" y="28"/>
                  <a:pt x="850" y="25"/>
                  <a:pt x="850" y="23"/>
                </a:cubicBezTo>
                <a:cubicBezTo>
                  <a:pt x="850" y="23"/>
                  <a:pt x="850" y="22"/>
                  <a:pt x="849" y="22"/>
                </a:cubicBezTo>
                <a:cubicBezTo>
                  <a:pt x="847" y="21"/>
                  <a:pt x="845" y="21"/>
                  <a:pt x="843" y="20"/>
                </a:cubicBezTo>
                <a:cubicBezTo>
                  <a:pt x="842" y="20"/>
                  <a:pt x="840" y="20"/>
                  <a:pt x="839" y="21"/>
                </a:cubicBezTo>
                <a:cubicBezTo>
                  <a:pt x="838" y="21"/>
                  <a:pt x="837" y="21"/>
                  <a:pt x="837" y="22"/>
                </a:cubicBezTo>
                <a:cubicBezTo>
                  <a:pt x="837" y="22"/>
                  <a:pt x="836" y="22"/>
                  <a:pt x="836" y="22"/>
                </a:cubicBezTo>
                <a:cubicBezTo>
                  <a:pt x="836" y="22"/>
                  <a:pt x="836" y="22"/>
                  <a:pt x="836" y="22"/>
                </a:cubicBezTo>
                <a:cubicBezTo>
                  <a:pt x="836" y="22"/>
                  <a:pt x="835" y="23"/>
                  <a:pt x="835" y="23"/>
                </a:cubicBezTo>
                <a:cubicBezTo>
                  <a:pt x="835" y="23"/>
                  <a:pt x="835" y="23"/>
                  <a:pt x="834" y="23"/>
                </a:cubicBezTo>
                <a:cubicBezTo>
                  <a:pt x="835" y="22"/>
                  <a:pt x="835" y="22"/>
                  <a:pt x="836" y="22"/>
                </a:cubicBezTo>
                <a:cubicBezTo>
                  <a:pt x="836" y="22"/>
                  <a:pt x="836" y="22"/>
                  <a:pt x="836" y="22"/>
                </a:cubicBezTo>
                <a:cubicBezTo>
                  <a:pt x="836" y="22"/>
                  <a:pt x="836" y="22"/>
                  <a:pt x="837" y="22"/>
                </a:cubicBezTo>
                <a:cubicBezTo>
                  <a:pt x="838" y="21"/>
                  <a:pt x="838" y="20"/>
                  <a:pt x="839" y="19"/>
                </a:cubicBezTo>
                <a:cubicBezTo>
                  <a:pt x="840" y="18"/>
                  <a:pt x="841" y="17"/>
                  <a:pt x="839" y="16"/>
                </a:cubicBezTo>
                <a:cubicBezTo>
                  <a:pt x="839" y="16"/>
                  <a:pt x="838" y="15"/>
                  <a:pt x="838" y="15"/>
                </a:cubicBezTo>
                <a:cubicBezTo>
                  <a:pt x="838" y="15"/>
                  <a:pt x="837" y="15"/>
                  <a:pt x="837" y="15"/>
                </a:cubicBezTo>
                <a:cubicBezTo>
                  <a:pt x="835" y="14"/>
                  <a:pt x="833" y="13"/>
                  <a:pt x="831" y="12"/>
                </a:cubicBezTo>
                <a:cubicBezTo>
                  <a:pt x="829" y="12"/>
                  <a:pt x="828" y="11"/>
                  <a:pt x="828" y="10"/>
                </a:cubicBezTo>
                <a:cubicBezTo>
                  <a:pt x="827" y="8"/>
                  <a:pt x="826" y="8"/>
                  <a:pt x="825" y="7"/>
                </a:cubicBezTo>
                <a:cubicBezTo>
                  <a:pt x="823" y="7"/>
                  <a:pt x="820" y="7"/>
                  <a:pt x="818" y="6"/>
                </a:cubicBezTo>
                <a:cubicBezTo>
                  <a:pt x="816" y="5"/>
                  <a:pt x="814" y="5"/>
                  <a:pt x="812" y="7"/>
                </a:cubicBezTo>
                <a:cubicBezTo>
                  <a:pt x="810" y="8"/>
                  <a:pt x="809" y="7"/>
                  <a:pt x="809" y="5"/>
                </a:cubicBezTo>
                <a:cubicBezTo>
                  <a:pt x="809" y="4"/>
                  <a:pt x="809" y="3"/>
                  <a:pt x="809" y="3"/>
                </a:cubicBezTo>
                <a:cubicBezTo>
                  <a:pt x="806" y="2"/>
                  <a:pt x="803" y="2"/>
                  <a:pt x="800" y="1"/>
                </a:cubicBezTo>
                <a:cubicBezTo>
                  <a:pt x="799" y="1"/>
                  <a:pt x="797" y="1"/>
                  <a:pt x="796" y="1"/>
                </a:cubicBezTo>
                <a:cubicBezTo>
                  <a:pt x="795" y="1"/>
                  <a:pt x="794" y="2"/>
                  <a:pt x="794" y="3"/>
                </a:cubicBezTo>
                <a:cubicBezTo>
                  <a:pt x="794" y="5"/>
                  <a:pt x="793" y="7"/>
                  <a:pt x="793" y="9"/>
                </a:cubicBezTo>
                <a:cubicBezTo>
                  <a:pt x="793" y="9"/>
                  <a:pt x="793" y="10"/>
                  <a:pt x="793" y="10"/>
                </a:cubicBezTo>
                <a:cubicBezTo>
                  <a:pt x="792" y="10"/>
                  <a:pt x="791" y="10"/>
                  <a:pt x="791" y="9"/>
                </a:cubicBezTo>
                <a:cubicBezTo>
                  <a:pt x="791" y="8"/>
                  <a:pt x="791" y="7"/>
                  <a:pt x="791" y="6"/>
                </a:cubicBezTo>
                <a:cubicBezTo>
                  <a:pt x="791" y="6"/>
                  <a:pt x="791" y="6"/>
                  <a:pt x="791" y="6"/>
                </a:cubicBezTo>
                <a:cubicBezTo>
                  <a:pt x="791" y="5"/>
                  <a:pt x="790" y="5"/>
                  <a:pt x="790" y="5"/>
                </a:cubicBezTo>
                <a:cubicBezTo>
                  <a:pt x="787" y="5"/>
                  <a:pt x="786" y="3"/>
                  <a:pt x="785" y="2"/>
                </a:cubicBezTo>
                <a:cubicBezTo>
                  <a:pt x="784" y="1"/>
                  <a:pt x="782" y="0"/>
                  <a:pt x="781" y="1"/>
                </a:cubicBezTo>
                <a:cubicBezTo>
                  <a:pt x="779" y="2"/>
                  <a:pt x="779" y="3"/>
                  <a:pt x="779" y="4"/>
                </a:cubicBezTo>
                <a:cubicBezTo>
                  <a:pt x="779" y="6"/>
                  <a:pt x="779" y="7"/>
                  <a:pt x="779" y="8"/>
                </a:cubicBezTo>
                <a:cubicBezTo>
                  <a:pt x="779" y="8"/>
                  <a:pt x="779" y="8"/>
                  <a:pt x="778" y="9"/>
                </a:cubicBezTo>
                <a:cubicBezTo>
                  <a:pt x="778" y="9"/>
                  <a:pt x="778" y="9"/>
                  <a:pt x="778" y="8"/>
                </a:cubicBezTo>
                <a:cubicBezTo>
                  <a:pt x="777" y="7"/>
                  <a:pt x="776" y="5"/>
                  <a:pt x="775" y="4"/>
                </a:cubicBezTo>
                <a:cubicBezTo>
                  <a:pt x="774" y="2"/>
                  <a:pt x="772" y="2"/>
                  <a:pt x="771" y="4"/>
                </a:cubicBezTo>
                <a:cubicBezTo>
                  <a:pt x="770" y="6"/>
                  <a:pt x="770" y="6"/>
                  <a:pt x="769" y="6"/>
                </a:cubicBezTo>
                <a:cubicBezTo>
                  <a:pt x="769" y="6"/>
                  <a:pt x="768" y="5"/>
                  <a:pt x="768" y="5"/>
                </a:cubicBezTo>
                <a:cubicBezTo>
                  <a:pt x="766" y="5"/>
                  <a:pt x="765" y="6"/>
                  <a:pt x="765" y="7"/>
                </a:cubicBezTo>
                <a:cubicBezTo>
                  <a:pt x="766" y="10"/>
                  <a:pt x="765" y="11"/>
                  <a:pt x="763" y="12"/>
                </a:cubicBezTo>
                <a:cubicBezTo>
                  <a:pt x="762" y="13"/>
                  <a:pt x="762" y="14"/>
                  <a:pt x="762" y="15"/>
                </a:cubicBezTo>
                <a:cubicBezTo>
                  <a:pt x="761" y="16"/>
                  <a:pt x="759" y="16"/>
                  <a:pt x="758" y="15"/>
                </a:cubicBezTo>
                <a:cubicBezTo>
                  <a:pt x="757" y="13"/>
                  <a:pt x="756" y="10"/>
                  <a:pt x="755" y="8"/>
                </a:cubicBezTo>
                <a:cubicBezTo>
                  <a:pt x="754" y="7"/>
                  <a:pt x="753" y="7"/>
                  <a:pt x="751" y="7"/>
                </a:cubicBezTo>
                <a:cubicBezTo>
                  <a:pt x="751" y="6"/>
                  <a:pt x="749" y="7"/>
                  <a:pt x="749" y="9"/>
                </a:cubicBezTo>
                <a:cubicBezTo>
                  <a:pt x="749" y="10"/>
                  <a:pt x="748" y="11"/>
                  <a:pt x="746" y="12"/>
                </a:cubicBezTo>
                <a:cubicBezTo>
                  <a:pt x="746" y="12"/>
                  <a:pt x="745" y="12"/>
                  <a:pt x="745" y="12"/>
                </a:cubicBezTo>
                <a:cubicBezTo>
                  <a:pt x="744" y="12"/>
                  <a:pt x="744" y="13"/>
                  <a:pt x="744" y="13"/>
                </a:cubicBezTo>
                <a:cubicBezTo>
                  <a:pt x="745" y="16"/>
                  <a:pt x="746" y="18"/>
                  <a:pt x="746" y="20"/>
                </a:cubicBezTo>
                <a:cubicBezTo>
                  <a:pt x="747" y="20"/>
                  <a:pt x="747" y="20"/>
                  <a:pt x="747" y="20"/>
                </a:cubicBezTo>
                <a:cubicBezTo>
                  <a:pt x="747" y="20"/>
                  <a:pt x="747" y="20"/>
                  <a:pt x="747" y="20"/>
                </a:cubicBezTo>
                <a:cubicBezTo>
                  <a:pt x="747" y="20"/>
                  <a:pt x="747" y="20"/>
                  <a:pt x="747" y="20"/>
                </a:cubicBezTo>
                <a:cubicBezTo>
                  <a:pt x="747" y="20"/>
                  <a:pt x="746" y="20"/>
                  <a:pt x="746" y="20"/>
                </a:cubicBezTo>
                <a:cubicBezTo>
                  <a:pt x="745" y="20"/>
                  <a:pt x="744" y="20"/>
                  <a:pt x="743" y="18"/>
                </a:cubicBezTo>
                <a:cubicBezTo>
                  <a:pt x="742" y="17"/>
                  <a:pt x="741" y="17"/>
                  <a:pt x="740" y="17"/>
                </a:cubicBezTo>
                <a:cubicBezTo>
                  <a:pt x="739" y="17"/>
                  <a:pt x="738" y="17"/>
                  <a:pt x="738" y="16"/>
                </a:cubicBezTo>
                <a:cubicBezTo>
                  <a:pt x="737" y="16"/>
                  <a:pt x="737" y="15"/>
                  <a:pt x="736" y="14"/>
                </a:cubicBezTo>
                <a:cubicBezTo>
                  <a:pt x="735" y="13"/>
                  <a:pt x="734" y="13"/>
                  <a:pt x="733" y="14"/>
                </a:cubicBezTo>
                <a:cubicBezTo>
                  <a:pt x="732" y="15"/>
                  <a:pt x="732" y="16"/>
                  <a:pt x="731" y="16"/>
                </a:cubicBezTo>
                <a:cubicBezTo>
                  <a:pt x="730" y="17"/>
                  <a:pt x="730" y="17"/>
                  <a:pt x="729" y="16"/>
                </a:cubicBezTo>
                <a:cubicBezTo>
                  <a:pt x="728" y="15"/>
                  <a:pt x="727" y="15"/>
                  <a:pt x="725" y="15"/>
                </a:cubicBezTo>
                <a:cubicBezTo>
                  <a:pt x="722" y="16"/>
                  <a:pt x="719" y="17"/>
                  <a:pt x="716" y="19"/>
                </a:cubicBezTo>
                <a:cubicBezTo>
                  <a:pt x="716" y="19"/>
                  <a:pt x="715" y="20"/>
                  <a:pt x="714" y="20"/>
                </a:cubicBezTo>
                <a:cubicBezTo>
                  <a:pt x="713" y="21"/>
                  <a:pt x="714" y="24"/>
                  <a:pt x="715" y="25"/>
                </a:cubicBezTo>
                <a:cubicBezTo>
                  <a:pt x="716" y="25"/>
                  <a:pt x="716" y="25"/>
                  <a:pt x="717" y="25"/>
                </a:cubicBezTo>
                <a:cubicBezTo>
                  <a:pt x="717" y="25"/>
                  <a:pt x="717" y="25"/>
                  <a:pt x="717" y="25"/>
                </a:cubicBezTo>
                <a:cubicBezTo>
                  <a:pt x="717" y="25"/>
                  <a:pt x="717" y="25"/>
                  <a:pt x="717" y="25"/>
                </a:cubicBezTo>
                <a:cubicBezTo>
                  <a:pt x="717" y="24"/>
                  <a:pt x="718" y="24"/>
                  <a:pt x="718" y="23"/>
                </a:cubicBezTo>
                <a:cubicBezTo>
                  <a:pt x="718" y="23"/>
                  <a:pt x="719" y="23"/>
                  <a:pt x="719" y="23"/>
                </a:cubicBezTo>
                <a:cubicBezTo>
                  <a:pt x="720" y="24"/>
                  <a:pt x="720" y="24"/>
                  <a:pt x="719" y="25"/>
                </a:cubicBezTo>
                <a:cubicBezTo>
                  <a:pt x="718" y="25"/>
                  <a:pt x="718" y="25"/>
                  <a:pt x="717" y="25"/>
                </a:cubicBezTo>
                <a:cubicBezTo>
                  <a:pt x="717" y="25"/>
                  <a:pt x="717" y="25"/>
                  <a:pt x="717" y="25"/>
                </a:cubicBezTo>
                <a:cubicBezTo>
                  <a:pt x="717" y="25"/>
                  <a:pt x="717" y="25"/>
                  <a:pt x="717" y="25"/>
                </a:cubicBezTo>
                <a:cubicBezTo>
                  <a:pt x="717" y="26"/>
                  <a:pt x="717" y="27"/>
                  <a:pt x="717" y="28"/>
                </a:cubicBezTo>
                <a:cubicBezTo>
                  <a:pt x="718" y="30"/>
                  <a:pt x="718" y="30"/>
                  <a:pt x="717" y="31"/>
                </a:cubicBezTo>
                <a:cubicBezTo>
                  <a:pt x="717" y="32"/>
                  <a:pt x="716" y="32"/>
                  <a:pt x="716" y="33"/>
                </a:cubicBezTo>
                <a:cubicBezTo>
                  <a:pt x="714" y="35"/>
                  <a:pt x="715" y="37"/>
                  <a:pt x="717" y="38"/>
                </a:cubicBezTo>
                <a:cubicBezTo>
                  <a:pt x="717" y="38"/>
                  <a:pt x="718" y="38"/>
                  <a:pt x="718" y="38"/>
                </a:cubicBezTo>
                <a:cubicBezTo>
                  <a:pt x="718" y="39"/>
                  <a:pt x="718" y="39"/>
                  <a:pt x="717" y="39"/>
                </a:cubicBezTo>
                <a:cubicBezTo>
                  <a:pt x="717" y="39"/>
                  <a:pt x="716" y="39"/>
                  <a:pt x="716" y="39"/>
                </a:cubicBezTo>
                <a:cubicBezTo>
                  <a:pt x="714" y="39"/>
                  <a:pt x="713" y="41"/>
                  <a:pt x="714" y="42"/>
                </a:cubicBezTo>
                <a:cubicBezTo>
                  <a:pt x="714" y="45"/>
                  <a:pt x="715" y="46"/>
                  <a:pt x="717" y="48"/>
                </a:cubicBezTo>
                <a:cubicBezTo>
                  <a:pt x="718" y="50"/>
                  <a:pt x="720" y="50"/>
                  <a:pt x="722" y="50"/>
                </a:cubicBezTo>
                <a:cubicBezTo>
                  <a:pt x="722" y="50"/>
                  <a:pt x="722" y="50"/>
                  <a:pt x="722" y="50"/>
                </a:cubicBezTo>
                <a:cubicBezTo>
                  <a:pt x="722" y="50"/>
                  <a:pt x="722" y="49"/>
                  <a:pt x="722" y="49"/>
                </a:cubicBezTo>
                <a:cubicBezTo>
                  <a:pt x="722" y="50"/>
                  <a:pt x="722" y="50"/>
                  <a:pt x="722" y="50"/>
                </a:cubicBezTo>
                <a:cubicBezTo>
                  <a:pt x="722" y="50"/>
                  <a:pt x="722" y="50"/>
                  <a:pt x="722" y="50"/>
                </a:cubicBezTo>
                <a:cubicBezTo>
                  <a:pt x="722" y="51"/>
                  <a:pt x="723" y="52"/>
                  <a:pt x="723" y="53"/>
                </a:cubicBezTo>
                <a:cubicBezTo>
                  <a:pt x="725" y="55"/>
                  <a:pt x="728" y="56"/>
                  <a:pt x="731" y="57"/>
                </a:cubicBezTo>
                <a:cubicBezTo>
                  <a:pt x="734" y="57"/>
                  <a:pt x="736" y="56"/>
                  <a:pt x="738" y="55"/>
                </a:cubicBezTo>
                <a:cubicBezTo>
                  <a:pt x="738" y="55"/>
                  <a:pt x="738" y="55"/>
                  <a:pt x="738" y="55"/>
                </a:cubicBezTo>
                <a:cubicBezTo>
                  <a:pt x="738" y="55"/>
                  <a:pt x="738" y="55"/>
                  <a:pt x="738" y="55"/>
                </a:cubicBezTo>
                <a:cubicBezTo>
                  <a:pt x="738" y="55"/>
                  <a:pt x="738" y="55"/>
                  <a:pt x="738" y="55"/>
                </a:cubicBezTo>
                <a:cubicBezTo>
                  <a:pt x="738" y="56"/>
                  <a:pt x="738" y="57"/>
                  <a:pt x="739" y="58"/>
                </a:cubicBezTo>
                <a:cubicBezTo>
                  <a:pt x="742" y="60"/>
                  <a:pt x="746" y="61"/>
                  <a:pt x="749" y="60"/>
                </a:cubicBezTo>
                <a:cubicBezTo>
                  <a:pt x="753" y="60"/>
                  <a:pt x="757" y="59"/>
                  <a:pt x="760" y="55"/>
                </a:cubicBezTo>
                <a:cubicBezTo>
                  <a:pt x="760" y="54"/>
                  <a:pt x="761" y="54"/>
                  <a:pt x="762" y="54"/>
                </a:cubicBezTo>
                <a:cubicBezTo>
                  <a:pt x="762" y="53"/>
                  <a:pt x="762" y="53"/>
                  <a:pt x="762" y="53"/>
                </a:cubicBezTo>
                <a:cubicBezTo>
                  <a:pt x="762" y="53"/>
                  <a:pt x="762" y="53"/>
                  <a:pt x="762" y="53"/>
                </a:cubicBezTo>
                <a:cubicBezTo>
                  <a:pt x="762" y="54"/>
                  <a:pt x="762" y="54"/>
                  <a:pt x="762" y="54"/>
                </a:cubicBezTo>
                <a:cubicBezTo>
                  <a:pt x="762" y="54"/>
                  <a:pt x="762" y="54"/>
                  <a:pt x="762" y="55"/>
                </a:cubicBezTo>
                <a:cubicBezTo>
                  <a:pt x="761" y="55"/>
                  <a:pt x="761" y="55"/>
                  <a:pt x="761" y="56"/>
                </a:cubicBezTo>
                <a:cubicBezTo>
                  <a:pt x="761" y="57"/>
                  <a:pt x="761" y="58"/>
                  <a:pt x="762" y="58"/>
                </a:cubicBezTo>
                <a:cubicBezTo>
                  <a:pt x="764" y="59"/>
                  <a:pt x="766" y="59"/>
                  <a:pt x="767" y="60"/>
                </a:cubicBezTo>
                <a:cubicBezTo>
                  <a:pt x="767" y="60"/>
                  <a:pt x="768" y="60"/>
                  <a:pt x="768" y="60"/>
                </a:cubicBezTo>
                <a:cubicBezTo>
                  <a:pt x="768" y="60"/>
                  <a:pt x="768" y="60"/>
                  <a:pt x="768" y="60"/>
                </a:cubicBezTo>
                <a:cubicBezTo>
                  <a:pt x="768" y="60"/>
                  <a:pt x="768" y="60"/>
                  <a:pt x="768" y="60"/>
                </a:cubicBezTo>
                <a:cubicBezTo>
                  <a:pt x="767" y="60"/>
                  <a:pt x="767" y="60"/>
                  <a:pt x="767" y="60"/>
                </a:cubicBezTo>
                <a:cubicBezTo>
                  <a:pt x="761" y="60"/>
                  <a:pt x="755" y="60"/>
                  <a:pt x="750" y="62"/>
                </a:cubicBezTo>
                <a:cubicBezTo>
                  <a:pt x="747" y="64"/>
                  <a:pt x="745" y="64"/>
                  <a:pt x="742" y="63"/>
                </a:cubicBezTo>
                <a:cubicBezTo>
                  <a:pt x="741" y="62"/>
                  <a:pt x="739" y="62"/>
                  <a:pt x="737" y="62"/>
                </a:cubicBezTo>
                <a:cubicBezTo>
                  <a:pt x="736" y="62"/>
                  <a:pt x="735" y="63"/>
                  <a:pt x="734" y="64"/>
                </a:cubicBezTo>
                <a:cubicBezTo>
                  <a:pt x="734" y="66"/>
                  <a:pt x="734" y="68"/>
                  <a:pt x="734" y="71"/>
                </a:cubicBezTo>
                <a:cubicBezTo>
                  <a:pt x="734" y="72"/>
                  <a:pt x="734" y="72"/>
                  <a:pt x="733" y="72"/>
                </a:cubicBezTo>
                <a:cubicBezTo>
                  <a:pt x="733" y="72"/>
                  <a:pt x="733" y="71"/>
                  <a:pt x="733" y="71"/>
                </a:cubicBezTo>
                <a:cubicBezTo>
                  <a:pt x="732" y="65"/>
                  <a:pt x="729" y="61"/>
                  <a:pt x="723" y="58"/>
                </a:cubicBezTo>
                <a:cubicBezTo>
                  <a:pt x="723" y="58"/>
                  <a:pt x="723" y="58"/>
                  <a:pt x="723" y="58"/>
                </a:cubicBezTo>
                <a:cubicBezTo>
                  <a:pt x="721" y="57"/>
                  <a:pt x="720" y="57"/>
                  <a:pt x="719" y="58"/>
                </a:cubicBezTo>
                <a:cubicBezTo>
                  <a:pt x="717" y="60"/>
                  <a:pt x="715" y="62"/>
                  <a:pt x="713" y="64"/>
                </a:cubicBezTo>
                <a:cubicBezTo>
                  <a:pt x="714" y="65"/>
                  <a:pt x="715" y="66"/>
                  <a:pt x="714" y="67"/>
                </a:cubicBezTo>
                <a:close/>
                <a:moveTo>
                  <a:pt x="696" y="122"/>
                </a:moveTo>
                <a:cubicBezTo>
                  <a:pt x="695" y="122"/>
                  <a:pt x="695" y="121"/>
                  <a:pt x="695" y="121"/>
                </a:cubicBezTo>
                <a:cubicBezTo>
                  <a:pt x="695" y="121"/>
                  <a:pt x="696" y="121"/>
                  <a:pt x="696" y="122"/>
                </a:cubicBezTo>
                <a:cubicBezTo>
                  <a:pt x="696" y="122"/>
                  <a:pt x="696" y="122"/>
                  <a:pt x="696" y="122"/>
                </a:cubicBezTo>
                <a:close/>
                <a:moveTo>
                  <a:pt x="700" y="108"/>
                </a:moveTo>
                <a:cubicBezTo>
                  <a:pt x="699" y="108"/>
                  <a:pt x="699" y="108"/>
                  <a:pt x="699" y="108"/>
                </a:cubicBezTo>
                <a:cubicBezTo>
                  <a:pt x="699" y="107"/>
                  <a:pt x="699" y="107"/>
                  <a:pt x="699" y="107"/>
                </a:cubicBezTo>
                <a:cubicBezTo>
                  <a:pt x="700" y="107"/>
                  <a:pt x="700" y="107"/>
                  <a:pt x="700" y="107"/>
                </a:cubicBezTo>
                <a:lnTo>
                  <a:pt x="700" y="108"/>
                </a:lnTo>
                <a:close/>
                <a:moveTo>
                  <a:pt x="709" y="128"/>
                </a:moveTo>
                <a:cubicBezTo>
                  <a:pt x="709" y="128"/>
                  <a:pt x="709" y="128"/>
                  <a:pt x="709" y="128"/>
                </a:cubicBezTo>
                <a:cubicBezTo>
                  <a:pt x="709" y="128"/>
                  <a:pt x="708" y="128"/>
                  <a:pt x="708" y="129"/>
                </a:cubicBezTo>
                <a:cubicBezTo>
                  <a:pt x="708" y="129"/>
                  <a:pt x="708" y="129"/>
                  <a:pt x="708" y="129"/>
                </a:cubicBezTo>
                <a:cubicBezTo>
                  <a:pt x="708" y="129"/>
                  <a:pt x="707" y="129"/>
                  <a:pt x="707" y="129"/>
                </a:cubicBezTo>
                <a:cubicBezTo>
                  <a:pt x="707" y="129"/>
                  <a:pt x="708" y="129"/>
                  <a:pt x="708" y="129"/>
                </a:cubicBezTo>
                <a:cubicBezTo>
                  <a:pt x="708" y="128"/>
                  <a:pt x="708" y="128"/>
                  <a:pt x="709" y="128"/>
                </a:cubicBezTo>
                <a:cubicBezTo>
                  <a:pt x="709" y="128"/>
                  <a:pt x="709" y="127"/>
                  <a:pt x="709" y="127"/>
                </a:cubicBezTo>
                <a:cubicBezTo>
                  <a:pt x="709" y="127"/>
                  <a:pt x="709" y="128"/>
                  <a:pt x="709" y="128"/>
                </a:cubicBezTo>
                <a:close/>
                <a:moveTo>
                  <a:pt x="817" y="57"/>
                </a:moveTo>
                <a:cubicBezTo>
                  <a:pt x="817" y="57"/>
                  <a:pt x="817" y="57"/>
                  <a:pt x="817" y="58"/>
                </a:cubicBezTo>
                <a:cubicBezTo>
                  <a:pt x="817" y="58"/>
                  <a:pt x="817" y="58"/>
                  <a:pt x="817" y="58"/>
                </a:cubicBezTo>
                <a:cubicBezTo>
                  <a:pt x="817" y="58"/>
                  <a:pt x="817" y="58"/>
                  <a:pt x="816" y="58"/>
                </a:cubicBezTo>
                <a:cubicBezTo>
                  <a:pt x="817" y="58"/>
                  <a:pt x="817" y="57"/>
                  <a:pt x="817" y="57"/>
                </a:cubicBezTo>
                <a:close/>
                <a:moveTo>
                  <a:pt x="724" y="48"/>
                </a:moveTo>
                <a:cubicBezTo>
                  <a:pt x="724" y="48"/>
                  <a:pt x="724" y="48"/>
                  <a:pt x="723" y="48"/>
                </a:cubicBezTo>
                <a:cubicBezTo>
                  <a:pt x="724" y="48"/>
                  <a:pt x="724" y="48"/>
                  <a:pt x="724" y="48"/>
                </a:cubicBezTo>
                <a:cubicBezTo>
                  <a:pt x="724" y="48"/>
                  <a:pt x="724" y="48"/>
                  <a:pt x="724" y="48"/>
                </a:cubicBezTo>
                <a:close/>
                <a:moveTo>
                  <a:pt x="751" y="91"/>
                </a:moveTo>
                <a:cubicBezTo>
                  <a:pt x="750" y="91"/>
                  <a:pt x="750" y="91"/>
                  <a:pt x="750" y="91"/>
                </a:cubicBezTo>
                <a:cubicBezTo>
                  <a:pt x="750" y="91"/>
                  <a:pt x="750" y="91"/>
                  <a:pt x="750" y="91"/>
                </a:cubicBezTo>
                <a:lnTo>
                  <a:pt x="751" y="91"/>
                </a:lnTo>
                <a:close/>
                <a:moveTo>
                  <a:pt x="640" y="254"/>
                </a:moveTo>
                <a:cubicBezTo>
                  <a:pt x="644" y="255"/>
                  <a:pt x="647" y="258"/>
                  <a:pt x="650" y="257"/>
                </a:cubicBezTo>
                <a:cubicBezTo>
                  <a:pt x="651" y="257"/>
                  <a:pt x="651" y="257"/>
                  <a:pt x="651" y="257"/>
                </a:cubicBezTo>
                <a:cubicBezTo>
                  <a:pt x="652" y="258"/>
                  <a:pt x="652" y="258"/>
                  <a:pt x="653" y="258"/>
                </a:cubicBezTo>
                <a:cubicBezTo>
                  <a:pt x="654" y="259"/>
                  <a:pt x="655" y="261"/>
                  <a:pt x="657" y="262"/>
                </a:cubicBezTo>
                <a:cubicBezTo>
                  <a:pt x="657" y="262"/>
                  <a:pt x="658" y="262"/>
                  <a:pt x="659" y="262"/>
                </a:cubicBezTo>
                <a:cubicBezTo>
                  <a:pt x="660" y="262"/>
                  <a:pt x="660" y="261"/>
                  <a:pt x="661" y="260"/>
                </a:cubicBezTo>
                <a:cubicBezTo>
                  <a:pt x="660" y="260"/>
                  <a:pt x="659" y="259"/>
                  <a:pt x="659" y="258"/>
                </a:cubicBezTo>
                <a:cubicBezTo>
                  <a:pt x="659" y="258"/>
                  <a:pt x="659" y="258"/>
                  <a:pt x="659" y="258"/>
                </a:cubicBezTo>
                <a:cubicBezTo>
                  <a:pt x="657" y="258"/>
                  <a:pt x="656" y="258"/>
                  <a:pt x="656" y="257"/>
                </a:cubicBezTo>
                <a:cubicBezTo>
                  <a:pt x="656" y="257"/>
                  <a:pt x="656" y="257"/>
                  <a:pt x="656" y="257"/>
                </a:cubicBezTo>
                <a:cubicBezTo>
                  <a:pt x="655" y="256"/>
                  <a:pt x="655" y="256"/>
                  <a:pt x="655" y="256"/>
                </a:cubicBezTo>
                <a:cubicBezTo>
                  <a:pt x="656" y="256"/>
                  <a:pt x="656" y="256"/>
                  <a:pt x="656" y="256"/>
                </a:cubicBezTo>
                <a:cubicBezTo>
                  <a:pt x="656" y="257"/>
                  <a:pt x="656" y="257"/>
                  <a:pt x="656" y="257"/>
                </a:cubicBezTo>
                <a:cubicBezTo>
                  <a:pt x="657" y="257"/>
                  <a:pt x="658" y="257"/>
                  <a:pt x="659" y="258"/>
                </a:cubicBezTo>
                <a:cubicBezTo>
                  <a:pt x="659" y="258"/>
                  <a:pt x="659" y="258"/>
                  <a:pt x="659" y="258"/>
                </a:cubicBezTo>
                <a:cubicBezTo>
                  <a:pt x="660" y="259"/>
                  <a:pt x="660" y="260"/>
                  <a:pt x="661" y="260"/>
                </a:cubicBezTo>
                <a:cubicBezTo>
                  <a:pt x="661" y="260"/>
                  <a:pt x="661" y="260"/>
                  <a:pt x="661" y="260"/>
                </a:cubicBezTo>
                <a:cubicBezTo>
                  <a:pt x="662" y="260"/>
                  <a:pt x="663" y="260"/>
                  <a:pt x="665" y="260"/>
                </a:cubicBezTo>
                <a:cubicBezTo>
                  <a:pt x="667" y="259"/>
                  <a:pt x="668" y="257"/>
                  <a:pt x="668" y="255"/>
                </a:cubicBezTo>
                <a:cubicBezTo>
                  <a:pt x="668" y="254"/>
                  <a:pt x="668" y="253"/>
                  <a:pt x="668" y="252"/>
                </a:cubicBezTo>
                <a:cubicBezTo>
                  <a:pt x="668" y="252"/>
                  <a:pt x="668" y="252"/>
                  <a:pt x="668" y="252"/>
                </a:cubicBezTo>
                <a:cubicBezTo>
                  <a:pt x="668" y="251"/>
                  <a:pt x="668" y="251"/>
                  <a:pt x="668" y="251"/>
                </a:cubicBezTo>
                <a:cubicBezTo>
                  <a:pt x="666" y="250"/>
                  <a:pt x="666" y="250"/>
                  <a:pt x="668" y="248"/>
                </a:cubicBezTo>
                <a:cubicBezTo>
                  <a:pt x="668" y="248"/>
                  <a:pt x="668" y="248"/>
                  <a:pt x="668" y="248"/>
                </a:cubicBezTo>
                <a:cubicBezTo>
                  <a:pt x="668" y="247"/>
                  <a:pt x="668" y="247"/>
                  <a:pt x="668" y="248"/>
                </a:cubicBezTo>
                <a:cubicBezTo>
                  <a:pt x="668" y="248"/>
                  <a:pt x="668" y="248"/>
                  <a:pt x="668" y="248"/>
                </a:cubicBezTo>
                <a:cubicBezTo>
                  <a:pt x="668" y="248"/>
                  <a:pt x="668" y="248"/>
                  <a:pt x="668" y="248"/>
                </a:cubicBezTo>
                <a:cubicBezTo>
                  <a:pt x="668" y="249"/>
                  <a:pt x="668" y="250"/>
                  <a:pt x="668" y="251"/>
                </a:cubicBezTo>
                <a:cubicBezTo>
                  <a:pt x="668" y="251"/>
                  <a:pt x="668" y="251"/>
                  <a:pt x="668" y="251"/>
                </a:cubicBezTo>
                <a:cubicBezTo>
                  <a:pt x="668" y="252"/>
                  <a:pt x="668" y="252"/>
                  <a:pt x="668" y="252"/>
                </a:cubicBezTo>
                <a:cubicBezTo>
                  <a:pt x="670" y="252"/>
                  <a:pt x="671" y="253"/>
                  <a:pt x="673" y="254"/>
                </a:cubicBezTo>
                <a:cubicBezTo>
                  <a:pt x="673" y="254"/>
                  <a:pt x="674" y="255"/>
                  <a:pt x="674" y="255"/>
                </a:cubicBezTo>
                <a:cubicBezTo>
                  <a:pt x="674" y="256"/>
                  <a:pt x="674" y="256"/>
                  <a:pt x="674" y="256"/>
                </a:cubicBezTo>
                <a:cubicBezTo>
                  <a:pt x="673" y="258"/>
                  <a:pt x="672" y="259"/>
                  <a:pt x="672" y="260"/>
                </a:cubicBezTo>
                <a:cubicBezTo>
                  <a:pt x="672" y="262"/>
                  <a:pt x="674" y="263"/>
                  <a:pt x="674" y="264"/>
                </a:cubicBezTo>
                <a:cubicBezTo>
                  <a:pt x="675" y="267"/>
                  <a:pt x="676" y="270"/>
                  <a:pt x="678" y="272"/>
                </a:cubicBezTo>
                <a:cubicBezTo>
                  <a:pt x="679" y="272"/>
                  <a:pt x="679" y="273"/>
                  <a:pt x="678" y="274"/>
                </a:cubicBezTo>
                <a:cubicBezTo>
                  <a:pt x="677" y="274"/>
                  <a:pt x="676" y="274"/>
                  <a:pt x="675" y="275"/>
                </a:cubicBezTo>
                <a:cubicBezTo>
                  <a:pt x="675" y="275"/>
                  <a:pt x="674" y="276"/>
                  <a:pt x="674" y="277"/>
                </a:cubicBezTo>
                <a:cubicBezTo>
                  <a:pt x="674" y="277"/>
                  <a:pt x="674" y="278"/>
                  <a:pt x="675" y="278"/>
                </a:cubicBezTo>
                <a:cubicBezTo>
                  <a:pt x="677" y="279"/>
                  <a:pt x="679" y="277"/>
                  <a:pt x="682" y="278"/>
                </a:cubicBezTo>
                <a:cubicBezTo>
                  <a:pt x="682" y="278"/>
                  <a:pt x="682" y="279"/>
                  <a:pt x="682" y="279"/>
                </a:cubicBezTo>
                <a:cubicBezTo>
                  <a:pt x="683" y="279"/>
                  <a:pt x="683" y="280"/>
                  <a:pt x="682" y="280"/>
                </a:cubicBezTo>
                <a:cubicBezTo>
                  <a:pt x="681" y="281"/>
                  <a:pt x="680" y="281"/>
                  <a:pt x="680" y="281"/>
                </a:cubicBezTo>
                <a:cubicBezTo>
                  <a:pt x="679" y="282"/>
                  <a:pt x="679" y="283"/>
                  <a:pt x="679" y="284"/>
                </a:cubicBezTo>
                <a:cubicBezTo>
                  <a:pt x="680" y="284"/>
                  <a:pt x="680" y="284"/>
                  <a:pt x="681" y="284"/>
                </a:cubicBezTo>
                <a:cubicBezTo>
                  <a:pt x="681" y="284"/>
                  <a:pt x="682" y="284"/>
                  <a:pt x="683" y="284"/>
                </a:cubicBezTo>
                <a:cubicBezTo>
                  <a:pt x="685" y="283"/>
                  <a:pt x="687" y="284"/>
                  <a:pt x="687" y="286"/>
                </a:cubicBezTo>
                <a:cubicBezTo>
                  <a:pt x="687" y="287"/>
                  <a:pt x="688" y="288"/>
                  <a:pt x="688" y="288"/>
                </a:cubicBezTo>
                <a:cubicBezTo>
                  <a:pt x="691" y="289"/>
                  <a:pt x="691" y="291"/>
                  <a:pt x="691" y="294"/>
                </a:cubicBezTo>
                <a:cubicBezTo>
                  <a:pt x="690" y="296"/>
                  <a:pt x="690" y="299"/>
                  <a:pt x="690" y="302"/>
                </a:cubicBezTo>
                <a:cubicBezTo>
                  <a:pt x="690" y="303"/>
                  <a:pt x="689" y="305"/>
                  <a:pt x="688" y="305"/>
                </a:cubicBezTo>
                <a:cubicBezTo>
                  <a:pt x="686" y="305"/>
                  <a:pt x="685" y="306"/>
                  <a:pt x="684" y="308"/>
                </a:cubicBezTo>
                <a:cubicBezTo>
                  <a:pt x="682" y="310"/>
                  <a:pt x="680" y="312"/>
                  <a:pt x="677" y="313"/>
                </a:cubicBezTo>
                <a:cubicBezTo>
                  <a:pt x="673" y="317"/>
                  <a:pt x="671" y="317"/>
                  <a:pt x="674" y="324"/>
                </a:cubicBezTo>
                <a:cubicBezTo>
                  <a:pt x="674" y="324"/>
                  <a:pt x="674" y="325"/>
                  <a:pt x="673" y="325"/>
                </a:cubicBezTo>
                <a:cubicBezTo>
                  <a:pt x="670" y="325"/>
                  <a:pt x="668" y="326"/>
                  <a:pt x="665" y="327"/>
                </a:cubicBezTo>
                <a:cubicBezTo>
                  <a:pt x="662" y="328"/>
                  <a:pt x="659" y="328"/>
                  <a:pt x="657" y="326"/>
                </a:cubicBezTo>
                <a:cubicBezTo>
                  <a:pt x="655" y="326"/>
                  <a:pt x="654" y="325"/>
                  <a:pt x="652" y="324"/>
                </a:cubicBezTo>
                <a:cubicBezTo>
                  <a:pt x="652" y="324"/>
                  <a:pt x="651" y="324"/>
                  <a:pt x="650" y="324"/>
                </a:cubicBezTo>
                <a:cubicBezTo>
                  <a:pt x="649" y="326"/>
                  <a:pt x="647" y="328"/>
                  <a:pt x="645" y="329"/>
                </a:cubicBezTo>
                <a:cubicBezTo>
                  <a:pt x="645" y="330"/>
                  <a:pt x="644" y="331"/>
                  <a:pt x="643" y="332"/>
                </a:cubicBezTo>
                <a:cubicBezTo>
                  <a:pt x="643" y="334"/>
                  <a:pt x="643" y="336"/>
                  <a:pt x="644" y="337"/>
                </a:cubicBezTo>
                <a:cubicBezTo>
                  <a:pt x="647" y="340"/>
                  <a:pt x="650" y="342"/>
                  <a:pt x="654" y="340"/>
                </a:cubicBezTo>
                <a:cubicBezTo>
                  <a:pt x="655" y="339"/>
                  <a:pt x="656" y="339"/>
                  <a:pt x="657" y="339"/>
                </a:cubicBezTo>
                <a:cubicBezTo>
                  <a:pt x="658" y="339"/>
                  <a:pt x="659" y="339"/>
                  <a:pt x="659" y="339"/>
                </a:cubicBezTo>
                <a:cubicBezTo>
                  <a:pt x="662" y="340"/>
                  <a:pt x="665" y="339"/>
                  <a:pt x="668" y="340"/>
                </a:cubicBezTo>
                <a:cubicBezTo>
                  <a:pt x="670" y="340"/>
                  <a:pt x="671" y="341"/>
                  <a:pt x="672" y="342"/>
                </a:cubicBezTo>
                <a:cubicBezTo>
                  <a:pt x="673" y="345"/>
                  <a:pt x="674" y="348"/>
                  <a:pt x="676" y="350"/>
                </a:cubicBezTo>
                <a:cubicBezTo>
                  <a:pt x="677" y="352"/>
                  <a:pt x="678" y="353"/>
                  <a:pt x="677" y="355"/>
                </a:cubicBezTo>
                <a:cubicBezTo>
                  <a:pt x="676" y="356"/>
                  <a:pt x="677" y="357"/>
                  <a:pt x="677" y="358"/>
                </a:cubicBezTo>
                <a:cubicBezTo>
                  <a:pt x="679" y="360"/>
                  <a:pt x="681" y="362"/>
                  <a:pt x="683" y="363"/>
                </a:cubicBezTo>
                <a:cubicBezTo>
                  <a:pt x="683" y="364"/>
                  <a:pt x="683" y="364"/>
                  <a:pt x="683" y="364"/>
                </a:cubicBezTo>
                <a:cubicBezTo>
                  <a:pt x="684" y="364"/>
                  <a:pt x="684" y="364"/>
                  <a:pt x="684" y="364"/>
                </a:cubicBezTo>
                <a:cubicBezTo>
                  <a:pt x="684" y="363"/>
                  <a:pt x="684" y="363"/>
                  <a:pt x="684" y="363"/>
                </a:cubicBezTo>
                <a:cubicBezTo>
                  <a:pt x="685" y="364"/>
                  <a:pt x="687" y="366"/>
                  <a:pt x="688" y="367"/>
                </a:cubicBezTo>
                <a:cubicBezTo>
                  <a:pt x="691" y="370"/>
                  <a:pt x="693" y="372"/>
                  <a:pt x="697" y="373"/>
                </a:cubicBezTo>
                <a:cubicBezTo>
                  <a:pt x="698" y="373"/>
                  <a:pt x="700" y="375"/>
                  <a:pt x="701" y="375"/>
                </a:cubicBezTo>
                <a:cubicBezTo>
                  <a:pt x="703" y="376"/>
                  <a:pt x="704" y="377"/>
                  <a:pt x="706" y="377"/>
                </a:cubicBezTo>
                <a:cubicBezTo>
                  <a:pt x="706" y="377"/>
                  <a:pt x="707" y="377"/>
                  <a:pt x="707" y="376"/>
                </a:cubicBezTo>
                <a:cubicBezTo>
                  <a:pt x="708" y="375"/>
                  <a:pt x="708" y="373"/>
                  <a:pt x="708" y="371"/>
                </a:cubicBezTo>
                <a:cubicBezTo>
                  <a:pt x="705" y="367"/>
                  <a:pt x="703" y="363"/>
                  <a:pt x="699" y="359"/>
                </a:cubicBezTo>
                <a:cubicBezTo>
                  <a:pt x="698" y="358"/>
                  <a:pt x="698" y="357"/>
                  <a:pt x="698" y="355"/>
                </a:cubicBezTo>
                <a:cubicBezTo>
                  <a:pt x="698" y="355"/>
                  <a:pt x="698" y="355"/>
                  <a:pt x="698" y="355"/>
                </a:cubicBezTo>
                <a:cubicBezTo>
                  <a:pt x="698" y="355"/>
                  <a:pt x="697" y="354"/>
                  <a:pt x="697" y="354"/>
                </a:cubicBezTo>
                <a:cubicBezTo>
                  <a:pt x="697" y="354"/>
                  <a:pt x="697" y="354"/>
                  <a:pt x="697" y="354"/>
                </a:cubicBezTo>
                <a:cubicBezTo>
                  <a:pt x="697" y="354"/>
                  <a:pt x="697" y="354"/>
                  <a:pt x="697" y="354"/>
                </a:cubicBezTo>
                <a:cubicBezTo>
                  <a:pt x="697" y="354"/>
                  <a:pt x="697" y="354"/>
                  <a:pt x="697" y="354"/>
                </a:cubicBezTo>
                <a:cubicBezTo>
                  <a:pt x="698" y="354"/>
                  <a:pt x="698" y="355"/>
                  <a:pt x="698" y="355"/>
                </a:cubicBezTo>
                <a:cubicBezTo>
                  <a:pt x="698" y="355"/>
                  <a:pt x="698" y="355"/>
                  <a:pt x="698" y="355"/>
                </a:cubicBezTo>
                <a:cubicBezTo>
                  <a:pt x="700" y="356"/>
                  <a:pt x="703" y="357"/>
                  <a:pt x="705" y="360"/>
                </a:cubicBezTo>
                <a:cubicBezTo>
                  <a:pt x="706" y="361"/>
                  <a:pt x="708" y="363"/>
                  <a:pt x="710" y="364"/>
                </a:cubicBezTo>
                <a:cubicBezTo>
                  <a:pt x="712" y="364"/>
                  <a:pt x="713" y="366"/>
                  <a:pt x="714" y="367"/>
                </a:cubicBezTo>
                <a:cubicBezTo>
                  <a:pt x="715" y="369"/>
                  <a:pt x="715" y="370"/>
                  <a:pt x="716" y="372"/>
                </a:cubicBezTo>
                <a:cubicBezTo>
                  <a:pt x="717" y="372"/>
                  <a:pt x="717" y="373"/>
                  <a:pt x="718" y="373"/>
                </a:cubicBezTo>
                <a:cubicBezTo>
                  <a:pt x="718" y="372"/>
                  <a:pt x="719" y="372"/>
                  <a:pt x="718" y="371"/>
                </a:cubicBezTo>
                <a:cubicBezTo>
                  <a:pt x="717" y="369"/>
                  <a:pt x="717" y="367"/>
                  <a:pt x="719" y="365"/>
                </a:cubicBezTo>
                <a:cubicBezTo>
                  <a:pt x="720" y="363"/>
                  <a:pt x="720" y="362"/>
                  <a:pt x="722" y="361"/>
                </a:cubicBezTo>
                <a:cubicBezTo>
                  <a:pt x="723" y="360"/>
                  <a:pt x="723" y="358"/>
                  <a:pt x="723" y="357"/>
                </a:cubicBezTo>
                <a:cubicBezTo>
                  <a:pt x="723" y="356"/>
                  <a:pt x="723" y="355"/>
                  <a:pt x="722" y="354"/>
                </a:cubicBezTo>
                <a:cubicBezTo>
                  <a:pt x="721" y="351"/>
                  <a:pt x="720" y="348"/>
                  <a:pt x="721" y="345"/>
                </a:cubicBezTo>
                <a:cubicBezTo>
                  <a:pt x="721" y="343"/>
                  <a:pt x="720" y="342"/>
                  <a:pt x="718" y="341"/>
                </a:cubicBezTo>
                <a:cubicBezTo>
                  <a:pt x="717" y="340"/>
                  <a:pt x="715" y="338"/>
                  <a:pt x="714" y="337"/>
                </a:cubicBezTo>
                <a:cubicBezTo>
                  <a:pt x="713" y="336"/>
                  <a:pt x="713" y="335"/>
                  <a:pt x="713" y="334"/>
                </a:cubicBezTo>
                <a:cubicBezTo>
                  <a:pt x="713" y="331"/>
                  <a:pt x="712" y="329"/>
                  <a:pt x="710" y="327"/>
                </a:cubicBezTo>
                <a:cubicBezTo>
                  <a:pt x="710" y="326"/>
                  <a:pt x="710" y="326"/>
                  <a:pt x="710" y="325"/>
                </a:cubicBezTo>
                <a:cubicBezTo>
                  <a:pt x="710" y="325"/>
                  <a:pt x="710" y="325"/>
                  <a:pt x="710" y="325"/>
                </a:cubicBezTo>
                <a:cubicBezTo>
                  <a:pt x="710" y="325"/>
                  <a:pt x="710" y="325"/>
                  <a:pt x="710" y="325"/>
                </a:cubicBezTo>
                <a:cubicBezTo>
                  <a:pt x="710" y="325"/>
                  <a:pt x="710" y="325"/>
                  <a:pt x="710" y="325"/>
                </a:cubicBezTo>
                <a:cubicBezTo>
                  <a:pt x="710" y="325"/>
                  <a:pt x="710" y="325"/>
                  <a:pt x="710" y="325"/>
                </a:cubicBezTo>
                <a:cubicBezTo>
                  <a:pt x="711" y="325"/>
                  <a:pt x="711" y="325"/>
                  <a:pt x="712" y="325"/>
                </a:cubicBezTo>
                <a:cubicBezTo>
                  <a:pt x="714" y="325"/>
                  <a:pt x="715" y="325"/>
                  <a:pt x="715" y="322"/>
                </a:cubicBezTo>
                <a:cubicBezTo>
                  <a:pt x="715" y="322"/>
                  <a:pt x="716" y="321"/>
                  <a:pt x="716" y="320"/>
                </a:cubicBezTo>
                <a:cubicBezTo>
                  <a:pt x="716" y="319"/>
                  <a:pt x="718" y="319"/>
                  <a:pt x="718" y="320"/>
                </a:cubicBezTo>
                <a:cubicBezTo>
                  <a:pt x="719" y="322"/>
                  <a:pt x="721" y="323"/>
                  <a:pt x="722" y="325"/>
                </a:cubicBezTo>
                <a:cubicBezTo>
                  <a:pt x="723" y="327"/>
                  <a:pt x="725" y="329"/>
                  <a:pt x="725" y="332"/>
                </a:cubicBezTo>
                <a:cubicBezTo>
                  <a:pt x="725" y="333"/>
                  <a:pt x="725" y="334"/>
                  <a:pt x="726" y="335"/>
                </a:cubicBezTo>
                <a:cubicBezTo>
                  <a:pt x="726" y="336"/>
                  <a:pt x="726" y="336"/>
                  <a:pt x="726" y="337"/>
                </a:cubicBezTo>
                <a:cubicBezTo>
                  <a:pt x="728" y="338"/>
                  <a:pt x="730" y="340"/>
                  <a:pt x="732" y="340"/>
                </a:cubicBezTo>
                <a:cubicBezTo>
                  <a:pt x="733" y="341"/>
                  <a:pt x="734" y="340"/>
                  <a:pt x="734" y="340"/>
                </a:cubicBezTo>
                <a:cubicBezTo>
                  <a:pt x="734" y="338"/>
                  <a:pt x="735" y="336"/>
                  <a:pt x="735" y="335"/>
                </a:cubicBezTo>
                <a:cubicBezTo>
                  <a:pt x="735" y="334"/>
                  <a:pt x="736" y="333"/>
                  <a:pt x="737" y="332"/>
                </a:cubicBezTo>
                <a:cubicBezTo>
                  <a:pt x="738" y="332"/>
                  <a:pt x="739" y="332"/>
                  <a:pt x="740" y="332"/>
                </a:cubicBezTo>
                <a:cubicBezTo>
                  <a:pt x="744" y="330"/>
                  <a:pt x="745" y="326"/>
                  <a:pt x="749" y="324"/>
                </a:cubicBezTo>
                <a:cubicBezTo>
                  <a:pt x="750" y="323"/>
                  <a:pt x="751" y="322"/>
                  <a:pt x="752" y="321"/>
                </a:cubicBezTo>
                <a:cubicBezTo>
                  <a:pt x="752" y="320"/>
                  <a:pt x="752" y="319"/>
                  <a:pt x="752" y="318"/>
                </a:cubicBezTo>
                <a:cubicBezTo>
                  <a:pt x="751" y="316"/>
                  <a:pt x="750" y="315"/>
                  <a:pt x="748" y="314"/>
                </a:cubicBezTo>
                <a:cubicBezTo>
                  <a:pt x="747" y="314"/>
                  <a:pt x="745" y="314"/>
                  <a:pt x="745" y="313"/>
                </a:cubicBezTo>
                <a:cubicBezTo>
                  <a:pt x="745" y="313"/>
                  <a:pt x="745" y="313"/>
                  <a:pt x="745" y="313"/>
                </a:cubicBezTo>
                <a:cubicBezTo>
                  <a:pt x="745" y="313"/>
                  <a:pt x="745" y="313"/>
                  <a:pt x="745" y="312"/>
                </a:cubicBezTo>
                <a:cubicBezTo>
                  <a:pt x="745" y="312"/>
                  <a:pt x="745" y="313"/>
                  <a:pt x="745" y="313"/>
                </a:cubicBezTo>
                <a:cubicBezTo>
                  <a:pt x="744" y="312"/>
                  <a:pt x="744" y="311"/>
                  <a:pt x="745" y="311"/>
                </a:cubicBezTo>
                <a:cubicBezTo>
                  <a:pt x="745" y="311"/>
                  <a:pt x="745" y="311"/>
                  <a:pt x="745" y="311"/>
                </a:cubicBezTo>
                <a:cubicBezTo>
                  <a:pt x="745" y="311"/>
                  <a:pt x="745" y="311"/>
                  <a:pt x="745" y="311"/>
                </a:cubicBezTo>
                <a:cubicBezTo>
                  <a:pt x="745" y="311"/>
                  <a:pt x="745" y="311"/>
                  <a:pt x="745" y="311"/>
                </a:cubicBezTo>
                <a:cubicBezTo>
                  <a:pt x="744" y="310"/>
                  <a:pt x="744" y="310"/>
                  <a:pt x="744" y="310"/>
                </a:cubicBezTo>
                <a:cubicBezTo>
                  <a:pt x="743" y="309"/>
                  <a:pt x="742" y="310"/>
                  <a:pt x="742" y="310"/>
                </a:cubicBezTo>
                <a:cubicBezTo>
                  <a:pt x="741" y="309"/>
                  <a:pt x="741" y="310"/>
                  <a:pt x="740" y="309"/>
                </a:cubicBezTo>
                <a:cubicBezTo>
                  <a:pt x="739" y="309"/>
                  <a:pt x="738" y="308"/>
                  <a:pt x="739" y="307"/>
                </a:cubicBezTo>
                <a:cubicBezTo>
                  <a:pt x="740" y="304"/>
                  <a:pt x="740" y="304"/>
                  <a:pt x="738" y="303"/>
                </a:cubicBezTo>
                <a:cubicBezTo>
                  <a:pt x="737" y="302"/>
                  <a:pt x="735" y="301"/>
                  <a:pt x="735" y="299"/>
                </a:cubicBezTo>
                <a:cubicBezTo>
                  <a:pt x="734" y="299"/>
                  <a:pt x="732" y="298"/>
                  <a:pt x="731" y="297"/>
                </a:cubicBezTo>
                <a:cubicBezTo>
                  <a:pt x="729" y="297"/>
                  <a:pt x="728" y="296"/>
                  <a:pt x="728" y="294"/>
                </a:cubicBezTo>
                <a:cubicBezTo>
                  <a:pt x="727" y="291"/>
                  <a:pt x="725" y="290"/>
                  <a:pt x="723" y="289"/>
                </a:cubicBezTo>
                <a:cubicBezTo>
                  <a:pt x="722" y="289"/>
                  <a:pt x="721" y="288"/>
                  <a:pt x="722" y="287"/>
                </a:cubicBezTo>
                <a:cubicBezTo>
                  <a:pt x="724" y="285"/>
                  <a:pt x="726" y="283"/>
                  <a:pt x="725" y="280"/>
                </a:cubicBezTo>
                <a:cubicBezTo>
                  <a:pt x="725" y="280"/>
                  <a:pt x="725" y="279"/>
                  <a:pt x="726" y="280"/>
                </a:cubicBezTo>
                <a:cubicBezTo>
                  <a:pt x="727" y="280"/>
                  <a:pt x="729" y="281"/>
                  <a:pt x="730" y="281"/>
                </a:cubicBezTo>
                <a:cubicBezTo>
                  <a:pt x="731" y="281"/>
                  <a:pt x="732" y="280"/>
                  <a:pt x="732" y="280"/>
                </a:cubicBezTo>
                <a:cubicBezTo>
                  <a:pt x="733" y="279"/>
                  <a:pt x="732" y="278"/>
                  <a:pt x="732" y="277"/>
                </a:cubicBezTo>
                <a:cubicBezTo>
                  <a:pt x="732" y="277"/>
                  <a:pt x="732" y="277"/>
                  <a:pt x="732" y="277"/>
                </a:cubicBezTo>
                <a:cubicBezTo>
                  <a:pt x="730" y="275"/>
                  <a:pt x="730" y="274"/>
                  <a:pt x="731" y="272"/>
                </a:cubicBezTo>
                <a:cubicBezTo>
                  <a:pt x="733" y="271"/>
                  <a:pt x="733" y="269"/>
                  <a:pt x="732" y="267"/>
                </a:cubicBezTo>
                <a:cubicBezTo>
                  <a:pt x="731" y="265"/>
                  <a:pt x="730" y="263"/>
                  <a:pt x="730" y="260"/>
                </a:cubicBezTo>
                <a:cubicBezTo>
                  <a:pt x="729" y="256"/>
                  <a:pt x="726" y="253"/>
                  <a:pt x="722" y="253"/>
                </a:cubicBezTo>
                <a:cubicBezTo>
                  <a:pt x="721" y="252"/>
                  <a:pt x="719" y="251"/>
                  <a:pt x="719" y="249"/>
                </a:cubicBezTo>
                <a:cubicBezTo>
                  <a:pt x="719" y="249"/>
                  <a:pt x="718" y="248"/>
                  <a:pt x="717" y="248"/>
                </a:cubicBezTo>
                <a:cubicBezTo>
                  <a:pt x="717" y="248"/>
                  <a:pt x="717" y="248"/>
                  <a:pt x="717" y="248"/>
                </a:cubicBezTo>
                <a:cubicBezTo>
                  <a:pt x="717" y="248"/>
                  <a:pt x="717" y="248"/>
                  <a:pt x="717" y="248"/>
                </a:cubicBezTo>
                <a:cubicBezTo>
                  <a:pt x="717" y="248"/>
                  <a:pt x="717" y="248"/>
                  <a:pt x="717" y="248"/>
                </a:cubicBezTo>
                <a:cubicBezTo>
                  <a:pt x="717" y="248"/>
                  <a:pt x="717" y="248"/>
                  <a:pt x="717" y="248"/>
                </a:cubicBezTo>
                <a:cubicBezTo>
                  <a:pt x="718" y="246"/>
                  <a:pt x="718" y="244"/>
                  <a:pt x="717" y="242"/>
                </a:cubicBezTo>
                <a:cubicBezTo>
                  <a:pt x="716" y="241"/>
                  <a:pt x="715" y="239"/>
                  <a:pt x="714" y="238"/>
                </a:cubicBezTo>
                <a:cubicBezTo>
                  <a:pt x="713" y="237"/>
                  <a:pt x="712" y="236"/>
                  <a:pt x="710" y="237"/>
                </a:cubicBezTo>
                <a:cubicBezTo>
                  <a:pt x="708" y="238"/>
                  <a:pt x="707" y="238"/>
                  <a:pt x="707" y="237"/>
                </a:cubicBezTo>
                <a:cubicBezTo>
                  <a:pt x="706" y="235"/>
                  <a:pt x="704" y="235"/>
                  <a:pt x="703" y="235"/>
                </a:cubicBezTo>
                <a:cubicBezTo>
                  <a:pt x="702" y="235"/>
                  <a:pt x="702" y="235"/>
                  <a:pt x="702" y="235"/>
                </a:cubicBezTo>
                <a:cubicBezTo>
                  <a:pt x="701" y="235"/>
                  <a:pt x="701" y="234"/>
                  <a:pt x="702" y="234"/>
                </a:cubicBezTo>
                <a:cubicBezTo>
                  <a:pt x="703" y="233"/>
                  <a:pt x="703" y="232"/>
                  <a:pt x="704" y="231"/>
                </a:cubicBezTo>
                <a:cubicBezTo>
                  <a:pt x="704" y="231"/>
                  <a:pt x="704" y="230"/>
                  <a:pt x="704" y="229"/>
                </a:cubicBezTo>
                <a:cubicBezTo>
                  <a:pt x="703" y="229"/>
                  <a:pt x="702" y="228"/>
                  <a:pt x="702" y="228"/>
                </a:cubicBezTo>
                <a:cubicBezTo>
                  <a:pt x="701" y="227"/>
                  <a:pt x="702" y="226"/>
                  <a:pt x="702" y="224"/>
                </a:cubicBezTo>
                <a:cubicBezTo>
                  <a:pt x="702" y="223"/>
                  <a:pt x="702" y="222"/>
                  <a:pt x="701" y="221"/>
                </a:cubicBezTo>
                <a:cubicBezTo>
                  <a:pt x="698" y="218"/>
                  <a:pt x="695" y="217"/>
                  <a:pt x="692" y="214"/>
                </a:cubicBezTo>
                <a:cubicBezTo>
                  <a:pt x="692" y="214"/>
                  <a:pt x="692" y="214"/>
                  <a:pt x="692" y="214"/>
                </a:cubicBezTo>
                <a:cubicBezTo>
                  <a:pt x="692" y="214"/>
                  <a:pt x="692" y="214"/>
                  <a:pt x="692" y="214"/>
                </a:cubicBezTo>
                <a:cubicBezTo>
                  <a:pt x="693" y="215"/>
                  <a:pt x="693" y="215"/>
                  <a:pt x="693" y="215"/>
                </a:cubicBezTo>
                <a:cubicBezTo>
                  <a:pt x="690" y="214"/>
                  <a:pt x="687" y="215"/>
                  <a:pt x="685" y="217"/>
                </a:cubicBezTo>
                <a:cubicBezTo>
                  <a:pt x="683" y="218"/>
                  <a:pt x="680" y="218"/>
                  <a:pt x="678" y="217"/>
                </a:cubicBezTo>
                <a:cubicBezTo>
                  <a:pt x="676" y="216"/>
                  <a:pt x="675" y="217"/>
                  <a:pt x="673" y="218"/>
                </a:cubicBezTo>
                <a:cubicBezTo>
                  <a:pt x="673" y="218"/>
                  <a:pt x="673" y="218"/>
                  <a:pt x="673" y="218"/>
                </a:cubicBezTo>
                <a:cubicBezTo>
                  <a:pt x="673" y="218"/>
                  <a:pt x="673" y="218"/>
                  <a:pt x="672" y="219"/>
                </a:cubicBezTo>
                <a:cubicBezTo>
                  <a:pt x="672" y="218"/>
                  <a:pt x="673" y="218"/>
                  <a:pt x="673" y="218"/>
                </a:cubicBezTo>
                <a:cubicBezTo>
                  <a:pt x="673" y="218"/>
                  <a:pt x="673" y="218"/>
                  <a:pt x="673" y="218"/>
                </a:cubicBezTo>
                <a:cubicBezTo>
                  <a:pt x="674" y="216"/>
                  <a:pt x="674" y="215"/>
                  <a:pt x="674" y="213"/>
                </a:cubicBezTo>
                <a:cubicBezTo>
                  <a:pt x="675" y="209"/>
                  <a:pt x="677" y="206"/>
                  <a:pt x="677" y="202"/>
                </a:cubicBezTo>
                <a:cubicBezTo>
                  <a:pt x="677" y="201"/>
                  <a:pt x="678" y="200"/>
                  <a:pt x="678" y="199"/>
                </a:cubicBezTo>
                <a:cubicBezTo>
                  <a:pt x="678" y="198"/>
                  <a:pt x="678" y="198"/>
                  <a:pt x="678" y="197"/>
                </a:cubicBezTo>
                <a:cubicBezTo>
                  <a:pt x="678" y="194"/>
                  <a:pt x="677" y="193"/>
                  <a:pt x="674" y="192"/>
                </a:cubicBezTo>
                <a:cubicBezTo>
                  <a:pt x="673" y="192"/>
                  <a:pt x="671" y="192"/>
                  <a:pt x="670" y="192"/>
                </a:cubicBezTo>
                <a:cubicBezTo>
                  <a:pt x="666" y="193"/>
                  <a:pt x="663" y="195"/>
                  <a:pt x="660" y="195"/>
                </a:cubicBezTo>
                <a:cubicBezTo>
                  <a:pt x="657" y="195"/>
                  <a:pt x="654" y="196"/>
                  <a:pt x="652" y="199"/>
                </a:cubicBezTo>
                <a:cubicBezTo>
                  <a:pt x="651" y="200"/>
                  <a:pt x="650" y="201"/>
                  <a:pt x="649" y="202"/>
                </a:cubicBezTo>
                <a:cubicBezTo>
                  <a:pt x="646" y="205"/>
                  <a:pt x="645" y="208"/>
                  <a:pt x="646" y="212"/>
                </a:cubicBezTo>
                <a:cubicBezTo>
                  <a:pt x="647" y="213"/>
                  <a:pt x="647" y="214"/>
                  <a:pt x="646" y="214"/>
                </a:cubicBezTo>
                <a:cubicBezTo>
                  <a:pt x="644" y="214"/>
                  <a:pt x="643" y="215"/>
                  <a:pt x="642" y="216"/>
                </a:cubicBezTo>
                <a:cubicBezTo>
                  <a:pt x="641" y="217"/>
                  <a:pt x="640" y="218"/>
                  <a:pt x="641" y="220"/>
                </a:cubicBezTo>
                <a:cubicBezTo>
                  <a:pt x="641" y="221"/>
                  <a:pt x="642" y="223"/>
                  <a:pt x="642" y="225"/>
                </a:cubicBezTo>
                <a:cubicBezTo>
                  <a:pt x="642" y="225"/>
                  <a:pt x="642" y="226"/>
                  <a:pt x="642" y="226"/>
                </a:cubicBezTo>
                <a:cubicBezTo>
                  <a:pt x="642" y="227"/>
                  <a:pt x="642" y="227"/>
                  <a:pt x="642" y="227"/>
                </a:cubicBezTo>
                <a:cubicBezTo>
                  <a:pt x="642" y="227"/>
                  <a:pt x="641" y="228"/>
                  <a:pt x="641" y="227"/>
                </a:cubicBezTo>
                <a:cubicBezTo>
                  <a:pt x="638" y="225"/>
                  <a:pt x="637" y="220"/>
                  <a:pt x="638" y="217"/>
                </a:cubicBezTo>
                <a:cubicBezTo>
                  <a:pt x="638" y="217"/>
                  <a:pt x="638" y="217"/>
                  <a:pt x="638" y="216"/>
                </a:cubicBezTo>
                <a:cubicBezTo>
                  <a:pt x="639" y="215"/>
                  <a:pt x="639" y="214"/>
                  <a:pt x="640" y="213"/>
                </a:cubicBezTo>
                <a:cubicBezTo>
                  <a:pt x="641" y="211"/>
                  <a:pt x="642" y="209"/>
                  <a:pt x="641" y="207"/>
                </a:cubicBezTo>
                <a:cubicBezTo>
                  <a:pt x="641" y="205"/>
                  <a:pt x="642" y="204"/>
                  <a:pt x="643" y="203"/>
                </a:cubicBezTo>
                <a:cubicBezTo>
                  <a:pt x="644" y="202"/>
                  <a:pt x="645" y="201"/>
                  <a:pt x="646" y="200"/>
                </a:cubicBezTo>
                <a:cubicBezTo>
                  <a:pt x="649" y="196"/>
                  <a:pt x="653" y="193"/>
                  <a:pt x="657" y="191"/>
                </a:cubicBezTo>
                <a:cubicBezTo>
                  <a:pt x="658" y="191"/>
                  <a:pt x="658" y="191"/>
                  <a:pt x="658" y="190"/>
                </a:cubicBezTo>
                <a:cubicBezTo>
                  <a:pt x="659" y="190"/>
                  <a:pt x="659" y="189"/>
                  <a:pt x="658" y="189"/>
                </a:cubicBezTo>
                <a:cubicBezTo>
                  <a:pt x="658" y="188"/>
                  <a:pt x="657" y="187"/>
                  <a:pt x="656" y="186"/>
                </a:cubicBezTo>
                <a:cubicBezTo>
                  <a:pt x="650" y="184"/>
                  <a:pt x="644" y="185"/>
                  <a:pt x="639" y="188"/>
                </a:cubicBezTo>
                <a:cubicBezTo>
                  <a:pt x="637" y="190"/>
                  <a:pt x="635" y="192"/>
                  <a:pt x="632" y="193"/>
                </a:cubicBezTo>
                <a:cubicBezTo>
                  <a:pt x="629" y="196"/>
                  <a:pt x="627" y="201"/>
                  <a:pt x="623" y="203"/>
                </a:cubicBezTo>
                <a:cubicBezTo>
                  <a:pt x="623" y="203"/>
                  <a:pt x="623" y="204"/>
                  <a:pt x="622" y="204"/>
                </a:cubicBezTo>
                <a:cubicBezTo>
                  <a:pt x="622" y="205"/>
                  <a:pt x="621" y="206"/>
                  <a:pt x="620" y="207"/>
                </a:cubicBezTo>
                <a:cubicBezTo>
                  <a:pt x="620" y="208"/>
                  <a:pt x="620" y="210"/>
                  <a:pt x="619" y="210"/>
                </a:cubicBezTo>
                <a:cubicBezTo>
                  <a:pt x="615" y="213"/>
                  <a:pt x="614" y="218"/>
                  <a:pt x="612" y="222"/>
                </a:cubicBezTo>
                <a:cubicBezTo>
                  <a:pt x="611" y="224"/>
                  <a:pt x="612" y="226"/>
                  <a:pt x="615" y="227"/>
                </a:cubicBezTo>
                <a:cubicBezTo>
                  <a:pt x="617" y="227"/>
                  <a:pt x="619" y="228"/>
                  <a:pt x="621" y="229"/>
                </a:cubicBezTo>
                <a:cubicBezTo>
                  <a:pt x="622" y="230"/>
                  <a:pt x="622" y="230"/>
                  <a:pt x="623" y="231"/>
                </a:cubicBezTo>
                <a:cubicBezTo>
                  <a:pt x="623" y="231"/>
                  <a:pt x="623" y="232"/>
                  <a:pt x="623" y="233"/>
                </a:cubicBezTo>
                <a:cubicBezTo>
                  <a:pt x="622" y="233"/>
                  <a:pt x="622" y="233"/>
                  <a:pt x="621" y="233"/>
                </a:cubicBezTo>
                <a:cubicBezTo>
                  <a:pt x="620" y="232"/>
                  <a:pt x="618" y="231"/>
                  <a:pt x="617" y="230"/>
                </a:cubicBezTo>
                <a:cubicBezTo>
                  <a:pt x="615" y="229"/>
                  <a:pt x="612" y="231"/>
                  <a:pt x="612" y="233"/>
                </a:cubicBezTo>
                <a:cubicBezTo>
                  <a:pt x="612" y="235"/>
                  <a:pt x="612" y="236"/>
                  <a:pt x="612" y="238"/>
                </a:cubicBezTo>
                <a:cubicBezTo>
                  <a:pt x="612" y="240"/>
                  <a:pt x="614" y="241"/>
                  <a:pt x="615" y="243"/>
                </a:cubicBezTo>
                <a:cubicBezTo>
                  <a:pt x="616" y="244"/>
                  <a:pt x="617" y="244"/>
                  <a:pt x="619" y="245"/>
                </a:cubicBezTo>
                <a:cubicBezTo>
                  <a:pt x="620" y="245"/>
                  <a:pt x="621" y="245"/>
                  <a:pt x="621" y="245"/>
                </a:cubicBezTo>
                <a:cubicBezTo>
                  <a:pt x="623" y="245"/>
                  <a:pt x="624" y="246"/>
                  <a:pt x="624" y="248"/>
                </a:cubicBezTo>
                <a:cubicBezTo>
                  <a:pt x="626" y="249"/>
                  <a:pt x="627" y="251"/>
                  <a:pt x="630" y="250"/>
                </a:cubicBezTo>
                <a:cubicBezTo>
                  <a:pt x="632" y="250"/>
                  <a:pt x="632" y="251"/>
                  <a:pt x="633" y="253"/>
                </a:cubicBezTo>
                <a:cubicBezTo>
                  <a:pt x="635" y="253"/>
                  <a:pt x="636" y="253"/>
                  <a:pt x="638" y="255"/>
                </a:cubicBezTo>
                <a:cubicBezTo>
                  <a:pt x="639" y="255"/>
                  <a:pt x="640" y="254"/>
                  <a:pt x="640" y="254"/>
                </a:cubicBezTo>
                <a:close/>
                <a:moveTo>
                  <a:pt x="685" y="339"/>
                </a:moveTo>
                <a:cubicBezTo>
                  <a:pt x="685" y="339"/>
                  <a:pt x="684" y="338"/>
                  <a:pt x="684" y="338"/>
                </a:cubicBezTo>
                <a:cubicBezTo>
                  <a:pt x="683" y="338"/>
                  <a:pt x="683" y="338"/>
                  <a:pt x="683" y="337"/>
                </a:cubicBezTo>
                <a:cubicBezTo>
                  <a:pt x="684" y="336"/>
                  <a:pt x="685" y="334"/>
                  <a:pt x="686" y="333"/>
                </a:cubicBezTo>
                <a:cubicBezTo>
                  <a:pt x="686" y="332"/>
                  <a:pt x="687" y="332"/>
                  <a:pt x="687" y="332"/>
                </a:cubicBezTo>
                <a:cubicBezTo>
                  <a:pt x="687" y="332"/>
                  <a:pt x="688" y="333"/>
                  <a:pt x="688" y="333"/>
                </a:cubicBezTo>
                <a:cubicBezTo>
                  <a:pt x="688" y="334"/>
                  <a:pt x="688" y="334"/>
                  <a:pt x="688" y="335"/>
                </a:cubicBezTo>
                <a:cubicBezTo>
                  <a:pt x="688" y="337"/>
                  <a:pt x="687" y="338"/>
                  <a:pt x="685" y="339"/>
                </a:cubicBezTo>
                <a:close/>
                <a:moveTo>
                  <a:pt x="726" y="262"/>
                </a:moveTo>
                <a:cubicBezTo>
                  <a:pt x="726" y="262"/>
                  <a:pt x="727" y="263"/>
                  <a:pt x="727" y="263"/>
                </a:cubicBezTo>
                <a:cubicBezTo>
                  <a:pt x="727" y="264"/>
                  <a:pt x="726" y="265"/>
                  <a:pt x="726" y="265"/>
                </a:cubicBezTo>
                <a:cubicBezTo>
                  <a:pt x="726" y="265"/>
                  <a:pt x="726" y="265"/>
                  <a:pt x="726" y="265"/>
                </a:cubicBezTo>
                <a:cubicBezTo>
                  <a:pt x="725" y="266"/>
                  <a:pt x="725" y="266"/>
                  <a:pt x="725" y="266"/>
                </a:cubicBezTo>
                <a:cubicBezTo>
                  <a:pt x="726" y="265"/>
                  <a:pt x="726" y="265"/>
                  <a:pt x="726" y="265"/>
                </a:cubicBezTo>
                <a:cubicBezTo>
                  <a:pt x="726" y="265"/>
                  <a:pt x="726" y="265"/>
                  <a:pt x="726" y="265"/>
                </a:cubicBezTo>
                <a:cubicBezTo>
                  <a:pt x="725" y="264"/>
                  <a:pt x="725" y="264"/>
                  <a:pt x="725" y="263"/>
                </a:cubicBezTo>
                <a:cubicBezTo>
                  <a:pt x="725" y="263"/>
                  <a:pt x="726" y="263"/>
                  <a:pt x="726" y="262"/>
                </a:cubicBezTo>
                <a:close/>
                <a:moveTo>
                  <a:pt x="671" y="220"/>
                </a:moveTo>
                <a:cubicBezTo>
                  <a:pt x="672" y="219"/>
                  <a:pt x="672" y="219"/>
                  <a:pt x="672" y="219"/>
                </a:cubicBezTo>
                <a:cubicBezTo>
                  <a:pt x="672" y="219"/>
                  <a:pt x="672" y="219"/>
                  <a:pt x="672" y="220"/>
                </a:cubicBezTo>
                <a:cubicBezTo>
                  <a:pt x="672" y="220"/>
                  <a:pt x="671" y="220"/>
                  <a:pt x="671" y="220"/>
                </a:cubicBezTo>
                <a:close/>
                <a:moveTo>
                  <a:pt x="639" y="231"/>
                </a:moveTo>
                <a:cubicBezTo>
                  <a:pt x="640" y="231"/>
                  <a:pt x="640" y="231"/>
                  <a:pt x="640" y="231"/>
                </a:cubicBezTo>
                <a:cubicBezTo>
                  <a:pt x="639" y="232"/>
                  <a:pt x="639" y="232"/>
                  <a:pt x="639" y="232"/>
                </a:cubicBezTo>
                <a:lnTo>
                  <a:pt x="639" y="231"/>
                </a:lnTo>
                <a:close/>
                <a:moveTo>
                  <a:pt x="489" y="157"/>
                </a:moveTo>
                <a:cubicBezTo>
                  <a:pt x="489" y="157"/>
                  <a:pt x="489" y="157"/>
                  <a:pt x="489" y="157"/>
                </a:cubicBezTo>
                <a:cubicBezTo>
                  <a:pt x="489" y="157"/>
                  <a:pt x="489" y="157"/>
                  <a:pt x="489" y="157"/>
                </a:cubicBezTo>
                <a:cubicBezTo>
                  <a:pt x="489" y="157"/>
                  <a:pt x="489" y="157"/>
                  <a:pt x="489" y="157"/>
                </a:cubicBezTo>
                <a:cubicBezTo>
                  <a:pt x="489" y="157"/>
                  <a:pt x="489" y="157"/>
                  <a:pt x="489" y="157"/>
                </a:cubicBezTo>
                <a:close/>
                <a:moveTo>
                  <a:pt x="489" y="157"/>
                </a:moveTo>
                <a:cubicBezTo>
                  <a:pt x="488" y="158"/>
                  <a:pt x="487" y="158"/>
                  <a:pt x="485" y="158"/>
                </a:cubicBezTo>
                <a:cubicBezTo>
                  <a:pt x="484" y="158"/>
                  <a:pt x="482" y="158"/>
                  <a:pt x="480" y="159"/>
                </a:cubicBezTo>
                <a:cubicBezTo>
                  <a:pt x="480" y="159"/>
                  <a:pt x="480" y="159"/>
                  <a:pt x="479" y="160"/>
                </a:cubicBezTo>
                <a:cubicBezTo>
                  <a:pt x="476" y="162"/>
                  <a:pt x="471" y="163"/>
                  <a:pt x="467" y="165"/>
                </a:cubicBezTo>
                <a:cubicBezTo>
                  <a:pt x="465" y="166"/>
                  <a:pt x="464" y="167"/>
                  <a:pt x="463" y="169"/>
                </a:cubicBezTo>
                <a:cubicBezTo>
                  <a:pt x="463" y="170"/>
                  <a:pt x="462" y="171"/>
                  <a:pt x="462" y="171"/>
                </a:cubicBezTo>
                <a:cubicBezTo>
                  <a:pt x="460" y="172"/>
                  <a:pt x="459" y="172"/>
                  <a:pt x="458" y="173"/>
                </a:cubicBezTo>
                <a:cubicBezTo>
                  <a:pt x="456" y="174"/>
                  <a:pt x="455" y="176"/>
                  <a:pt x="454" y="178"/>
                </a:cubicBezTo>
                <a:cubicBezTo>
                  <a:pt x="454" y="179"/>
                  <a:pt x="455" y="181"/>
                  <a:pt x="456" y="182"/>
                </a:cubicBezTo>
                <a:cubicBezTo>
                  <a:pt x="456" y="182"/>
                  <a:pt x="456" y="182"/>
                  <a:pt x="456" y="183"/>
                </a:cubicBezTo>
                <a:cubicBezTo>
                  <a:pt x="456" y="184"/>
                  <a:pt x="457" y="185"/>
                  <a:pt x="459" y="185"/>
                </a:cubicBezTo>
                <a:cubicBezTo>
                  <a:pt x="461" y="185"/>
                  <a:pt x="464" y="185"/>
                  <a:pt x="466" y="186"/>
                </a:cubicBezTo>
                <a:cubicBezTo>
                  <a:pt x="467" y="186"/>
                  <a:pt x="467" y="186"/>
                  <a:pt x="467" y="186"/>
                </a:cubicBezTo>
                <a:cubicBezTo>
                  <a:pt x="467" y="187"/>
                  <a:pt x="467" y="187"/>
                  <a:pt x="466" y="187"/>
                </a:cubicBezTo>
                <a:cubicBezTo>
                  <a:pt x="463" y="188"/>
                  <a:pt x="460" y="188"/>
                  <a:pt x="457" y="188"/>
                </a:cubicBezTo>
                <a:cubicBezTo>
                  <a:pt x="455" y="188"/>
                  <a:pt x="454" y="189"/>
                  <a:pt x="452" y="190"/>
                </a:cubicBezTo>
                <a:cubicBezTo>
                  <a:pt x="452" y="190"/>
                  <a:pt x="451" y="191"/>
                  <a:pt x="451" y="192"/>
                </a:cubicBezTo>
                <a:cubicBezTo>
                  <a:pt x="451" y="193"/>
                  <a:pt x="451" y="194"/>
                  <a:pt x="451" y="196"/>
                </a:cubicBezTo>
                <a:cubicBezTo>
                  <a:pt x="452" y="199"/>
                  <a:pt x="452" y="200"/>
                  <a:pt x="456" y="201"/>
                </a:cubicBezTo>
                <a:cubicBezTo>
                  <a:pt x="461" y="202"/>
                  <a:pt x="466" y="203"/>
                  <a:pt x="471" y="203"/>
                </a:cubicBezTo>
                <a:cubicBezTo>
                  <a:pt x="471" y="203"/>
                  <a:pt x="472" y="203"/>
                  <a:pt x="473" y="203"/>
                </a:cubicBezTo>
                <a:cubicBezTo>
                  <a:pt x="476" y="206"/>
                  <a:pt x="480" y="208"/>
                  <a:pt x="482" y="212"/>
                </a:cubicBezTo>
                <a:cubicBezTo>
                  <a:pt x="482" y="213"/>
                  <a:pt x="482" y="213"/>
                  <a:pt x="482" y="213"/>
                </a:cubicBezTo>
                <a:cubicBezTo>
                  <a:pt x="481" y="213"/>
                  <a:pt x="481" y="213"/>
                  <a:pt x="481" y="213"/>
                </a:cubicBezTo>
                <a:cubicBezTo>
                  <a:pt x="476" y="213"/>
                  <a:pt x="472" y="211"/>
                  <a:pt x="468" y="210"/>
                </a:cubicBezTo>
                <a:cubicBezTo>
                  <a:pt x="467" y="209"/>
                  <a:pt x="465" y="208"/>
                  <a:pt x="464" y="208"/>
                </a:cubicBezTo>
                <a:cubicBezTo>
                  <a:pt x="460" y="207"/>
                  <a:pt x="455" y="207"/>
                  <a:pt x="451" y="207"/>
                </a:cubicBezTo>
                <a:cubicBezTo>
                  <a:pt x="449" y="208"/>
                  <a:pt x="448" y="209"/>
                  <a:pt x="448" y="211"/>
                </a:cubicBezTo>
                <a:cubicBezTo>
                  <a:pt x="447" y="213"/>
                  <a:pt x="446" y="215"/>
                  <a:pt x="447" y="217"/>
                </a:cubicBezTo>
                <a:cubicBezTo>
                  <a:pt x="447" y="222"/>
                  <a:pt x="449" y="225"/>
                  <a:pt x="453" y="226"/>
                </a:cubicBezTo>
                <a:cubicBezTo>
                  <a:pt x="455" y="226"/>
                  <a:pt x="457" y="227"/>
                  <a:pt x="459" y="228"/>
                </a:cubicBezTo>
                <a:cubicBezTo>
                  <a:pt x="459" y="228"/>
                  <a:pt x="460" y="229"/>
                  <a:pt x="460" y="230"/>
                </a:cubicBezTo>
                <a:cubicBezTo>
                  <a:pt x="460" y="231"/>
                  <a:pt x="459" y="232"/>
                  <a:pt x="458" y="234"/>
                </a:cubicBezTo>
                <a:cubicBezTo>
                  <a:pt x="458" y="235"/>
                  <a:pt x="457" y="235"/>
                  <a:pt x="458" y="236"/>
                </a:cubicBezTo>
                <a:cubicBezTo>
                  <a:pt x="458" y="238"/>
                  <a:pt x="458" y="240"/>
                  <a:pt x="459" y="241"/>
                </a:cubicBezTo>
                <a:cubicBezTo>
                  <a:pt x="459" y="242"/>
                  <a:pt x="460" y="242"/>
                  <a:pt x="460" y="242"/>
                </a:cubicBezTo>
                <a:cubicBezTo>
                  <a:pt x="461" y="243"/>
                  <a:pt x="462" y="242"/>
                  <a:pt x="463" y="243"/>
                </a:cubicBezTo>
                <a:cubicBezTo>
                  <a:pt x="467" y="243"/>
                  <a:pt x="471" y="242"/>
                  <a:pt x="475" y="244"/>
                </a:cubicBezTo>
                <a:cubicBezTo>
                  <a:pt x="477" y="244"/>
                  <a:pt x="479" y="244"/>
                  <a:pt x="481" y="243"/>
                </a:cubicBezTo>
                <a:cubicBezTo>
                  <a:pt x="483" y="242"/>
                  <a:pt x="484" y="242"/>
                  <a:pt x="485" y="241"/>
                </a:cubicBezTo>
                <a:cubicBezTo>
                  <a:pt x="487" y="240"/>
                  <a:pt x="489" y="239"/>
                  <a:pt x="491" y="240"/>
                </a:cubicBezTo>
                <a:cubicBezTo>
                  <a:pt x="494" y="240"/>
                  <a:pt x="496" y="239"/>
                  <a:pt x="498" y="238"/>
                </a:cubicBezTo>
                <a:cubicBezTo>
                  <a:pt x="499" y="237"/>
                  <a:pt x="500" y="237"/>
                  <a:pt x="501" y="236"/>
                </a:cubicBezTo>
                <a:cubicBezTo>
                  <a:pt x="501" y="236"/>
                  <a:pt x="502" y="236"/>
                  <a:pt x="502" y="237"/>
                </a:cubicBezTo>
                <a:cubicBezTo>
                  <a:pt x="502" y="237"/>
                  <a:pt x="503" y="237"/>
                  <a:pt x="503" y="238"/>
                </a:cubicBezTo>
                <a:cubicBezTo>
                  <a:pt x="503" y="239"/>
                  <a:pt x="504" y="240"/>
                  <a:pt x="506" y="241"/>
                </a:cubicBezTo>
                <a:cubicBezTo>
                  <a:pt x="508" y="241"/>
                  <a:pt x="507" y="244"/>
                  <a:pt x="508" y="245"/>
                </a:cubicBezTo>
                <a:cubicBezTo>
                  <a:pt x="508" y="245"/>
                  <a:pt x="508" y="245"/>
                  <a:pt x="509" y="246"/>
                </a:cubicBezTo>
                <a:cubicBezTo>
                  <a:pt x="511" y="246"/>
                  <a:pt x="514" y="247"/>
                  <a:pt x="517" y="248"/>
                </a:cubicBezTo>
                <a:cubicBezTo>
                  <a:pt x="520" y="249"/>
                  <a:pt x="523" y="249"/>
                  <a:pt x="526" y="248"/>
                </a:cubicBezTo>
                <a:cubicBezTo>
                  <a:pt x="527" y="247"/>
                  <a:pt x="528" y="247"/>
                  <a:pt x="529" y="245"/>
                </a:cubicBezTo>
                <a:cubicBezTo>
                  <a:pt x="530" y="242"/>
                  <a:pt x="530" y="240"/>
                  <a:pt x="528" y="237"/>
                </a:cubicBezTo>
                <a:cubicBezTo>
                  <a:pt x="528" y="237"/>
                  <a:pt x="528" y="237"/>
                  <a:pt x="527" y="237"/>
                </a:cubicBezTo>
                <a:cubicBezTo>
                  <a:pt x="527" y="238"/>
                  <a:pt x="526" y="239"/>
                  <a:pt x="526" y="239"/>
                </a:cubicBezTo>
                <a:cubicBezTo>
                  <a:pt x="525" y="239"/>
                  <a:pt x="525" y="239"/>
                  <a:pt x="525" y="239"/>
                </a:cubicBezTo>
                <a:cubicBezTo>
                  <a:pt x="524" y="238"/>
                  <a:pt x="524" y="238"/>
                  <a:pt x="525" y="238"/>
                </a:cubicBezTo>
                <a:cubicBezTo>
                  <a:pt x="526" y="237"/>
                  <a:pt x="527" y="237"/>
                  <a:pt x="527" y="237"/>
                </a:cubicBezTo>
                <a:cubicBezTo>
                  <a:pt x="527" y="237"/>
                  <a:pt x="528" y="237"/>
                  <a:pt x="528" y="237"/>
                </a:cubicBezTo>
                <a:cubicBezTo>
                  <a:pt x="528" y="237"/>
                  <a:pt x="528" y="237"/>
                  <a:pt x="528" y="237"/>
                </a:cubicBezTo>
                <a:cubicBezTo>
                  <a:pt x="528" y="237"/>
                  <a:pt x="528" y="237"/>
                  <a:pt x="528" y="237"/>
                </a:cubicBezTo>
                <a:cubicBezTo>
                  <a:pt x="528" y="237"/>
                  <a:pt x="529" y="236"/>
                  <a:pt x="529" y="235"/>
                </a:cubicBezTo>
                <a:cubicBezTo>
                  <a:pt x="530" y="235"/>
                  <a:pt x="531" y="234"/>
                  <a:pt x="532" y="235"/>
                </a:cubicBezTo>
                <a:cubicBezTo>
                  <a:pt x="533" y="237"/>
                  <a:pt x="535" y="237"/>
                  <a:pt x="536" y="239"/>
                </a:cubicBezTo>
                <a:cubicBezTo>
                  <a:pt x="539" y="238"/>
                  <a:pt x="540" y="237"/>
                  <a:pt x="541" y="234"/>
                </a:cubicBezTo>
                <a:cubicBezTo>
                  <a:pt x="542" y="233"/>
                  <a:pt x="542" y="231"/>
                  <a:pt x="541" y="229"/>
                </a:cubicBezTo>
                <a:cubicBezTo>
                  <a:pt x="540" y="228"/>
                  <a:pt x="540" y="228"/>
                  <a:pt x="539" y="227"/>
                </a:cubicBezTo>
                <a:cubicBezTo>
                  <a:pt x="537" y="225"/>
                  <a:pt x="537" y="224"/>
                  <a:pt x="536" y="222"/>
                </a:cubicBezTo>
                <a:cubicBezTo>
                  <a:pt x="536" y="220"/>
                  <a:pt x="535" y="219"/>
                  <a:pt x="533" y="217"/>
                </a:cubicBezTo>
                <a:cubicBezTo>
                  <a:pt x="531" y="216"/>
                  <a:pt x="531" y="213"/>
                  <a:pt x="530" y="211"/>
                </a:cubicBezTo>
                <a:cubicBezTo>
                  <a:pt x="530" y="209"/>
                  <a:pt x="530" y="208"/>
                  <a:pt x="531" y="207"/>
                </a:cubicBezTo>
                <a:cubicBezTo>
                  <a:pt x="534" y="204"/>
                  <a:pt x="535" y="201"/>
                  <a:pt x="535" y="198"/>
                </a:cubicBezTo>
                <a:cubicBezTo>
                  <a:pt x="535" y="196"/>
                  <a:pt x="535" y="195"/>
                  <a:pt x="535" y="193"/>
                </a:cubicBezTo>
                <a:cubicBezTo>
                  <a:pt x="537" y="189"/>
                  <a:pt x="539" y="185"/>
                  <a:pt x="540" y="181"/>
                </a:cubicBezTo>
                <a:cubicBezTo>
                  <a:pt x="541" y="180"/>
                  <a:pt x="542" y="179"/>
                  <a:pt x="543" y="178"/>
                </a:cubicBezTo>
                <a:cubicBezTo>
                  <a:pt x="547" y="176"/>
                  <a:pt x="550" y="173"/>
                  <a:pt x="553" y="170"/>
                </a:cubicBezTo>
                <a:cubicBezTo>
                  <a:pt x="554" y="170"/>
                  <a:pt x="554" y="168"/>
                  <a:pt x="554" y="167"/>
                </a:cubicBezTo>
                <a:cubicBezTo>
                  <a:pt x="554" y="164"/>
                  <a:pt x="553" y="162"/>
                  <a:pt x="550" y="162"/>
                </a:cubicBezTo>
                <a:cubicBezTo>
                  <a:pt x="548" y="161"/>
                  <a:pt x="547" y="160"/>
                  <a:pt x="545" y="160"/>
                </a:cubicBezTo>
                <a:cubicBezTo>
                  <a:pt x="543" y="160"/>
                  <a:pt x="541" y="161"/>
                  <a:pt x="540" y="162"/>
                </a:cubicBezTo>
                <a:cubicBezTo>
                  <a:pt x="538" y="164"/>
                  <a:pt x="539" y="165"/>
                  <a:pt x="539" y="166"/>
                </a:cubicBezTo>
                <a:cubicBezTo>
                  <a:pt x="540" y="168"/>
                  <a:pt x="539" y="170"/>
                  <a:pt x="540" y="172"/>
                </a:cubicBezTo>
                <a:cubicBezTo>
                  <a:pt x="540" y="172"/>
                  <a:pt x="540" y="172"/>
                  <a:pt x="540" y="172"/>
                </a:cubicBezTo>
                <a:cubicBezTo>
                  <a:pt x="540" y="173"/>
                  <a:pt x="540" y="173"/>
                  <a:pt x="540" y="173"/>
                </a:cubicBezTo>
                <a:cubicBezTo>
                  <a:pt x="540" y="172"/>
                  <a:pt x="540" y="172"/>
                  <a:pt x="540" y="172"/>
                </a:cubicBezTo>
                <a:cubicBezTo>
                  <a:pt x="540" y="172"/>
                  <a:pt x="540" y="172"/>
                  <a:pt x="540" y="172"/>
                </a:cubicBezTo>
                <a:cubicBezTo>
                  <a:pt x="539" y="172"/>
                  <a:pt x="539" y="171"/>
                  <a:pt x="539" y="171"/>
                </a:cubicBezTo>
                <a:cubicBezTo>
                  <a:pt x="538" y="169"/>
                  <a:pt x="538" y="168"/>
                  <a:pt x="536" y="168"/>
                </a:cubicBezTo>
                <a:cubicBezTo>
                  <a:pt x="535" y="168"/>
                  <a:pt x="534" y="167"/>
                  <a:pt x="534" y="167"/>
                </a:cubicBezTo>
                <a:cubicBezTo>
                  <a:pt x="531" y="165"/>
                  <a:pt x="530" y="167"/>
                  <a:pt x="529" y="168"/>
                </a:cubicBezTo>
                <a:cubicBezTo>
                  <a:pt x="528" y="170"/>
                  <a:pt x="527" y="171"/>
                  <a:pt x="526" y="172"/>
                </a:cubicBezTo>
                <a:cubicBezTo>
                  <a:pt x="525" y="176"/>
                  <a:pt x="524" y="180"/>
                  <a:pt x="523" y="183"/>
                </a:cubicBezTo>
                <a:cubicBezTo>
                  <a:pt x="521" y="186"/>
                  <a:pt x="520" y="190"/>
                  <a:pt x="519" y="194"/>
                </a:cubicBezTo>
                <a:cubicBezTo>
                  <a:pt x="519" y="194"/>
                  <a:pt x="519" y="194"/>
                  <a:pt x="519" y="194"/>
                </a:cubicBezTo>
                <a:cubicBezTo>
                  <a:pt x="519" y="195"/>
                  <a:pt x="518" y="195"/>
                  <a:pt x="518" y="195"/>
                </a:cubicBezTo>
                <a:cubicBezTo>
                  <a:pt x="518" y="196"/>
                  <a:pt x="517" y="196"/>
                  <a:pt x="516" y="196"/>
                </a:cubicBezTo>
                <a:cubicBezTo>
                  <a:pt x="515" y="196"/>
                  <a:pt x="515" y="195"/>
                  <a:pt x="515" y="194"/>
                </a:cubicBezTo>
                <a:cubicBezTo>
                  <a:pt x="516" y="191"/>
                  <a:pt x="516" y="188"/>
                  <a:pt x="518" y="185"/>
                </a:cubicBezTo>
                <a:cubicBezTo>
                  <a:pt x="519" y="181"/>
                  <a:pt x="520" y="177"/>
                  <a:pt x="518" y="172"/>
                </a:cubicBezTo>
                <a:cubicBezTo>
                  <a:pt x="518" y="171"/>
                  <a:pt x="517" y="171"/>
                  <a:pt x="517" y="170"/>
                </a:cubicBezTo>
                <a:cubicBezTo>
                  <a:pt x="516" y="169"/>
                  <a:pt x="514" y="170"/>
                  <a:pt x="514" y="171"/>
                </a:cubicBezTo>
                <a:cubicBezTo>
                  <a:pt x="513" y="173"/>
                  <a:pt x="513" y="175"/>
                  <a:pt x="513" y="177"/>
                </a:cubicBezTo>
                <a:cubicBezTo>
                  <a:pt x="512" y="178"/>
                  <a:pt x="512" y="178"/>
                  <a:pt x="511" y="178"/>
                </a:cubicBezTo>
                <a:cubicBezTo>
                  <a:pt x="508" y="177"/>
                  <a:pt x="506" y="177"/>
                  <a:pt x="503" y="177"/>
                </a:cubicBezTo>
                <a:cubicBezTo>
                  <a:pt x="502" y="177"/>
                  <a:pt x="502" y="177"/>
                  <a:pt x="502" y="177"/>
                </a:cubicBezTo>
                <a:cubicBezTo>
                  <a:pt x="502" y="177"/>
                  <a:pt x="503" y="177"/>
                  <a:pt x="503" y="176"/>
                </a:cubicBezTo>
                <a:cubicBezTo>
                  <a:pt x="504" y="176"/>
                  <a:pt x="506" y="175"/>
                  <a:pt x="507" y="174"/>
                </a:cubicBezTo>
                <a:cubicBezTo>
                  <a:pt x="508" y="174"/>
                  <a:pt x="508" y="172"/>
                  <a:pt x="508" y="171"/>
                </a:cubicBezTo>
                <a:cubicBezTo>
                  <a:pt x="507" y="169"/>
                  <a:pt x="505" y="167"/>
                  <a:pt x="503" y="166"/>
                </a:cubicBezTo>
                <a:cubicBezTo>
                  <a:pt x="501" y="164"/>
                  <a:pt x="500" y="164"/>
                  <a:pt x="498" y="165"/>
                </a:cubicBezTo>
                <a:cubicBezTo>
                  <a:pt x="497" y="166"/>
                  <a:pt x="496" y="167"/>
                  <a:pt x="495" y="168"/>
                </a:cubicBezTo>
                <a:cubicBezTo>
                  <a:pt x="495" y="168"/>
                  <a:pt x="494" y="168"/>
                  <a:pt x="493" y="168"/>
                </a:cubicBezTo>
                <a:cubicBezTo>
                  <a:pt x="492" y="168"/>
                  <a:pt x="492" y="168"/>
                  <a:pt x="493" y="166"/>
                </a:cubicBezTo>
                <a:cubicBezTo>
                  <a:pt x="494" y="164"/>
                  <a:pt x="496" y="163"/>
                  <a:pt x="497" y="161"/>
                </a:cubicBezTo>
                <a:cubicBezTo>
                  <a:pt x="498" y="159"/>
                  <a:pt x="497" y="157"/>
                  <a:pt x="496" y="156"/>
                </a:cubicBezTo>
                <a:cubicBezTo>
                  <a:pt x="495" y="156"/>
                  <a:pt x="495" y="155"/>
                  <a:pt x="494" y="155"/>
                </a:cubicBezTo>
                <a:cubicBezTo>
                  <a:pt x="495" y="155"/>
                  <a:pt x="495" y="155"/>
                  <a:pt x="495" y="155"/>
                </a:cubicBezTo>
                <a:cubicBezTo>
                  <a:pt x="494" y="155"/>
                  <a:pt x="494" y="155"/>
                  <a:pt x="494" y="155"/>
                </a:cubicBezTo>
                <a:cubicBezTo>
                  <a:pt x="494" y="155"/>
                  <a:pt x="494" y="155"/>
                  <a:pt x="494" y="155"/>
                </a:cubicBezTo>
                <a:cubicBezTo>
                  <a:pt x="493" y="157"/>
                  <a:pt x="491" y="156"/>
                  <a:pt x="489" y="157"/>
                </a:cubicBezTo>
                <a:close/>
                <a:moveTo>
                  <a:pt x="2194" y="990"/>
                </a:moveTo>
                <a:cubicBezTo>
                  <a:pt x="2194" y="990"/>
                  <a:pt x="2194" y="990"/>
                  <a:pt x="2193" y="990"/>
                </a:cubicBezTo>
                <a:cubicBezTo>
                  <a:pt x="2192" y="989"/>
                  <a:pt x="2190" y="988"/>
                  <a:pt x="2189" y="986"/>
                </a:cubicBezTo>
                <a:cubicBezTo>
                  <a:pt x="2188" y="985"/>
                  <a:pt x="2187" y="983"/>
                  <a:pt x="2186" y="982"/>
                </a:cubicBezTo>
                <a:cubicBezTo>
                  <a:pt x="2185" y="981"/>
                  <a:pt x="2184" y="980"/>
                  <a:pt x="2183" y="979"/>
                </a:cubicBezTo>
                <a:cubicBezTo>
                  <a:pt x="2182" y="978"/>
                  <a:pt x="2181" y="976"/>
                  <a:pt x="2180" y="975"/>
                </a:cubicBezTo>
                <a:cubicBezTo>
                  <a:pt x="2179" y="974"/>
                  <a:pt x="2180" y="973"/>
                  <a:pt x="2181" y="972"/>
                </a:cubicBezTo>
                <a:cubicBezTo>
                  <a:pt x="2181" y="972"/>
                  <a:pt x="2182" y="971"/>
                  <a:pt x="2183" y="971"/>
                </a:cubicBezTo>
                <a:cubicBezTo>
                  <a:pt x="2184" y="970"/>
                  <a:pt x="2184" y="967"/>
                  <a:pt x="2182" y="966"/>
                </a:cubicBezTo>
                <a:cubicBezTo>
                  <a:pt x="2182" y="966"/>
                  <a:pt x="2181" y="965"/>
                  <a:pt x="2180" y="965"/>
                </a:cubicBezTo>
                <a:cubicBezTo>
                  <a:pt x="2178" y="964"/>
                  <a:pt x="2176" y="963"/>
                  <a:pt x="2174" y="963"/>
                </a:cubicBezTo>
                <a:cubicBezTo>
                  <a:pt x="2172" y="962"/>
                  <a:pt x="2170" y="960"/>
                  <a:pt x="2170" y="957"/>
                </a:cubicBezTo>
                <a:cubicBezTo>
                  <a:pt x="2170" y="956"/>
                  <a:pt x="2168" y="955"/>
                  <a:pt x="2168" y="955"/>
                </a:cubicBezTo>
                <a:cubicBezTo>
                  <a:pt x="2162" y="950"/>
                  <a:pt x="2156" y="947"/>
                  <a:pt x="2149" y="945"/>
                </a:cubicBezTo>
                <a:cubicBezTo>
                  <a:pt x="2146" y="944"/>
                  <a:pt x="2143" y="943"/>
                  <a:pt x="2140" y="942"/>
                </a:cubicBezTo>
                <a:cubicBezTo>
                  <a:pt x="2137" y="941"/>
                  <a:pt x="2134" y="939"/>
                  <a:pt x="2130" y="938"/>
                </a:cubicBezTo>
                <a:cubicBezTo>
                  <a:pt x="2125" y="937"/>
                  <a:pt x="2121" y="935"/>
                  <a:pt x="2116" y="933"/>
                </a:cubicBezTo>
                <a:cubicBezTo>
                  <a:pt x="2112" y="932"/>
                  <a:pt x="2109" y="931"/>
                  <a:pt x="2106" y="935"/>
                </a:cubicBezTo>
                <a:cubicBezTo>
                  <a:pt x="2106" y="936"/>
                  <a:pt x="2105" y="936"/>
                  <a:pt x="2105" y="936"/>
                </a:cubicBezTo>
                <a:cubicBezTo>
                  <a:pt x="2101" y="938"/>
                  <a:pt x="2098" y="941"/>
                  <a:pt x="2095" y="944"/>
                </a:cubicBezTo>
                <a:cubicBezTo>
                  <a:pt x="2095" y="945"/>
                  <a:pt x="2093" y="945"/>
                  <a:pt x="2092" y="945"/>
                </a:cubicBezTo>
                <a:cubicBezTo>
                  <a:pt x="2090" y="943"/>
                  <a:pt x="2089" y="941"/>
                  <a:pt x="2087" y="940"/>
                </a:cubicBezTo>
                <a:cubicBezTo>
                  <a:pt x="2086" y="939"/>
                  <a:pt x="2086" y="938"/>
                  <a:pt x="2086" y="937"/>
                </a:cubicBezTo>
                <a:cubicBezTo>
                  <a:pt x="2086" y="935"/>
                  <a:pt x="2086" y="934"/>
                  <a:pt x="2086" y="933"/>
                </a:cubicBezTo>
                <a:cubicBezTo>
                  <a:pt x="2087" y="931"/>
                  <a:pt x="2086" y="929"/>
                  <a:pt x="2085" y="927"/>
                </a:cubicBezTo>
                <a:cubicBezTo>
                  <a:pt x="2084" y="926"/>
                  <a:pt x="2082" y="926"/>
                  <a:pt x="2081" y="926"/>
                </a:cubicBezTo>
                <a:cubicBezTo>
                  <a:pt x="2079" y="925"/>
                  <a:pt x="2078" y="924"/>
                  <a:pt x="2076" y="924"/>
                </a:cubicBezTo>
                <a:cubicBezTo>
                  <a:pt x="2074" y="923"/>
                  <a:pt x="2073" y="923"/>
                  <a:pt x="2071" y="924"/>
                </a:cubicBezTo>
                <a:cubicBezTo>
                  <a:pt x="2068" y="926"/>
                  <a:pt x="2065" y="928"/>
                  <a:pt x="2062" y="928"/>
                </a:cubicBezTo>
                <a:cubicBezTo>
                  <a:pt x="2061" y="928"/>
                  <a:pt x="2061" y="929"/>
                  <a:pt x="2061" y="930"/>
                </a:cubicBezTo>
                <a:cubicBezTo>
                  <a:pt x="2061" y="930"/>
                  <a:pt x="2061" y="931"/>
                  <a:pt x="2062" y="931"/>
                </a:cubicBezTo>
                <a:cubicBezTo>
                  <a:pt x="2063" y="932"/>
                  <a:pt x="2064" y="932"/>
                  <a:pt x="2065" y="933"/>
                </a:cubicBezTo>
                <a:cubicBezTo>
                  <a:pt x="2066" y="933"/>
                  <a:pt x="2068" y="933"/>
                  <a:pt x="2068" y="935"/>
                </a:cubicBezTo>
                <a:cubicBezTo>
                  <a:pt x="2070" y="938"/>
                  <a:pt x="2072" y="939"/>
                  <a:pt x="2075" y="938"/>
                </a:cubicBezTo>
                <a:cubicBezTo>
                  <a:pt x="2077" y="938"/>
                  <a:pt x="2078" y="938"/>
                  <a:pt x="2080" y="938"/>
                </a:cubicBezTo>
                <a:cubicBezTo>
                  <a:pt x="2081" y="938"/>
                  <a:pt x="2081" y="939"/>
                  <a:pt x="2081" y="939"/>
                </a:cubicBezTo>
                <a:cubicBezTo>
                  <a:pt x="2081" y="939"/>
                  <a:pt x="2081" y="940"/>
                  <a:pt x="2081" y="940"/>
                </a:cubicBezTo>
                <a:cubicBezTo>
                  <a:pt x="2077" y="939"/>
                  <a:pt x="2075" y="942"/>
                  <a:pt x="2071" y="942"/>
                </a:cubicBezTo>
                <a:cubicBezTo>
                  <a:pt x="2071" y="942"/>
                  <a:pt x="2070" y="942"/>
                  <a:pt x="2071" y="943"/>
                </a:cubicBezTo>
                <a:cubicBezTo>
                  <a:pt x="2073" y="945"/>
                  <a:pt x="2074" y="948"/>
                  <a:pt x="2075" y="950"/>
                </a:cubicBezTo>
                <a:cubicBezTo>
                  <a:pt x="2075" y="952"/>
                  <a:pt x="2078" y="952"/>
                  <a:pt x="2079" y="951"/>
                </a:cubicBezTo>
                <a:cubicBezTo>
                  <a:pt x="2079" y="951"/>
                  <a:pt x="2080" y="950"/>
                  <a:pt x="2080" y="949"/>
                </a:cubicBezTo>
                <a:cubicBezTo>
                  <a:pt x="2081" y="949"/>
                  <a:pt x="2082" y="948"/>
                  <a:pt x="2082" y="949"/>
                </a:cubicBezTo>
                <a:cubicBezTo>
                  <a:pt x="2085" y="950"/>
                  <a:pt x="2087" y="951"/>
                  <a:pt x="2089" y="952"/>
                </a:cubicBezTo>
                <a:cubicBezTo>
                  <a:pt x="2091" y="953"/>
                  <a:pt x="2092" y="954"/>
                  <a:pt x="2094" y="955"/>
                </a:cubicBezTo>
                <a:cubicBezTo>
                  <a:pt x="2097" y="955"/>
                  <a:pt x="2099" y="956"/>
                  <a:pt x="2102" y="957"/>
                </a:cubicBezTo>
                <a:cubicBezTo>
                  <a:pt x="2104" y="958"/>
                  <a:pt x="2106" y="958"/>
                  <a:pt x="2107" y="959"/>
                </a:cubicBezTo>
                <a:cubicBezTo>
                  <a:pt x="2110" y="961"/>
                  <a:pt x="2113" y="962"/>
                  <a:pt x="2114" y="966"/>
                </a:cubicBezTo>
                <a:cubicBezTo>
                  <a:pt x="2114" y="968"/>
                  <a:pt x="2115" y="969"/>
                  <a:pt x="2116" y="970"/>
                </a:cubicBezTo>
                <a:cubicBezTo>
                  <a:pt x="2116" y="971"/>
                  <a:pt x="2117" y="972"/>
                  <a:pt x="2117" y="973"/>
                </a:cubicBezTo>
                <a:cubicBezTo>
                  <a:pt x="2118" y="974"/>
                  <a:pt x="2118" y="975"/>
                  <a:pt x="2117" y="976"/>
                </a:cubicBezTo>
                <a:cubicBezTo>
                  <a:pt x="2114" y="976"/>
                  <a:pt x="2112" y="978"/>
                  <a:pt x="2111" y="980"/>
                </a:cubicBezTo>
                <a:cubicBezTo>
                  <a:pt x="2110" y="982"/>
                  <a:pt x="2111" y="983"/>
                  <a:pt x="2113" y="984"/>
                </a:cubicBezTo>
                <a:cubicBezTo>
                  <a:pt x="2115" y="984"/>
                  <a:pt x="2118" y="983"/>
                  <a:pt x="2120" y="983"/>
                </a:cubicBezTo>
                <a:cubicBezTo>
                  <a:pt x="2123" y="982"/>
                  <a:pt x="2126" y="982"/>
                  <a:pt x="2128" y="985"/>
                </a:cubicBezTo>
                <a:cubicBezTo>
                  <a:pt x="2129" y="986"/>
                  <a:pt x="2129" y="987"/>
                  <a:pt x="2130" y="987"/>
                </a:cubicBezTo>
                <a:cubicBezTo>
                  <a:pt x="2131" y="989"/>
                  <a:pt x="2132" y="989"/>
                  <a:pt x="2134" y="989"/>
                </a:cubicBezTo>
                <a:cubicBezTo>
                  <a:pt x="2138" y="990"/>
                  <a:pt x="2141" y="990"/>
                  <a:pt x="2145" y="991"/>
                </a:cubicBezTo>
                <a:cubicBezTo>
                  <a:pt x="2146" y="991"/>
                  <a:pt x="2147" y="991"/>
                  <a:pt x="2149" y="990"/>
                </a:cubicBezTo>
                <a:cubicBezTo>
                  <a:pt x="2151" y="989"/>
                  <a:pt x="2151" y="988"/>
                  <a:pt x="2150" y="986"/>
                </a:cubicBezTo>
                <a:cubicBezTo>
                  <a:pt x="2150" y="985"/>
                  <a:pt x="2150" y="985"/>
                  <a:pt x="2150" y="984"/>
                </a:cubicBezTo>
                <a:cubicBezTo>
                  <a:pt x="2152" y="983"/>
                  <a:pt x="2154" y="981"/>
                  <a:pt x="2156" y="980"/>
                </a:cubicBezTo>
                <a:cubicBezTo>
                  <a:pt x="2158" y="978"/>
                  <a:pt x="2160" y="978"/>
                  <a:pt x="2162" y="979"/>
                </a:cubicBezTo>
                <a:cubicBezTo>
                  <a:pt x="2164" y="980"/>
                  <a:pt x="2166" y="981"/>
                  <a:pt x="2168" y="982"/>
                </a:cubicBezTo>
                <a:cubicBezTo>
                  <a:pt x="2169" y="982"/>
                  <a:pt x="2171" y="983"/>
                  <a:pt x="2172" y="985"/>
                </a:cubicBezTo>
                <a:cubicBezTo>
                  <a:pt x="2174" y="988"/>
                  <a:pt x="2177" y="991"/>
                  <a:pt x="2179" y="994"/>
                </a:cubicBezTo>
                <a:cubicBezTo>
                  <a:pt x="2181" y="997"/>
                  <a:pt x="2183" y="998"/>
                  <a:pt x="2186" y="998"/>
                </a:cubicBezTo>
                <a:cubicBezTo>
                  <a:pt x="2191" y="998"/>
                  <a:pt x="2195" y="999"/>
                  <a:pt x="2199" y="1001"/>
                </a:cubicBezTo>
                <a:cubicBezTo>
                  <a:pt x="2200" y="1001"/>
                  <a:pt x="2200" y="1001"/>
                  <a:pt x="2200" y="1001"/>
                </a:cubicBezTo>
                <a:cubicBezTo>
                  <a:pt x="2201" y="1001"/>
                  <a:pt x="2201" y="1001"/>
                  <a:pt x="2202" y="1001"/>
                </a:cubicBezTo>
                <a:cubicBezTo>
                  <a:pt x="2202" y="1000"/>
                  <a:pt x="2202" y="1000"/>
                  <a:pt x="2202" y="999"/>
                </a:cubicBezTo>
                <a:cubicBezTo>
                  <a:pt x="2202" y="998"/>
                  <a:pt x="2202" y="997"/>
                  <a:pt x="2200" y="996"/>
                </a:cubicBezTo>
                <a:cubicBezTo>
                  <a:pt x="2198" y="996"/>
                  <a:pt x="2199" y="994"/>
                  <a:pt x="2199" y="992"/>
                </a:cubicBezTo>
                <a:cubicBezTo>
                  <a:pt x="2197" y="992"/>
                  <a:pt x="2195" y="993"/>
                  <a:pt x="2194" y="990"/>
                </a:cubicBezTo>
                <a:close/>
                <a:moveTo>
                  <a:pt x="1903" y="919"/>
                </a:moveTo>
                <a:cubicBezTo>
                  <a:pt x="1904" y="922"/>
                  <a:pt x="1904" y="925"/>
                  <a:pt x="1905" y="928"/>
                </a:cubicBezTo>
                <a:cubicBezTo>
                  <a:pt x="1906" y="930"/>
                  <a:pt x="1906" y="932"/>
                  <a:pt x="1909" y="932"/>
                </a:cubicBezTo>
                <a:cubicBezTo>
                  <a:pt x="1909" y="932"/>
                  <a:pt x="1910" y="933"/>
                  <a:pt x="1910" y="933"/>
                </a:cubicBezTo>
                <a:cubicBezTo>
                  <a:pt x="1910" y="936"/>
                  <a:pt x="1911" y="938"/>
                  <a:pt x="1911" y="940"/>
                </a:cubicBezTo>
                <a:cubicBezTo>
                  <a:pt x="1912" y="943"/>
                  <a:pt x="1913" y="944"/>
                  <a:pt x="1915" y="944"/>
                </a:cubicBezTo>
                <a:cubicBezTo>
                  <a:pt x="1917" y="944"/>
                  <a:pt x="1918" y="944"/>
                  <a:pt x="1920" y="944"/>
                </a:cubicBezTo>
                <a:cubicBezTo>
                  <a:pt x="1921" y="944"/>
                  <a:pt x="1922" y="945"/>
                  <a:pt x="1923" y="946"/>
                </a:cubicBezTo>
                <a:cubicBezTo>
                  <a:pt x="1924" y="948"/>
                  <a:pt x="1925" y="948"/>
                  <a:pt x="1927" y="948"/>
                </a:cubicBezTo>
                <a:cubicBezTo>
                  <a:pt x="1928" y="947"/>
                  <a:pt x="1930" y="947"/>
                  <a:pt x="1932" y="946"/>
                </a:cubicBezTo>
                <a:cubicBezTo>
                  <a:pt x="1932" y="946"/>
                  <a:pt x="1933" y="946"/>
                  <a:pt x="1933" y="946"/>
                </a:cubicBezTo>
                <a:cubicBezTo>
                  <a:pt x="1936" y="947"/>
                  <a:pt x="1938" y="948"/>
                  <a:pt x="1941" y="949"/>
                </a:cubicBezTo>
                <a:cubicBezTo>
                  <a:pt x="1941" y="949"/>
                  <a:pt x="1942" y="950"/>
                  <a:pt x="1942" y="951"/>
                </a:cubicBezTo>
                <a:cubicBezTo>
                  <a:pt x="1943" y="952"/>
                  <a:pt x="1944" y="952"/>
                  <a:pt x="1945" y="952"/>
                </a:cubicBezTo>
                <a:cubicBezTo>
                  <a:pt x="1947" y="951"/>
                  <a:pt x="1948" y="951"/>
                  <a:pt x="1950" y="950"/>
                </a:cubicBezTo>
                <a:cubicBezTo>
                  <a:pt x="1951" y="950"/>
                  <a:pt x="1952" y="951"/>
                  <a:pt x="1953" y="951"/>
                </a:cubicBezTo>
                <a:cubicBezTo>
                  <a:pt x="1954" y="951"/>
                  <a:pt x="1955" y="950"/>
                  <a:pt x="1955" y="949"/>
                </a:cubicBezTo>
                <a:cubicBezTo>
                  <a:pt x="1955" y="949"/>
                  <a:pt x="1955" y="948"/>
                  <a:pt x="1955" y="948"/>
                </a:cubicBezTo>
                <a:cubicBezTo>
                  <a:pt x="1954" y="946"/>
                  <a:pt x="1954" y="944"/>
                  <a:pt x="1956" y="943"/>
                </a:cubicBezTo>
                <a:cubicBezTo>
                  <a:pt x="1956" y="941"/>
                  <a:pt x="1957" y="940"/>
                  <a:pt x="1956" y="938"/>
                </a:cubicBezTo>
                <a:cubicBezTo>
                  <a:pt x="1956" y="936"/>
                  <a:pt x="1957" y="934"/>
                  <a:pt x="1958" y="932"/>
                </a:cubicBezTo>
                <a:cubicBezTo>
                  <a:pt x="1961" y="929"/>
                  <a:pt x="1962" y="926"/>
                  <a:pt x="1963" y="923"/>
                </a:cubicBezTo>
                <a:cubicBezTo>
                  <a:pt x="1964" y="921"/>
                  <a:pt x="1965" y="920"/>
                  <a:pt x="1965" y="918"/>
                </a:cubicBezTo>
                <a:cubicBezTo>
                  <a:pt x="1966" y="917"/>
                  <a:pt x="1967" y="916"/>
                  <a:pt x="1968" y="916"/>
                </a:cubicBezTo>
                <a:cubicBezTo>
                  <a:pt x="1969" y="916"/>
                  <a:pt x="1970" y="916"/>
                  <a:pt x="1971" y="916"/>
                </a:cubicBezTo>
                <a:cubicBezTo>
                  <a:pt x="1971" y="916"/>
                  <a:pt x="1972" y="915"/>
                  <a:pt x="1972" y="915"/>
                </a:cubicBezTo>
                <a:cubicBezTo>
                  <a:pt x="1973" y="915"/>
                  <a:pt x="1973" y="914"/>
                  <a:pt x="1973" y="913"/>
                </a:cubicBezTo>
                <a:cubicBezTo>
                  <a:pt x="1972" y="911"/>
                  <a:pt x="1969" y="910"/>
                  <a:pt x="1968" y="908"/>
                </a:cubicBezTo>
                <a:cubicBezTo>
                  <a:pt x="1967" y="907"/>
                  <a:pt x="1967" y="906"/>
                  <a:pt x="1967" y="905"/>
                </a:cubicBezTo>
                <a:cubicBezTo>
                  <a:pt x="1968" y="904"/>
                  <a:pt x="1968" y="903"/>
                  <a:pt x="1967" y="902"/>
                </a:cubicBezTo>
                <a:cubicBezTo>
                  <a:pt x="1964" y="899"/>
                  <a:pt x="1964" y="895"/>
                  <a:pt x="1966" y="892"/>
                </a:cubicBezTo>
                <a:cubicBezTo>
                  <a:pt x="1966" y="891"/>
                  <a:pt x="1967" y="890"/>
                  <a:pt x="1968" y="889"/>
                </a:cubicBezTo>
                <a:cubicBezTo>
                  <a:pt x="1969" y="889"/>
                  <a:pt x="1970" y="888"/>
                  <a:pt x="1970" y="887"/>
                </a:cubicBezTo>
                <a:cubicBezTo>
                  <a:pt x="1970" y="885"/>
                  <a:pt x="1971" y="885"/>
                  <a:pt x="1972" y="884"/>
                </a:cubicBezTo>
                <a:cubicBezTo>
                  <a:pt x="1973" y="884"/>
                  <a:pt x="1975" y="884"/>
                  <a:pt x="1975" y="883"/>
                </a:cubicBezTo>
                <a:cubicBezTo>
                  <a:pt x="1975" y="882"/>
                  <a:pt x="1975" y="882"/>
                  <a:pt x="1976" y="882"/>
                </a:cubicBezTo>
                <a:cubicBezTo>
                  <a:pt x="1975" y="882"/>
                  <a:pt x="1975" y="881"/>
                  <a:pt x="1975" y="881"/>
                </a:cubicBezTo>
                <a:cubicBezTo>
                  <a:pt x="1973" y="880"/>
                  <a:pt x="1971" y="879"/>
                  <a:pt x="1969" y="878"/>
                </a:cubicBezTo>
                <a:cubicBezTo>
                  <a:pt x="1967" y="877"/>
                  <a:pt x="1965" y="876"/>
                  <a:pt x="1965" y="873"/>
                </a:cubicBezTo>
                <a:cubicBezTo>
                  <a:pt x="1964" y="872"/>
                  <a:pt x="1962" y="870"/>
                  <a:pt x="1961" y="869"/>
                </a:cubicBezTo>
                <a:cubicBezTo>
                  <a:pt x="1961" y="869"/>
                  <a:pt x="1960" y="869"/>
                  <a:pt x="1959" y="869"/>
                </a:cubicBezTo>
                <a:cubicBezTo>
                  <a:pt x="1957" y="869"/>
                  <a:pt x="1956" y="870"/>
                  <a:pt x="1955" y="872"/>
                </a:cubicBezTo>
                <a:cubicBezTo>
                  <a:pt x="1954" y="873"/>
                  <a:pt x="1954" y="875"/>
                  <a:pt x="1953" y="876"/>
                </a:cubicBezTo>
                <a:cubicBezTo>
                  <a:pt x="1952" y="877"/>
                  <a:pt x="1952" y="878"/>
                  <a:pt x="1951" y="879"/>
                </a:cubicBezTo>
                <a:cubicBezTo>
                  <a:pt x="1949" y="880"/>
                  <a:pt x="1947" y="882"/>
                  <a:pt x="1944" y="883"/>
                </a:cubicBezTo>
                <a:cubicBezTo>
                  <a:pt x="1941" y="885"/>
                  <a:pt x="1938" y="887"/>
                  <a:pt x="1937" y="890"/>
                </a:cubicBezTo>
                <a:cubicBezTo>
                  <a:pt x="1936" y="891"/>
                  <a:pt x="1935" y="893"/>
                  <a:pt x="1934" y="894"/>
                </a:cubicBezTo>
                <a:cubicBezTo>
                  <a:pt x="1932" y="897"/>
                  <a:pt x="1929" y="899"/>
                  <a:pt x="1926" y="899"/>
                </a:cubicBezTo>
                <a:cubicBezTo>
                  <a:pt x="1923" y="900"/>
                  <a:pt x="1921" y="902"/>
                  <a:pt x="1920" y="905"/>
                </a:cubicBezTo>
                <a:cubicBezTo>
                  <a:pt x="1919" y="906"/>
                  <a:pt x="1919" y="907"/>
                  <a:pt x="1918" y="908"/>
                </a:cubicBezTo>
                <a:cubicBezTo>
                  <a:pt x="1918" y="909"/>
                  <a:pt x="1917" y="910"/>
                  <a:pt x="1915" y="909"/>
                </a:cubicBezTo>
                <a:cubicBezTo>
                  <a:pt x="1914" y="909"/>
                  <a:pt x="1912" y="908"/>
                  <a:pt x="1910" y="907"/>
                </a:cubicBezTo>
                <a:cubicBezTo>
                  <a:pt x="1908" y="907"/>
                  <a:pt x="1906" y="907"/>
                  <a:pt x="1905" y="909"/>
                </a:cubicBezTo>
                <a:cubicBezTo>
                  <a:pt x="1905" y="909"/>
                  <a:pt x="1904" y="910"/>
                  <a:pt x="1904" y="911"/>
                </a:cubicBezTo>
                <a:cubicBezTo>
                  <a:pt x="1903" y="913"/>
                  <a:pt x="1902" y="916"/>
                  <a:pt x="1903" y="919"/>
                </a:cubicBezTo>
                <a:close/>
                <a:moveTo>
                  <a:pt x="1467" y="1008"/>
                </a:moveTo>
                <a:cubicBezTo>
                  <a:pt x="1466" y="1008"/>
                  <a:pt x="1466" y="1008"/>
                  <a:pt x="1465" y="1008"/>
                </a:cubicBezTo>
                <a:cubicBezTo>
                  <a:pt x="1464" y="1010"/>
                  <a:pt x="1463" y="1011"/>
                  <a:pt x="1463" y="1013"/>
                </a:cubicBezTo>
                <a:cubicBezTo>
                  <a:pt x="1463" y="1015"/>
                  <a:pt x="1462" y="1016"/>
                  <a:pt x="1460" y="1017"/>
                </a:cubicBezTo>
                <a:cubicBezTo>
                  <a:pt x="1460" y="1018"/>
                  <a:pt x="1460" y="1018"/>
                  <a:pt x="1459" y="1019"/>
                </a:cubicBezTo>
                <a:cubicBezTo>
                  <a:pt x="1458" y="1020"/>
                  <a:pt x="1456" y="1020"/>
                  <a:pt x="1456" y="1023"/>
                </a:cubicBezTo>
                <a:cubicBezTo>
                  <a:pt x="1455" y="1025"/>
                  <a:pt x="1454" y="1027"/>
                  <a:pt x="1451" y="1029"/>
                </a:cubicBezTo>
                <a:cubicBezTo>
                  <a:pt x="1449" y="1030"/>
                  <a:pt x="1447" y="1032"/>
                  <a:pt x="1445" y="1033"/>
                </a:cubicBezTo>
                <a:cubicBezTo>
                  <a:pt x="1442" y="1034"/>
                  <a:pt x="1440" y="1035"/>
                  <a:pt x="1437" y="1036"/>
                </a:cubicBezTo>
                <a:cubicBezTo>
                  <a:pt x="1437" y="1036"/>
                  <a:pt x="1437" y="1036"/>
                  <a:pt x="1436" y="1036"/>
                </a:cubicBezTo>
                <a:cubicBezTo>
                  <a:pt x="1434" y="1037"/>
                  <a:pt x="1432" y="1038"/>
                  <a:pt x="1429" y="1039"/>
                </a:cubicBezTo>
                <a:cubicBezTo>
                  <a:pt x="1428" y="1041"/>
                  <a:pt x="1428" y="1043"/>
                  <a:pt x="1427" y="1044"/>
                </a:cubicBezTo>
                <a:cubicBezTo>
                  <a:pt x="1424" y="1048"/>
                  <a:pt x="1424" y="1051"/>
                  <a:pt x="1426" y="1055"/>
                </a:cubicBezTo>
                <a:cubicBezTo>
                  <a:pt x="1426" y="1056"/>
                  <a:pt x="1426" y="1057"/>
                  <a:pt x="1427" y="1058"/>
                </a:cubicBezTo>
                <a:cubicBezTo>
                  <a:pt x="1428" y="1062"/>
                  <a:pt x="1428" y="1065"/>
                  <a:pt x="1426" y="1068"/>
                </a:cubicBezTo>
                <a:cubicBezTo>
                  <a:pt x="1424" y="1070"/>
                  <a:pt x="1422" y="1074"/>
                  <a:pt x="1420" y="1076"/>
                </a:cubicBezTo>
                <a:cubicBezTo>
                  <a:pt x="1418" y="1080"/>
                  <a:pt x="1417" y="1084"/>
                  <a:pt x="1418" y="1088"/>
                </a:cubicBezTo>
                <a:cubicBezTo>
                  <a:pt x="1419" y="1090"/>
                  <a:pt x="1419" y="1092"/>
                  <a:pt x="1419" y="1094"/>
                </a:cubicBezTo>
                <a:cubicBezTo>
                  <a:pt x="1419" y="1096"/>
                  <a:pt x="1419" y="1097"/>
                  <a:pt x="1419" y="1099"/>
                </a:cubicBezTo>
                <a:cubicBezTo>
                  <a:pt x="1420" y="1100"/>
                  <a:pt x="1420" y="1101"/>
                  <a:pt x="1421" y="1102"/>
                </a:cubicBezTo>
                <a:cubicBezTo>
                  <a:pt x="1423" y="1106"/>
                  <a:pt x="1426" y="1108"/>
                  <a:pt x="1430" y="1109"/>
                </a:cubicBezTo>
                <a:cubicBezTo>
                  <a:pt x="1432" y="1110"/>
                  <a:pt x="1433" y="1108"/>
                  <a:pt x="1435" y="1107"/>
                </a:cubicBezTo>
                <a:cubicBezTo>
                  <a:pt x="1437" y="1107"/>
                  <a:pt x="1438" y="1107"/>
                  <a:pt x="1440" y="1107"/>
                </a:cubicBezTo>
                <a:cubicBezTo>
                  <a:pt x="1443" y="1106"/>
                  <a:pt x="1445" y="1105"/>
                  <a:pt x="1446" y="1102"/>
                </a:cubicBezTo>
                <a:cubicBezTo>
                  <a:pt x="1447" y="1100"/>
                  <a:pt x="1448" y="1098"/>
                  <a:pt x="1449" y="1095"/>
                </a:cubicBezTo>
                <a:cubicBezTo>
                  <a:pt x="1451" y="1090"/>
                  <a:pt x="1453" y="1085"/>
                  <a:pt x="1455" y="1080"/>
                </a:cubicBezTo>
                <a:cubicBezTo>
                  <a:pt x="1458" y="1072"/>
                  <a:pt x="1460" y="1064"/>
                  <a:pt x="1464" y="1057"/>
                </a:cubicBezTo>
                <a:cubicBezTo>
                  <a:pt x="1465" y="1055"/>
                  <a:pt x="1465" y="1053"/>
                  <a:pt x="1466" y="1050"/>
                </a:cubicBezTo>
                <a:cubicBezTo>
                  <a:pt x="1466" y="1047"/>
                  <a:pt x="1467" y="1045"/>
                  <a:pt x="1468" y="1042"/>
                </a:cubicBezTo>
                <a:cubicBezTo>
                  <a:pt x="1469" y="1040"/>
                  <a:pt x="1469" y="1037"/>
                  <a:pt x="1472" y="1036"/>
                </a:cubicBezTo>
                <a:cubicBezTo>
                  <a:pt x="1473" y="1034"/>
                  <a:pt x="1473" y="1033"/>
                  <a:pt x="1473" y="1031"/>
                </a:cubicBezTo>
                <a:cubicBezTo>
                  <a:pt x="1473" y="1029"/>
                  <a:pt x="1472" y="1026"/>
                  <a:pt x="1472" y="1024"/>
                </a:cubicBezTo>
                <a:cubicBezTo>
                  <a:pt x="1472" y="1018"/>
                  <a:pt x="1470" y="1013"/>
                  <a:pt x="1467" y="1008"/>
                </a:cubicBezTo>
                <a:close/>
                <a:moveTo>
                  <a:pt x="1395" y="227"/>
                </a:moveTo>
                <a:cubicBezTo>
                  <a:pt x="1393" y="230"/>
                  <a:pt x="1394" y="233"/>
                  <a:pt x="1392" y="236"/>
                </a:cubicBezTo>
                <a:cubicBezTo>
                  <a:pt x="1391" y="237"/>
                  <a:pt x="1392" y="239"/>
                  <a:pt x="1393" y="240"/>
                </a:cubicBezTo>
                <a:cubicBezTo>
                  <a:pt x="1393" y="240"/>
                  <a:pt x="1394" y="241"/>
                  <a:pt x="1394" y="242"/>
                </a:cubicBezTo>
                <a:cubicBezTo>
                  <a:pt x="1395" y="244"/>
                  <a:pt x="1395" y="246"/>
                  <a:pt x="1393" y="247"/>
                </a:cubicBezTo>
                <a:cubicBezTo>
                  <a:pt x="1392" y="248"/>
                  <a:pt x="1390" y="248"/>
                  <a:pt x="1390" y="250"/>
                </a:cubicBezTo>
                <a:cubicBezTo>
                  <a:pt x="1389" y="252"/>
                  <a:pt x="1389" y="253"/>
                  <a:pt x="1390" y="255"/>
                </a:cubicBezTo>
                <a:cubicBezTo>
                  <a:pt x="1391" y="257"/>
                  <a:pt x="1392" y="258"/>
                  <a:pt x="1394" y="259"/>
                </a:cubicBezTo>
                <a:cubicBezTo>
                  <a:pt x="1394" y="259"/>
                  <a:pt x="1395" y="260"/>
                  <a:pt x="1396" y="260"/>
                </a:cubicBezTo>
                <a:cubicBezTo>
                  <a:pt x="1397" y="260"/>
                  <a:pt x="1398" y="259"/>
                  <a:pt x="1399" y="259"/>
                </a:cubicBezTo>
                <a:cubicBezTo>
                  <a:pt x="1401" y="258"/>
                  <a:pt x="1403" y="259"/>
                  <a:pt x="1404" y="261"/>
                </a:cubicBezTo>
                <a:cubicBezTo>
                  <a:pt x="1405" y="262"/>
                  <a:pt x="1405" y="263"/>
                  <a:pt x="1405" y="264"/>
                </a:cubicBezTo>
                <a:cubicBezTo>
                  <a:pt x="1406" y="267"/>
                  <a:pt x="1407" y="268"/>
                  <a:pt x="1410" y="268"/>
                </a:cubicBezTo>
                <a:cubicBezTo>
                  <a:pt x="1411" y="269"/>
                  <a:pt x="1413" y="269"/>
                  <a:pt x="1414" y="270"/>
                </a:cubicBezTo>
                <a:cubicBezTo>
                  <a:pt x="1415" y="270"/>
                  <a:pt x="1417" y="271"/>
                  <a:pt x="1418" y="271"/>
                </a:cubicBezTo>
                <a:cubicBezTo>
                  <a:pt x="1419" y="270"/>
                  <a:pt x="1420" y="271"/>
                  <a:pt x="1422" y="271"/>
                </a:cubicBezTo>
                <a:cubicBezTo>
                  <a:pt x="1422" y="271"/>
                  <a:pt x="1422" y="271"/>
                  <a:pt x="1422" y="271"/>
                </a:cubicBezTo>
                <a:cubicBezTo>
                  <a:pt x="1423" y="271"/>
                  <a:pt x="1425" y="271"/>
                  <a:pt x="1427" y="271"/>
                </a:cubicBezTo>
                <a:cubicBezTo>
                  <a:pt x="1427" y="271"/>
                  <a:pt x="1428" y="270"/>
                  <a:pt x="1428" y="270"/>
                </a:cubicBezTo>
                <a:cubicBezTo>
                  <a:pt x="1429" y="269"/>
                  <a:pt x="1429" y="268"/>
                  <a:pt x="1429" y="267"/>
                </a:cubicBezTo>
                <a:cubicBezTo>
                  <a:pt x="1429" y="266"/>
                  <a:pt x="1429" y="265"/>
                  <a:pt x="1428" y="264"/>
                </a:cubicBezTo>
                <a:cubicBezTo>
                  <a:pt x="1426" y="263"/>
                  <a:pt x="1424" y="262"/>
                  <a:pt x="1423" y="261"/>
                </a:cubicBezTo>
                <a:cubicBezTo>
                  <a:pt x="1418" y="258"/>
                  <a:pt x="1415" y="253"/>
                  <a:pt x="1413" y="248"/>
                </a:cubicBezTo>
                <a:cubicBezTo>
                  <a:pt x="1412" y="245"/>
                  <a:pt x="1412" y="243"/>
                  <a:pt x="1411" y="240"/>
                </a:cubicBezTo>
                <a:cubicBezTo>
                  <a:pt x="1410" y="237"/>
                  <a:pt x="1411" y="233"/>
                  <a:pt x="1411" y="229"/>
                </a:cubicBezTo>
                <a:cubicBezTo>
                  <a:pt x="1411" y="227"/>
                  <a:pt x="1412" y="226"/>
                  <a:pt x="1413" y="224"/>
                </a:cubicBezTo>
                <a:cubicBezTo>
                  <a:pt x="1414" y="223"/>
                  <a:pt x="1414" y="222"/>
                  <a:pt x="1414" y="221"/>
                </a:cubicBezTo>
                <a:cubicBezTo>
                  <a:pt x="1415" y="216"/>
                  <a:pt x="1416" y="211"/>
                  <a:pt x="1417" y="206"/>
                </a:cubicBezTo>
                <a:cubicBezTo>
                  <a:pt x="1417" y="204"/>
                  <a:pt x="1417" y="202"/>
                  <a:pt x="1419" y="201"/>
                </a:cubicBezTo>
                <a:cubicBezTo>
                  <a:pt x="1422" y="200"/>
                  <a:pt x="1423" y="197"/>
                  <a:pt x="1425" y="195"/>
                </a:cubicBezTo>
                <a:cubicBezTo>
                  <a:pt x="1426" y="191"/>
                  <a:pt x="1428" y="188"/>
                  <a:pt x="1430" y="185"/>
                </a:cubicBezTo>
                <a:cubicBezTo>
                  <a:pt x="1432" y="182"/>
                  <a:pt x="1434" y="179"/>
                  <a:pt x="1437" y="177"/>
                </a:cubicBezTo>
                <a:cubicBezTo>
                  <a:pt x="1440" y="174"/>
                  <a:pt x="1443" y="171"/>
                  <a:pt x="1447" y="169"/>
                </a:cubicBezTo>
                <a:cubicBezTo>
                  <a:pt x="1448" y="169"/>
                  <a:pt x="1449" y="167"/>
                  <a:pt x="1451" y="166"/>
                </a:cubicBezTo>
                <a:cubicBezTo>
                  <a:pt x="1454" y="164"/>
                  <a:pt x="1455" y="162"/>
                  <a:pt x="1454" y="158"/>
                </a:cubicBezTo>
                <a:cubicBezTo>
                  <a:pt x="1453" y="157"/>
                  <a:pt x="1453" y="156"/>
                  <a:pt x="1453" y="155"/>
                </a:cubicBezTo>
                <a:cubicBezTo>
                  <a:pt x="1453" y="154"/>
                  <a:pt x="1452" y="153"/>
                  <a:pt x="1451" y="153"/>
                </a:cubicBezTo>
                <a:cubicBezTo>
                  <a:pt x="1450" y="152"/>
                  <a:pt x="1449" y="152"/>
                  <a:pt x="1449" y="151"/>
                </a:cubicBezTo>
                <a:cubicBezTo>
                  <a:pt x="1447" y="149"/>
                  <a:pt x="1444" y="150"/>
                  <a:pt x="1442" y="151"/>
                </a:cubicBezTo>
                <a:cubicBezTo>
                  <a:pt x="1439" y="152"/>
                  <a:pt x="1436" y="154"/>
                  <a:pt x="1436" y="158"/>
                </a:cubicBezTo>
                <a:cubicBezTo>
                  <a:pt x="1436" y="161"/>
                  <a:pt x="1434" y="163"/>
                  <a:pt x="1432" y="164"/>
                </a:cubicBezTo>
                <a:cubicBezTo>
                  <a:pt x="1429" y="165"/>
                  <a:pt x="1426" y="167"/>
                  <a:pt x="1423" y="167"/>
                </a:cubicBezTo>
                <a:cubicBezTo>
                  <a:pt x="1418" y="167"/>
                  <a:pt x="1415" y="170"/>
                  <a:pt x="1412" y="174"/>
                </a:cubicBezTo>
                <a:cubicBezTo>
                  <a:pt x="1412" y="175"/>
                  <a:pt x="1411" y="175"/>
                  <a:pt x="1411" y="175"/>
                </a:cubicBezTo>
                <a:cubicBezTo>
                  <a:pt x="1411" y="177"/>
                  <a:pt x="1409" y="177"/>
                  <a:pt x="1408" y="178"/>
                </a:cubicBezTo>
                <a:cubicBezTo>
                  <a:pt x="1407" y="178"/>
                  <a:pt x="1406" y="179"/>
                  <a:pt x="1406" y="180"/>
                </a:cubicBezTo>
                <a:cubicBezTo>
                  <a:pt x="1406" y="182"/>
                  <a:pt x="1405" y="183"/>
                  <a:pt x="1404" y="184"/>
                </a:cubicBezTo>
                <a:cubicBezTo>
                  <a:pt x="1404" y="186"/>
                  <a:pt x="1403" y="187"/>
                  <a:pt x="1404" y="188"/>
                </a:cubicBezTo>
                <a:cubicBezTo>
                  <a:pt x="1404" y="189"/>
                  <a:pt x="1403" y="189"/>
                  <a:pt x="1403" y="190"/>
                </a:cubicBezTo>
                <a:cubicBezTo>
                  <a:pt x="1403" y="190"/>
                  <a:pt x="1403" y="190"/>
                  <a:pt x="1402" y="190"/>
                </a:cubicBezTo>
                <a:cubicBezTo>
                  <a:pt x="1401" y="191"/>
                  <a:pt x="1400" y="192"/>
                  <a:pt x="1399" y="193"/>
                </a:cubicBezTo>
                <a:cubicBezTo>
                  <a:pt x="1398" y="194"/>
                  <a:pt x="1397" y="194"/>
                  <a:pt x="1396" y="194"/>
                </a:cubicBezTo>
                <a:cubicBezTo>
                  <a:pt x="1395" y="194"/>
                  <a:pt x="1395" y="196"/>
                  <a:pt x="1395" y="196"/>
                </a:cubicBezTo>
                <a:cubicBezTo>
                  <a:pt x="1396" y="198"/>
                  <a:pt x="1398" y="200"/>
                  <a:pt x="1398" y="202"/>
                </a:cubicBezTo>
                <a:cubicBezTo>
                  <a:pt x="1399" y="204"/>
                  <a:pt x="1398" y="206"/>
                  <a:pt x="1398" y="209"/>
                </a:cubicBezTo>
                <a:cubicBezTo>
                  <a:pt x="1398" y="210"/>
                  <a:pt x="1397" y="211"/>
                  <a:pt x="1396" y="213"/>
                </a:cubicBezTo>
                <a:cubicBezTo>
                  <a:pt x="1395" y="214"/>
                  <a:pt x="1395" y="216"/>
                  <a:pt x="1394" y="218"/>
                </a:cubicBezTo>
                <a:cubicBezTo>
                  <a:pt x="1393" y="219"/>
                  <a:pt x="1393" y="221"/>
                  <a:pt x="1394" y="222"/>
                </a:cubicBezTo>
                <a:cubicBezTo>
                  <a:pt x="1397" y="224"/>
                  <a:pt x="1397" y="225"/>
                  <a:pt x="1395" y="227"/>
                </a:cubicBezTo>
                <a:close/>
                <a:moveTo>
                  <a:pt x="2038" y="667"/>
                </a:moveTo>
                <a:cubicBezTo>
                  <a:pt x="2038" y="667"/>
                  <a:pt x="2039" y="667"/>
                  <a:pt x="2039" y="666"/>
                </a:cubicBezTo>
                <a:cubicBezTo>
                  <a:pt x="2040" y="665"/>
                  <a:pt x="2041" y="664"/>
                  <a:pt x="2041" y="663"/>
                </a:cubicBezTo>
                <a:cubicBezTo>
                  <a:pt x="2042" y="658"/>
                  <a:pt x="2042" y="653"/>
                  <a:pt x="2042" y="649"/>
                </a:cubicBezTo>
                <a:cubicBezTo>
                  <a:pt x="2041" y="646"/>
                  <a:pt x="2041" y="642"/>
                  <a:pt x="2036" y="641"/>
                </a:cubicBezTo>
                <a:cubicBezTo>
                  <a:pt x="2036" y="641"/>
                  <a:pt x="2036" y="641"/>
                  <a:pt x="2036" y="641"/>
                </a:cubicBezTo>
                <a:cubicBezTo>
                  <a:pt x="2036" y="640"/>
                  <a:pt x="2036" y="640"/>
                  <a:pt x="2036" y="640"/>
                </a:cubicBezTo>
                <a:cubicBezTo>
                  <a:pt x="2037" y="640"/>
                  <a:pt x="2038" y="639"/>
                  <a:pt x="2038" y="639"/>
                </a:cubicBezTo>
                <a:cubicBezTo>
                  <a:pt x="2040" y="639"/>
                  <a:pt x="2041" y="639"/>
                  <a:pt x="2042" y="637"/>
                </a:cubicBezTo>
                <a:cubicBezTo>
                  <a:pt x="2043" y="637"/>
                  <a:pt x="2044" y="636"/>
                  <a:pt x="2044" y="636"/>
                </a:cubicBezTo>
                <a:cubicBezTo>
                  <a:pt x="2047" y="635"/>
                  <a:pt x="2049" y="635"/>
                  <a:pt x="2052" y="635"/>
                </a:cubicBezTo>
                <a:cubicBezTo>
                  <a:pt x="2052" y="635"/>
                  <a:pt x="2052" y="635"/>
                  <a:pt x="2052" y="635"/>
                </a:cubicBezTo>
                <a:cubicBezTo>
                  <a:pt x="2052" y="635"/>
                  <a:pt x="2052" y="635"/>
                  <a:pt x="2052" y="635"/>
                </a:cubicBezTo>
                <a:cubicBezTo>
                  <a:pt x="2052" y="635"/>
                  <a:pt x="2052" y="635"/>
                  <a:pt x="2052" y="635"/>
                </a:cubicBezTo>
                <a:cubicBezTo>
                  <a:pt x="2052" y="635"/>
                  <a:pt x="2052" y="635"/>
                  <a:pt x="2052" y="635"/>
                </a:cubicBezTo>
                <a:cubicBezTo>
                  <a:pt x="2051" y="637"/>
                  <a:pt x="2050" y="638"/>
                  <a:pt x="2048" y="638"/>
                </a:cubicBezTo>
                <a:cubicBezTo>
                  <a:pt x="2048" y="638"/>
                  <a:pt x="2047" y="638"/>
                  <a:pt x="2046" y="638"/>
                </a:cubicBezTo>
                <a:cubicBezTo>
                  <a:pt x="2045" y="639"/>
                  <a:pt x="2043" y="642"/>
                  <a:pt x="2044" y="643"/>
                </a:cubicBezTo>
                <a:cubicBezTo>
                  <a:pt x="2044" y="645"/>
                  <a:pt x="2045" y="646"/>
                  <a:pt x="2045" y="647"/>
                </a:cubicBezTo>
                <a:cubicBezTo>
                  <a:pt x="2046" y="647"/>
                  <a:pt x="2046" y="648"/>
                  <a:pt x="2046" y="648"/>
                </a:cubicBezTo>
                <a:cubicBezTo>
                  <a:pt x="2047" y="649"/>
                  <a:pt x="2049" y="649"/>
                  <a:pt x="2050" y="647"/>
                </a:cubicBezTo>
                <a:cubicBezTo>
                  <a:pt x="2050" y="646"/>
                  <a:pt x="2051" y="644"/>
                  <a:pt x="2052" y="643"/>
                </a:cubicBezTo>
                <a:cubicBezTo>
                  <a:pt x="2053" y="642"/>
                  <a:pt x="2055" y="643"/>
                  <a:pt x="2056" y="643"/>
                </a:cubicBezTo>
                <a:cubicBezTo>
                  <a:pt x="2056" y="643"/>
                  <a:pt x="2057" y="643"/>
                  <a:pt x="2057" y="643"/>
                </a:cubicBezTo>
                <a:cubicBezTo>
                  <a:pt x="2059" y="643"/>
                  <a:pt x="2060" y="639"/>
                  <a:pt x="2059" y="637"/>
                </a:cubicBezTo>
                <a:cubicBezTo>
                  <a:pt x="2058" y="636"/>
                  <a:pt x="2057" y="635"/>
                  <a:pt x="2056" y="634"/>
                </a:cubicBezTo>
                <a:cubicBezTo>
                  <a:pt x="2056" y="633"/>
                  <a:pt x="2056" y="632"/>
                  <a:pt x="2057" y="631"/>
                </a:cubicBezTo>
                <a:cubicBezTo>
                  <a:pt x="2058" y="631"/>
                  <a:pt x="2058" y="631"/>
                  <a:pt x="2059" y="630"/>
                </a:cubicBezTo>
                <a:cubicBezTo>
                  <a:pt x="2059" y="630"/>
                  <a:pt x="2060" y="630"/>
                  <a:pt x="2060" y="630"/>
                </a:cubicBezTo>
                <a:cubicBezTo>
                  <a:pt x="2061" y="631"/>
                  <a:pt x="2061" y="631"/>
                  <a:pt x="2060" y="632"/>
                </a:cubicBezTo>
                <a:cubicBezTo>
                  <a:pt x="2060" y="633"/>
                  <a:pt x="2059" y="634"/>
                  <a:pt x="2060" y="634"/>
                </a:cubicBezTo>
                <a:cubicBezTo>
                  <a:pt x="2060" y="636"/>
                  <a:pt x="2061" y="637"/>
                  <a:pt x="2062" y="639"/>
                </a:cubicBezTo>
                <a:cubicBezTo>
                  <a:pt x="2063" y="640"/>
                  <a:pt x="2064" y="641"/>
                  <a:pt x="2065" y="642"/>
                </a:cubicBezTo>
                <a:cubicBezTo>
                  <a:pt x="2066" y="642"/>
                  <a:pt x="2068" y="642"/>
                  <a:pt x="2068" y="641"/>
                </a:cubicBezTo>
                <a:cubicBezTo>
                  <a:pt x="2070" y="638"/>
                  <a:pt x="2072" y="635"/>
                  <a:pt x="2074" y="632"/>
                </a:cubicBezTo>
                <a:cubicBezTo>
                  <a:pt x="2074" y="631"/>
                  <a:pt x="2075" y="630"/>
                  <a:pt x="2076" y="630"/>
                </a:cubicBezTo>
                <a:cubicBezTo>
                  <a:pt x="2077" y="630"/>
                  <a:pt x="2079" y="630"/>
                  <a:pt x="2080" y="630"/>
                </a:cubicBezTo>
                <a:cubicBezTo>
                  <a:pt x="2082" y="630"/>
                  <a:pt x="2083" y="629"/>
                  <a:pt x="2084" y="628"/>
                </a:cubicBezTo>
                <a:cubicBezTo>
                  <a:pt x="2085" y="628"/>
                  <a:pt x="2085" y="628"/>
                  <a:pt x="2086" y="628"/>
                </a:cubicBezTo>
                <a:cubicBezTo>
                  <a:pt x="2087" y="629"/>
                  <a:pt x="2088" y="628"/>
                  <a:pt x="2088" y="627"/>
                </a:cubicBezTo>
                <a:cubicBezTo>
                  <a:pt x="2089" y="626"/>
                  <a:pt x="2089" y="623"/>
                  <a:pt x="2091" y="622"/>
                </a:cubicBezTo>
                <a:cubicBezTo>
                  <a:pt x="2091" y="622"/>
                  <a:pt x="2091" y="622"/>
                  <a:pt x="2091" y="621"/>
                </a:cubicBezTo>
                <a:cubicBezTo>
                  <a:pt x="2091" y="622"/>
                  <a:pt x="2092" y="622"/>
                  <a:pt x="2092" y="622"/>
                </a:cubicBezTo>
                <a:cubicBezTo>
                  <a:pt x="2092" y="623"/>
                  <a:pt x="2092" y="624"/>
                  <a:pt x="2092" y="625"/>
                </a:cubicBezTo>
                <a:cubicBezTo>
                  <a:pt x="2093" y="625"/>
                  <a:pt x="2094" y="626"/>
                  <a:pt x="2094" y="626"/>
                </a:cubicBezTo>
                <a:cubicBezTo>
                  <a:pt x="2098" y="624"/>
                  <a:pt x="2100" y="619"/>
                  <a:pt x="2098" y="616"/>
                </a:cubicBezTo>
                <a:cubicBezTo>
                  <a:pt x="2097" y="613"/>
                  <a:pt x="2096" y="611"/>
                  <a:pt x="2096" y="608"/>
                </a:cubicBezTo>
                <a:cubicBezTo>
                  <a:pt x="2097" y="603"/>
                  <a:pt x="2096" y="599"/>
                  <a:pt x="2094" y="595"/>
                </a:cubicBezTo>
                <a:cubicBezTo>
                  <a:pt x="2094" y="594"/>
                  <a:pt x="2094" y="592"/>
                  <a:pt x="2096" y="591"/>
                </a:cubicBezTo>
                <a:cubicBezTo>
                  <a:pt x="2097" y="590"/>
                  <a:pt x="2098" y="589"/>
                  <a:pt x="2097" y="587"/>
                </a:cubicBezTo>
                <a:cubicBezTo>
                  <a:pt x="2097" y="586"/>
                  <a:pt x="2097" y="585"/>
                  <a:pt x="2097" y="583"/>
                </a:cubicBezTo>
                <a:cubicBezTo>
                  <a:pt x="2097" y="579"/>
                  <a:pt x="2096" y="575"/>
                  <a:pt x="2094" y="571"/>
                </a:cubicBezTo>
                <a:cubicBezTo>
                  <a:pt x="2092" y="566"/>
                  <a:pt x="2088" y="563"/>
                  <a:pt x="2086" y="558"/>
                </a:cubicBezTo>
                <a:cubicBezTo>
                  <a:pt x="2086" y="557"/>
                  <a:pt x="2084" y="557"/>
                  <a:pt x="2083" y="558"/>
                </a:cubicBezTo>
                <a:cubicBezTo>
                  <a:pt x="2080" y="561"/>
                  <a:pt x="2078" y="565"/>
                  <a:pt x="2079" y="570"/>
                </a:cubicBezTo>
                <a:cubicBezTo>
                  <a:pt x="2079" y="572"/>
                  <a:pt x="2078" y="575"/>
                  <a:pt x="2081" y="576"/>
                </a:cubicBezTo>
                <a:cubicBezTo>
                  <a:pt x="2081" y="577"/>
                  <a:pt x="2082" y="577"/>
                  <a:pt x="2082" y="578"/>
                </a:cubicBezTo>
                <a:cubicBezTo>
                  <a:pt x="2082" y="584"/>
                  <a:pt x="2083" y="591"/>
                  <a:pt x="2079" y="597"/>
                </a:cubicBezTo>
                <a:cubicBezTo>
                  <a:pt x="2078" y="597"/>
                  <a:pt x="2078" y="599"/>
                  <a:pt x="2078" y="600"/>
                </a:cubicBezTo>
                <a:cubicBezTo>
                  <a:pt x="2077" y="604"/>
                  <a:pt x="2074" y="606"/>
                  <a:pt x="2071" y="607"/>
                </a:cubicBezTo>
                <a:cubicBezTo>
                  <a:pt x="2070" y="607"/>
                  <a:pt x="2069" y="606"/>
                  <a:pt x="2069" y="606"/>
                </a:cubicBezTo>
                <a:cubicBezTo>
                  <a:pt x="2069" y="605"/>
                  <a:pt x="2069" y="604"/>
                  <a:pt x="2068" y="604"/>
                </a:cubicBezTo>
                <a:cubicBezTo>
                  <a:pt x="2068" y="602"/>
                  <a:pt x="2068" y="602"/>
                  <a:pt x="2067" y="602"/>
                </a:cubicBezTo>
                <a:cubicBezTo>
                  <a:pt x="2066" y="602"/>
                  <a:pt x="2066" y="603"/>
                  <a:pt x="2065" y="604"/>
                </a:cubicBezTo>
                <a:cubicBezTo>
                  <a:pt x="2064" y="605"/>
                  <a:pt x="2065" y="606"/>
                  <a:pt x="2065" y="607"/>
                </a:cubicBezTo>
                <a:cubicBezTo>
                  <a:pt x="2065" y="608"/>
                  <a:pt x="2065" y="609"/>
                  <a:pt x="2065" y="610"/>
                </a:cubicBezTo>
                <a:cubicBezTo>
                  <a:pt x="2063" y="613"/>
                  <a:pt x="2063" y="616"/>
                  <a:pt x="2062" y="619"/>
                </a:cubicBezTo>
                <a:cubicBezTo>
                  <a:pt x="2062" y="620"/>
                  <a:pt x="2061" y="620"/>
                  <a:pt x="2061" y="620"/>
                </a:cubicBezTo>
                <a:cubicBezTo>
                  <a:pt x="2058" y="620"/>
                  <a:pt x="2056" y="620"/>
                  <a:pt x="2054" y="621"/>
                </a:cubicBezTo>
                <a:cubicBezTo>
                  <a:pt x="2051" y="622"/>
                  <a:pt x="2048" y="622"/>
                  <a:pt x="2045" y="623"/>
                </a:cubicBezTo>
                <a:cubicBezTo>
                  <a:pt x="2044" y="623"/>
                  <a:pt x="2043" y="624"/>
                  <a:pt x="2042" y="625"/>
                </a:cubicBezTo>
                <a:cubicBezTo>
                  <a:pt x="2039" y="629"/>
                  <a:pt x="2036" y="632"/>
                  <a:pt x="2032" y="635"/>
                </a:cubicBezTo>
                <a:cubicBezTo>
                  <a:pt x="2032" y="636"/>
                  <a:pt x="2032" y="637"/>
                  <a:pt x="2032" y="638"/>
                </a:cubicBezTo>
                <a:cubicBezTo>
                  <a:pt x="2032" y="639"/>
                  <a:pt x="2032" y="639"/>
                  <a:pt x="2031" y="640"/>
                </a:cubicBezTo>
                <a:cubicBezTo>
                  <a:pt x="2030" y="642"/>
                  <a:pt x="2028" y="643"/>
                  <a:pt x="2027" y="645"/>
                </a:cubicBezTo>
                <a:cubicBezTo>
                  <a:pt x="2026" y="646"/>
                  <a:pt x="2025" y="647"/>
                  <a:pt x="2026" y="649"/>
                </a:cubicBezTo>
                <a:cubicBezTo>
                  <a:pt x="2026" y="650"/>
                  <a:pt x="2026" y="651"/>
                  <a:pt x="2028" y="652"/>
                </a:cubicBezTo>
                <a:cubicBezTo>
                  <a:pt x="2027" y="653"/>
                  <a:pt x="2027" y="653"/>
                  <a:pt x="2027" y="653"/>
                </a:cubicBezTo>
                <a:cubicBezTo>
                  <a:pt x="2027" y="653"/>
                  <a:pt x="2028" y="653"/>
                  <a:pt x="2028" y="653"/>
                </a:cubicBezTo>
                <a:cubicBezTo>
                  <a:pt x="2028" y="653"/>
                  <a:pt x="2028" y="653"/>
                  <a:pt x="2028" y="652"/>
                </a:cubicBezTo>
                <a:cubicBezTo>
                  <a:pt x="2028" y="652"/>
                  <a:pt x="2028" y="652"/>
                  <a:pt x="2028" y="652"/>
                </a:cubicBezTo>
                <a:cubicBezTo>
                  <a:pt x="2029" y="652"/>
                  <a:pt x="2030" y="652"/>
                  <a:pt x="2030" y="653"/>
                </a:cubicBezTo>
                <a:cubicBezTo>
                  <a:pt x="2030" y="654"/>
                  <a:pt x="2030" y="655"/>
                  <a:pt x="2029" y="656"/>
                </a:cubicBezTo>
                <a:cubicBezTo>
                  <a:pt x="2029" y="656"/>
                  <a:pt x="2029" y="656"/>
                  <a:pt x="2029" y="656"/>
                </a:cubicBezTo>
                <a:cubicBezTo>
                  <a:pt x="2029" y="656"/>
                  <a:pt x="2029" y="656"/>
                  <a:pt x="2029" y="656"/>
                </a:cubicBezTo>
                <a:cubicBezTo>
                  <a:pt x="2029" y="656"/>
                  <a:pt x="2029" y="656"/>
                  <a:pt x="2029" y="656"/>
                </a:cubicBezTo>
                <a:cubicBezTo>
                  <a:pt x="2031" y="659"/>
                  <a:pt x="2032" y="662"/>
                  <a:pt x="2033" y="665"/>
                </a:cubicBezTo>
                <a:cubicBezTo>
                  <a:pt x="2033" y="667"/>
                  <a:pt x="2037" y="668"/>
                  <a:pt x="2038" y="667"/>
                </a:cubicBezTo>
                <a:close/>
                <a:moveTo>
                  <a:pt x="2084" y="561"/>
                </a:moveTo>
                <a:cubicBezTo>
                  <a:pt x="2084" y="561"/>
                  <a:pt x="2084" y="561"/>
                  <a:pt x="2084" y="561"/>
                </a:cubicBezTo>
                <a:cubicBezTo>
                  <a:pt x="2084" y="562"/>
                  <a:pt x="2084" y="562"/>
                  <a:pt x="2084" y="562"/>
                </a:cubicBezTo>
                <a:cubicBezTo>
                  <a:pt x="2083" y="562"/>
                  <a:pt x="2083" y="562"/>
                  <a:pt x="2083" y="562"/>
                </a:cubicBezTo>
                <a:lnTo>
                  <a:pt x="2084" y="561"/>
                </a:lnTo>
                <a:close/>
                <a:moveTo>
                  <a:pt x="671" y="99"/>
                </a:moveTo>
                <a:cubicBezTo>
                  <a:pt x="671" y="100"/>
                  <a:pt x="673" y="100"/>
                  <a:pt x="674" y="100"/>
                </a:cubicBezTo>
                <a:cubicBezTo>
                  <a:pt x="676" y="100"/>
                  <a:pt x="678" y="100"/>
                  <a:pt x="680" y="101"/>
                </a:cubicBezTo>
                <a:cubicBezTo>
                  <a:pt x="681" y="102"/>
                  <a:pt x="682" y="102"/>
                  <a:pt x="683" y="101"/>
                </a:cubicBezTo>
                <a:cubicBezTo>
                  <a:pt x="684" y="100"/>
                  <a:pt x="684" y="99"/>
                  <a:pt x="685" y="99"/>
                </a:cubicBezTo>
                <a:cubicBezTo>
                  <a:pt x="685" y="99"/>
                  <a:pt x="685" y="99"/>
                  <a:pt x="685" y="99"/>
                </a:cubicBezTo>
                <a:cubicBezTo>
                  <a:pt x="685" y="99"/>
                  <a:pt x="685" y="99"/>
                  <a:pt x="685" y="99"/>
                </a:cubicBezTo>
                <a:cubicBezTo>
                  <a:pt x="685" y="99"/>
                  <a:pt x="685" y="99"/>
                  <a:pt x="685" y="99"/>
                </a:cubicBezTo>
                <a:cubicBezTo>
                  <a:pt x="687" y="98"/>
                  <a:pt x="689" y="97"/>
                  <a:pt x="691" y="95"/>
                </a:cubicBezTo>
                <a:cubicBezTo>
                  <a:pt x="692" y="94"/>
                  <a:pt x="694" y="93"/>
                  <a:pt x="696" y="92"/>
                </a:cubicBezTo>
                <a:cubicBezTo>
                  <a:pt x="696" y="91"/>
                  <a:pt x="697" y="90"/>
                  <a:pt x="697" y="89"/>
                </a:cubicBezTo>
                <a:cubicBezTo>
                  <a:pt x="698" y="87"/>
                  <a:pt x="699" y="87"/>
                  <a:pt x="701" y="87"/>
                </a:cubicBezTo>
                <a:cubicBezTo>
                  <a:pt x="701" y="87"/>
                  <a:pt x="701" y="87"/>
                  <a:pt x="701" y="87"/>
                </a:cubicBezTo>
                <a:cubicBezTo>
                  <a:pt x="701" y="87"/>
                  <a:pt x="701" y="87"/>
                  <a:pt x="701" y="87"/>
                </a:cubicBezTo>
                <a:cubicBezTo>
                  <a:pt x="701" y="86"/>
                  <a:pt x="701" y="86"/>
                  <a:pt x="702" y="87"/>
                </a:cubicBezTo>
                <a:cubicBezTo>
                  <a:pt x="701" y="87"/>
                  <a:pt x="701" y="87"/>
                  <a:pt x="701" y="87"/>
                </a:cubicBezTo>
                <a:cubicBezTo>
                  <a:pt x="701" y="89"/>
                  <a:pt x="701" y="89"/>
                  <a:pt x="703" y="90"/>
                </a:cubicBezTo>
                <a:cubicBezTo>
                  <a:pt x="704" y="90"/>
                  <a:pt x="704" y="90"/>
                  <a:pt x="705" y="90"/>
                </a:cubicBezTo>
                <a:cubicBezTo>
                  <a:pt x="706" y="88"/>
                  <a:pt x="706" y="86"/>
                  <a:pt x="708" y="85"/>
                </a:cubicBezTo>
                <a:cubicBezTo>
                  <a:pt x="710" y="83"/>
                  <a:pt x="712" y="82"/>
                  <a:pt x="712" y="80"/>
                </a:cubicBezTo>
                <a:cubicBezTo>
                  <a:pt x="712" y="77"/>
                  <a:pt x="712" y="74"/>
                  <a:pt x="710" y="72"/>
                </a:cubicBezTo>
                <a:cubicBezTo>
                  <a:pt x="710" y="71"/>
                  <a:pt x="709" y="71"/>
                  <a:pt x="709" y="70"/>
                </a:cubicBezTo>
                <a:cubicBezTo>
                  <a:pt x="709" y="70"/>
                  <a:pt x="709" y="69"/>
                  <a:pt x="709" y="68"/>
                </a:cubicBezTo>
                <a:cubicBezTo>
                  <a:pt x="710" y="66"/>
                  <a:pt x="711" y="65"/>
                  <a:pt x="713" y="64"/>
                </a:cubicBezTo>
                <a:cubicBezTo>
                  <a:pt x="713" y="62"/>
                  <a:pt x="712" y="60"/>
                  <a:pt x="713" y="58"/>
                </a:cubicBezTo>
                <a:cubicBezTo>
                  <a:pt x="714" y="57"/>
                  <a:pt x="714" y="55"/>
                  <a:pt x="714" y="54"/>
                </a:cubicBezTo>
                <a:cubicBezTo>
                  <a:pt x="714" y="52"/>
                  <a:pt x="712" y="52"/>
                  <a:pt x="711" y="50"/>
                </a:cubicBezTo>
                <a:cubicBezTo>
                  <a:pt x="709" y="49"/>
                  <a:pt x="708" y="48"/>
                  <a:pt x="706" y="47"/>
                </a:cubicBezTo>
                <a:cubicBezTo>
                  <a:pt x="706" y="47"/>
                  <a:pt x="705" y="46"/>
                  <a:pt x="705" y="45"/>
                </a:cubicBezTo>
                <a:cubicBezTo>
                  <a:pt x="705" y="43"/>
                  <a:pt x="705" y="41"/>
                  <a:pt x="705" y="38"/>
                </a:cubicBezTo>
                <a:cubicBezTo>
                  <a:pt x="706" y="36"/>
                  <a:pt x="706" y="34"/>
                  <a:pt x="706" y="32"/>
                </a:cubicBezTo>
                <a:cubicBezTo>
                  <a:pt x="707" y="29"/>
                  <a:pt x="705" y="27"/>
                  <a:pt x="703" y="25"/>
                </a:cubicBezTo>
                <a:cubicBezTo>
                  <a:pt x="701" y="23"/>
                  <a:pt x="699" y="23"/>
                  <a:pt x="697" y="23"/>
                </a:cubicBezTo>
                <a:cubicBezTo>
                  <a:pt x="696" y="24"/>
                  <a:pt x="695" y="25"/>
                  <a:pt x="695" y="26"/>
                </a:cubicBezTo>
                <a:cubicBezTo>
                  <a:pt x="695" y="27"/>
                  <a:pt x="695" y="27"/>
                  <a:pt x="696" y="28"/>
                </a:cubicBezTo>
                <a:cubicBezTo>
                  <a:pt x="697" y="28"/>
                  <a:pt x="698" y="29"/>
                  <a:pt x="699" y="29"/>
                </a:cubicBezTo>
                <a:cubicBezTo>
                  <a:pt x="700" y="29"/>
                  <a:pt x="700" y="30"/>
                  <a:pt x="700" y="31"/>
                </a:cubicBezTo>
                <a:cubicBezTo>
                  <a:pt x="700" y="31"/>
                  <a:pt x="699" y="31"/>
                  <a:pt x="699" y="31"/>
                </a:cubicBezTo>
                <a:cubicBezTo>
                  <a:pt x="698" y="31"/>
                  <a:pt x="696" y="31"/>
                  <a:pt x="695" y="31"/>
                </a:cubicBezTo>
                <a:cubicBezTo>
                  <a:pt x="693" y="32"/>
                  <a:pt x="692" y="32"/>
                  <a:pt x="691" y="32"/>
                </a:cubicBezTo>
                <a:cubicBezTo>
                  <a:pt x="689" y="33"/>
                  <a:pt x="688" y="35"/>
                  <a:pt x="688" y="37"/>
                </a:cubicBezTo>
                <a:cubicBezTo>
                  <a:pt x="688" y="38"/>
                  <a:pt x="689" y="39"/>
                  <a:pt x="689" y="40"/>
                </a:cubicBezTo>
                <a:cubicBezTo>
                  <a:pt x="689" y="40"/>
                  <a:pt x="689" y="41"/>
                  <a:pt x="689" y="41"/>
                </a:cubicBezTo>
                <a:cubicBezTo>
                  <a:pt x="689" y="41"/>
                  <a:pt x="688" y="41"/>
                  <a:pt x="688" y="41"/>
                </a:cubicBezTo>
                <a:cubicBezTo>
                  <a:pt x="687" y="40"/>
                  <a:pt x="685" y="40"/>
                  <a:pt x="684" y="41"/>
                </a:cubicBezTo>
                <a:cubicBezTo>
                  <a:pt x="683" y="42"/>
                  <a:pt x="681" y="43"/>
                  <a:pt x="679" y="42"/>
                </a:cubicBezTo>
                <a:cubicBezTo>
                  <a:pt x="677" y="42"/>
                  <a:pt x="677" y="44"/>
                  <a:pt x="677" y="45"/>
                </a:cubicBezTo>
                <a:cubicBezTo>
                  <a:pt x="678" y="47"/>
                  <a:pt x="678" y="48"/>
                  <a:pt x="679" y="49"/>
                </a:cubicBezTo>
                <a:cubicBezTo>
                  <a:pt x="680" y="50"/>
                  <a:pt x="681" y="52"/>
                  <a:pt x="681" y="53"/>
                </a:cubicBezTo>
                <a:cubicBezTo>
                  <a:pt x="681" y="53"/>
                  <a:pt x="682" y="53"/>
                  <a:pt x="682" y="53"/>
                </a:cubicBezTo>
                <a:cubicBezTo>
                  <a:pt x="682" y="53"/>
                  <a:pt x="682" y="54"/>
                  <a:pt x="682" y="54"/>
                </a:cubicBezTo>
                <a:cubicBezTo>
                  <a:pt x="683" y="54"/>
                  <a:pt x="683" y="54"/>
                  <a:pt x="683" y="54"/>
                </a:cubicBezTo>
                <a:cubicBezTo>
                  <a:pt x="683" y="54"/>
                  <a:pt x="683" y="54"/>
                  <a:pt x="682" y="54"/>
                </a:cubicBezTo>
                <a:cubicBezTo>
                  <a:pt x="682" y="54"/>
                  <a:pt x="682" y="54"/>
                  <a:pt x="681" y="54"/>
                </a:cubicBezTo>
                <a:cubicBezTo>
                  <a:pt x="681" y="54"/>
                  <a:pt x="681" y="53"/>
                  <a:pt x="681" y="53"/>
                </a:cubicBezTo>
                <a:cubicBezTo>
                  <a:pt x="680" y="53"/>
                  <a:pt x="678" y="52"/>
                  <a:pt x="677" y="51"/>
                </a:cubicBezTo>
                <a:cubicBezTo>
                  <a:pt x="676" y="51"/>
                  <a:pt x="675" y="51"/>
                  <a:pt x="675" y="52"/>
                </a:cubicBezTo>
                <a:cubicBezTo>
                  <a:pt x="672" y="56"/>
                  <a:pt x="671" y="62"/>
                  <a:pt x="669" y="66"/>
                </a:cubicBezTo>
                <a:cubicBezTo>
                  <a:pt x="668" y="68"/>
                  <a:pt x="669" y="70"/>
                  <a:pt x="670" y="71"/>
                </a:cubicBezTo>
                <a:cubicBezTo>
                  <a:pt x="672" y="72"/>
                  <a:pt x="673" y="73"/>
                  <a:pt x="675" y="73"/>
                </a:cubicBezTo>
                <a:cubicBezTo>
                  <a:pt x="676" y="73"/>
                  <a:pt x="677" y="73"/>
                  <a:pt x="677" y="74"/>
                </a:cubicBezTo>
                <a:cubicBezTo>
                  <a:pt x="678" y="74"/>
                  <a:pt x="678" y="75"/>
                  <a:pt x="678" y="76"/>
                </a:cubicBezTo>
                <a:cubicBezTo>
                  <a:pt x="678" y="76"/>
                  <a:pt x="677" y="77"/>
                  <a:pt x="677" y="77"/>
                </a:cubicBezTo>
                <a:cubicBezTo>
                  <a:pt x="676" y="77"/>
                  <a:pt x="676" y="77"/>
                  <a:pt x="675" y="77"/>
                </a:cubicBezTo>
                <a:cubicBezTo>
                  <a:pt x="671" y="76"/>
                  <a:pt x="669" y="77"/>
                  <a:pt x="668" y="81"/>
                </a:cubicBezTo>
                <a:cubicBezTo>
                  <a:pt x="667" y="84"/>
                  <a:pt x="666" y="86"/>
                  <a:pt x="666" y="89"/>
                </a:cubicBezTo>
                <a:cubicBezTo>
                  <a:pt x="665" y="94"/>
                  <a:pt x="667" y="97"/>
                  <a:pt x="671" y="99"/>
                </a:cubicBezTo>
                <a:close/>
                <a:moveTo>
                  <a:pt x="696" y="92"/>
                </a:moveTo>
                <a:cubicBezTo>
                  <a:pt x="696" y="92"/>
                  <a:pt x="696" y="92"/>
                  <a:pt x="696" y="92"/>
                </a:cubicBezTo>
                <a:cubicBezTo>
                  <a:pt x="696" y="92"/>
                  <a:pt x="696" y="92"/>
                  <a:pt x="696" y="92"/>
                </a:cubicBezTo>
                <a:cubicBezTo>
                  <a:pt x="696" y="92"/>
                  <a:pt x="696" y="92"/>
                  <a:pt x="696" y="92"/>
                </a:cubicBezTo>
                <a:cubicBezTo>
                  <a:pt x="696" y="92"/>
                  <a:pt x="696" y="92"/>
                  <a:pt x="696" y="92"/>
                </a:cubicBezTo>
                <a:close/>
                <a:moveTo>
                  <a:pt x="1882" y="944"/>
                </a:moveTo>
                <a:cubicBezTo>
                  <a:pt x="1882" y="944"/>
                  <a:pt x="1882" y="944"/>
                  <a:pt x="1882" y="944"/>
                </a:cubicBezTo>
                <a:cubicBezTo>
                  <a:pt x="1881" y="943"/>
                  <a:pt x="1881" y="942"/>
                  <a:pt x="1880" y="942"/>
                </a:cubicBezTo>
                <a:cubicBezTo>
                  <a:pt x="1880" y="941"/>
                  <a:pt x="1880" y="941"/>
                  <a:pt x="1880" y="941"/>
                </a:cubicBezTo>
                <a:cubicBezTo>
                  <a:pt x="1880" y="941"/>
                  <a:pt x="1880" y="941"/>
                  <a:pt x="1879" y="940"/>
                </a:cubicBezTo>
                <a:cubicBezTo>
                  <a:pt x="1880" y="940"/>
                  <a:pt x="1880" y="940"/>
                  <a:pt x="1880" y="940"/>
                </a:cubicBezTo>
                <a:cubicBezTo>
                  <a:pt x="1880" y="940"/>
                  <a:pt x="1880" y="941"/>
                  <a:pt x="1880" y="941"/>
                </a:cubicBezTo>
                <a:cubicBezTo>
                  <a:pt x="1880" y="941"/>
                  <a:pt x="1880" y="941"/>
                  <a:pt x="1880" y="942"/>
                </a:cubicBezTo>
                <a:cubicBezTo>
                  <a:pt x="1881" y="942"/>
                  <a:pt x="1882" y="943"/>
                  <a:pt x="1882" y="943"/>
                </a:cubicBezTo>
                <a:cubicBezTo>
                  <a:pt x="1882" y="944"/>
                  <a:pt x="1882" y="944"/>
                  <a:pt x="1882" y="944"/>
                </a:cubicBezTo>
                <a:cubicBezTo>
                  <a:pt x="1883" y="944"/>
                  <a:pt x="1884" y="944"/>
                  <a:pt x="1885" y="944"/>
                </a:cubicBezTo>
                <a:cubicBezTo>
                  <a:pt x="1885" y="944"/>
                  <a:pt x="1885" y="944"/>
                  <a:pt x="1886" y="944"/>
                </a:cubicBezTo>
                <a:cubicBezTo>
                  <a:pt x="1886" y="944"/>
                  <a:pt x="1887" y="943"/>
                  <a:pt x="1887" y="942"/>
                </a:cubicBezTo>
                <a:cubicBezTo>
                  <a:pt x="1885" y="939"/>
                  <a:pt x="1883" y="937"/>
                  <a:pt x="1881" y="934"/>
                </a:cubicBezTo>
                <a:cubicBezTo>
                  <a:pt x="1881" y="934"/>
                  <a:pt x="1880" y="934"/>
                  <a:pt x="1880" y="934"/>
                </a:cubicBezTo>
                <a:cubicBezTo>
                  <a:pt x="1879" y="934"/>
                  <a:pt x="1878" y="934"/>
                  <a:pt x="1877" y="935"/>
                </a:cubicBezTo>
                <a:cubicBezTo>
                  <a:pt x="1877" y="936"/>
                  <a:pt x="1876" y="936"/>
                  <a:pt x="1876" y="937"/>
                </a:cubicBezTo>
                <a:cubicBezTo>
                  <a:pt x="1875" y="938"/>
                  <a:pt x="1874" y="938"/>
                  <a:pt x="1873" y="936"/>
                </a:cubicBezTo>
                <a:cubicBezTo>
                  <a:pt x="1872" y="935"/>
                  <a:pt x="1872" y="933"/>
                  <a:pt x="1871" y="932"/>
                </a:cubicBezTo>
                <a:cubicBezTo>
                  <a:pt x="1871" y="931"/>
                  <a:pt x="1870" y="930"/>
                  <a:pt x="1869" y="929"/>
                </a:cubicBezTo>
                <a:cubicBezTo>
                  <a:pt x="1868" y="929"/>
                  <a:pt x="1867" y="929"/>
                  <a:pt x="1866" y="928"/>
                </a:cubicBezTo>
                <a:cubicBezTo>
                  <a:pt x="1865" y="928"/>
                  <a:pt x="1864" y="927"/>
                  <a:pt x="1865" y="927"/>
                </a:cubicBezTo>
                <a:cubicBezTo>
                  <a:pt x="1866" y="926"/>
                  <a:pt x="1864" y="924"/>
                  <a:pt x="1865" y="922"/>
                </a:cubicBezTo>
                <a:cubicBezTo>
                  <a:pt x="1866" y="922"/>
                  <a:pt x="1866" y="921"/>
                  <a:pt x="1865" y="920"/>
                </a:cubicBezTo>
                <a:cubicBezTo>
                  <a:pt x="1864" y="918"/>
                  <a:pt x="1861" y="917"/>
                  <a:pt x="1860" y="914"/>
                </a:cubicBezTo>
                <a:cubicBezTo>
                  <a:pt x="1860" y="913"/>
                  <a:pt x="1859" y="913"/>
                  <a:pt x="1859" y="912"/>
                </a:cubicBezTo>
                <a:cubicBezTo>
                  <a:pt x="1857" y="912"/>
                  <a:pt x="1855" y="911"/>
                  <a:pt x="1854" y="910"/>
                </a:cubicBezTo>
                <a:cubicBezTo>
                  <a:pt x="1853" y="910"/>
                  <a:pt x="1852" y="909"/>
                  <a:pt x="1852" y="909"/>
                </a:cubicBezTo>
                <a:cubicBezTo>
                  <a:pt x="1851" y="907"/>
                  <a:pt x="1849" y="906"/>
                  <a:pt x="1847" y="905"/>
                </a:cubicBezTo>
                <a:cubicBezTo>
                  <a:pt x="1845" y="903"/>
                  <a:pt x="1843" y="902"/>
                  <a:pt x="1841" y="901"/>
                </a:cubicBezTo>
                <a:cubicBezTo>
                  <a:pt x="1840" y="901"/>
                  <a:pt x="1839" y="900"/>
                  <a:pt x="1838" y="899"/>
                </a:cubicBezTo>
                <a:cubicBezTo>
                  <a:pt x="1837" y="897"/>
                  <a:pt x="1835" y="895"/>
                  <a:pt x="1834" y="894"/>
                </a:cubicBezTo>
                <a:cubicBezTo>
                  <a:pt x="1829" y="892"/>
                  <a:pt x="1825" y="888"/>
                  <a:pt x="1822" y="883"/>
                </a:cubicBezTo>
                <a:cubicBezTo>
                  <a:pt x="1821" y="882"/>
                  <a:pt x="1819" y="881"/>
                  <a:pt x="1817" y="881"/>
                </a:cubicBezTo>
                <a:cubicBezTo>
                  <a:pt x="1813" y="881"/>
                  <a:pt x="1810" y="880"/>
                  <a:pt x="1806" y="879"/>
                </a:cubicBezTo>
                <a:cubicBezTo>
                  <a:pt x="1805" y="878"/>
                  <a:pt x="1804" y="879"/>
                  <a:pt x="1804" y="879"/>
                </a:cubicBezTo>
                <a:cubicBezTo>
                  <a:pt x="1803" y="879"/>
                  <a:pt x="1802" y="881"/>
                  <a:pt x="1803" y="882"/>
                </a:cubicBezTo>
                <a:cubicBezTo>
                  <a:pt x="1803" y="883"/>
                  <a:pt x="1804" y="885"/>
                  <a:pt x="1805" y="886"/>
                </a:cubicBezTo>
                <a:cubicBezTo>
                  <a:pt x="1807" y="889"/>
                  <a:pt x="1810" y="891"/>
                  <a:pt x="1813" y="893"/>
                </a:cubicBezTo>
                <a:cubicBezTo>
                  <a:pt x="1815" y="894"/>
                  <a:pt x="1816" y="895"/>
                  <a:pt x="1817" y="897"/>
                </a:cubicBezTo>
                <a:cubicBezTo>
                  <a:pt x="1818" y="898"/>
                  <a:pt x="1820" y="899"/>
                  <a:pt x="1820" y="901"/>
                </a:cubicBezTo>
                <a:cubicBezTo>
                  <a:pt x="1822" y="904"/>
                  <a:pt x="1824" y="906"/>
                  <a:pt x="1827" y="909"/>
                </a:cubicBezTo>
                <a:cubicBezTo>
                  <a:pt x="1828" y="909"/>
                  <a:pt x="1829" y="910"/>
                  <a:pt x="1829" y="911"/>
                </a:cubicBezTo>
                <a:cubicBezTo>
                  <a:pt x="1830" y="913"/>
                  <a:pt x="1830" y="915"/>
                  <a:pt x="1831" y="917"/>
                </a:cubicBezTo>
                <a:cubicBezTo>
                  <a:pt x="1832" y="918"/>
                  <a:pt x="1832" y="919"/>
                  <a:pt x="1833" y="920"/>
                </a:cubicBezTo>
                <a:cubicBezTo>
                  <a:pt x="1837" y="923"/>
                  <a:pt x="1839" y="927"/>
                  <a:pt x="1840" y="931"/>
                </a:cubicBezTo>
                <a:cubicBezTo>
                  <a:pt x="1841" y="933"/>
                  <a:pt x="1842" y="935"/>
                  <a:pt x="1842" y="937"/>
                </a:cubicBezTo>
                <a:cubicBezTo>
                  <a:pt x="1843" y="939"/>
                  <a:pt x="1844" y="940"/>
                  <a:pt x="1845" y="942"/>
                </a:cubicBezTo>
                <a:cubicBezTo>
                  <a:pt x="1848" y="945"/>
                  <a:pt x="1851" y="947"/>
                  <a:pt x="1853" y="950"/>
                </a:cubicBezTo>
                <a:cubicBezTo>
                  <a:pt x="1856" y="953"/>
                  <a:pt x="1858" y="955"/>
                  <a:pt x="1861" y="958"/>
                </a:cubicBezTo>
                <a:cubicBezTo>
                  <a:pt x="1864" y="959"/>
                  <a:pt x="1866" y="961"/>
                  <a:pt x="1868" y="963"/>
                </a:cubicBezTo>
                <a:cubicBezTo>
                  <a:pt x="1869" y="964"/>
                  <a:pt x="1870" y="964"/>
                  <a:pt x="1871" y="964"/>
                </a:cubicBezTo>
                <a:cubicBezTo>
                  <a:pt x="1874" y="964"/>
                  <a:pt x="1877" y="963"/>
                  <a:pt x="1880" y="964"/>
                </a:cubicBezTo>
                <a:cubicBezTo>
                  <a:pt x="1880" y="961"/>
                  <a:pt x="1881" y="958"/>
                  <a:pt x="1881" y="954"/>
                </a:cubicBezTo>
                <a:cubicBezTo>
                  <a:pt x="1881" y="951"/>
                  <a:pt x="1882" y="947"/>
                  <a:pt x="1882" y="944"/>
                </a:cubicBezTo>
                <a:close/>
                <a:moveTo>
                  <a:pt x="1880" y="964"/>
                </a:moveTo>
                <a:cubicBezTo>
                  <a:pt x="1880" y="964"/>
                  <a:pt x="1880" y="964"/>
                  <a:pt x="1880" y="965"/>
                </a:cubicBezTo>
                <a:cubicBezTo>
                  <a:pt x="1880" y="965"/>
                  <a:pt x="1880" y="965"/>
                  <a:pt x="1880" y="965"/>
                </a:cubicBezTo>
                <a:cubicBezTo>
                  <a:pt x="1880" y="964"/>
                  <a:pt x="1881" y="964"/>
                  <a:pt x="1881" y="964"/>
                </a:cubicBezTo>
                <a:cubicBezTo>
                  <a:pt x="1880" y="964"/>
                  <a:pt x="1880" y="964"/>
                  <a:pt x="1880" y="964"/>
                </a:cubicBezTo>
                <a:close/>
                <a:moveTo>
                  <a:pt x="428" y="172"/>
                </a:moveTo>
                <a:cubicBezTo>
                  <a:pt x="428" y="174"/>
                  <a:pt x="427" y="177"/>
                  <a:pt x="427" y="179"/>
                </a:cubicBezTo>
                <a:cubicBezTo>
                  <a:pt x="427" y="180"/>
                  <a:pt x="429" y="181"/>
                  <a:pt x="429" y="181"/>
                </a:cubicBezTo>
                <a:cubicBezTo>
                  <a:pt x="432" y="181"/>
                  <a:pt x="435" y="180"/>
                  <a:pt x="438" y="178"/>
                </a:cubicBezTo>
                <a:cubicBezTo>
                  <a:pt x="438" y="178"/>
                  <a:pt x="438" y="178"/>
                  <a:pt x="438" y="178"/>
                </a:cubicBezTo>
                <a:cubicBezTo>
                  <a:pt x="438" y="177"/>
                  <a:pt x="438" y="177"/>
                  <a:pt x="438" y="177"/>
                </a:cubicBezTo>
                <a:cubicBezTo>
                  <a:pt x="438" y="178"/>
                  <a:pt x="438" y="178"/>
                  <a:pt x="438" y="178"/>
                </a:cubicBezTo>
                <a:cubicBezTo>
                  <a:pt x="438" y="178"/>
                  <a:pt x="438" y="178"/>
                  <a:pt x="438" y="178"/>
                </a:cubicBezTo>
                <a:cubicBezTo>
                  <a:pt x="439" y="179"/>
                  <a:pt x="440" y="180"/>
                  <a:pt x="442" y="180"/>
                </a:cubicBezTo>
                <a:cubicBezTo>
                  <a:pt x="443" y="180"/>
                  <a:pt x="444" y="180"/>
                  <a:pt x="446" y="179"/>
                </a:cubicBezTo>
                <a:cubicBezTo>
                  <a:pt x="446" y="178"/>
                  <a:pt x="447" y="177"/>
                  <a:pt x="448" y="176"/>
                </a:cubicBezTo>
                <a:cubicBezTo>
                  <a:pt x="449" y="175"/>
                  <a:pt x="450" y="173"/>
                  <a:pt x="451" y="172"/>
                </a:cubicBezTo>
                <a:cubicBezTo>
                  <a:pt x="453" y="170"/>
                  <a:pt x="454" y="168"/>
                  <a:pt x="457" y="168"/>
                </a:cubicBezTo>
                <a:cubicBezTo>
                  <a:pt x="459" y="168"/>
                  <a:pt x="460" y="167"/>
                  <a:pt x="461" y="166"/>
                </a:cubicBezTo>
                <a:cubicBezTo>
                  <a:pt x="462" y="165"/>
                  <a:pt x="463" y="164"/>
                  <a:pt x="465" y="163"/>
                </a:cubicBezTo>
                <a:cubicBezTo>
                  <a:pt x="466" y="162"/>
                  <a:pt x="467" y="161"/>
                  <a:pt x="468" y="161"/>
                </a:cubicBezTo>
                <a:cubicBezTo>
                  <a:pt x="471" y="161"/>
                  <a:pt x="474" y="160"/>
                  <a:pt x="477" y="159"/>
                </a:cubicBezTo>
                <a:cubicBezTo>
                  <a:pt x="478" y="158"/>
                  <a:pt x="479" y="158"/>
                  <a:pt x="480" y="158"/>
                </a:cubicBezTo>
                <a:cubicBezTo>
                  <a:pt x="480" y="159"/>
                  <a:pt x="480" y="159"/>
                  <a:pt x="480" y="159"/>
                </a:cubicBezTo>
                <a:cubicBezTo>
                  <a:pt x="480" y="159"/>
                  <a:pt x="480" y="159"/>
                  <a:pt x="480" y="159"/>
                </a:cubicBezTo>
                <a:cubicBezTo>
                  <a:pt x="480" y="158"/>
                  <a:pt x="480" y="158"/>
                  <a:pt x="480" y="158"/>
                </a:cubicBezTo>
                <a:cubicBezTo>
                  <a:pt x="482" y="157"/>
                  <a:pt x="483" y="157"/>
                  <a:pt x="485" y="157"/>
                </a:cubicBezTo>
                <a:cubicBezTo>
                  <a:pt x="487" y="157"/>
                  <a:pt x="488" y="157"/>
                  <a:pt x="489" y="157"/>
                </a:cubicBezTo>
                <a:cubicBezTo>
                  <a:pt x="491" y="155"/>
                  <a:pt x="492" y="155"/>
                  <a:pt x="494" y="155"/>
                </a:cubicBezTo>
                <a:cubicBezTo>
                  <a:pt x="495" y="150"/>
                  <a:pt x="494" y="146"/>
                  <a:pt x="494" y="141"/>
                </a:cubicBezTo>
                <a:cubicBezTo>
                  <a:pt x="494" y="139"/>
                  <a:pt x="493" y="137"/>
                  <a:pt x="491" y="135"/>
                </a:cubicBezTo>
                <a:cubicBezTo>
                  <a:pt x="490" y="134"/>
                  <a:pt x="488" y="134"/>
                  <a:pt x="487" y="134"/>
                </a:cubicBezTo>
                <a:cubicBezTo>
                  <a:pt x="484" y="134"/>
                  <a:pt x="482" y="133"/>
                  <a:pt x="480" y="131"/>
                </a:cubicBezTo>
                <a:cubicBezTo>
                  <a:pt x="479" y="130"/>
                  <a:pt x="478" y="130"/>
                  <a:pt x="477" y="129"/>
                </a:cubicBezTo>
                <a:cubicBezTo>
                  <a:pt x="475" y="125"/>
                  <a:pt x="473" y="125"/>
                  <a:pt x="469" y="125"/>
                </a:cubicBezTo>
                <a:cubicBezTo>
                  <a:pt x="466" y="126"/>
                  <a:pt x="464" y="125"/>
                  <a:pt x="461" y="125"/>
                </a:cubicBezTo>
                <a:cubicBezTo>
                  <a:pt x="460" y="125"/>
                  <a:pt x="458" y="126"/>
                  <a:pt x="457" y="126"/>
                </a:cubicBezTo>
                <a:cubicBezTo>
                  <a:pt x="456" y="126"/>
                  <a:pt x="455" y="127"/>
                  <a:pt x="454" y="128"/>
                </a:cubicBezTo>
                <a:cubicBezTo>
                  <a:pt x="454" y="130"/>
                  <a:pt x="454" y="132"/>
                  <a:pt x="454" y="133"/>
                </a:cubicBezTo>
                <a:cubicBezTo>
                  <a:pt x="454" y="135"/>
                  <a:pt x="453" y="137"/>
                  <a:pt x="451" y="138"/>
                </a:cubicBezTo>
                <a:cubicBezTo>
                  <a:pt x="448" y="140"/>
                  <a:pt x="446" y="142"/>
                  <a:pt x="443" y="144"/>
                </a:cubicBezTo>
                <a:cubicBezTo>
                  <a:pt x="442" y="146"/>
                  <a:pt x="441" y="147"/>
                  <a:pt x="441" y="149"/>
                </a:cubicBezTo>
                <a:cubicBezTo>
                  <a:pt x="441" y="149"/>
                  <a:pt x="440" y="150"/>
                  <a:pt x="440" y="150"/>
                </a:cubicBezTo>
                <a:cubicBezTo>
                  <a:pt x="435" y="153"/>
                  <a:pt x="431" y="157"/>
                  <a:pt x="427" y="160"/>
                </a:cubicBezTo>
                <a:cubicBezTo>
                  <a:pt x="426" y="161"/>
                  <a:pt x="425" y="162"/>
                  <a:pt x="424" y="163"/>
                </a:cubicBezTo>
                <a:cubicBezTo>
                  <a:pt x="424" y="164"/>
                  <a:pt x="425" y="165"/>
                  <a:pt x="426" y="166"/>
                </a:cubicBezTo>
                <a:cubicBezTo>
                  <a:pt x="427" y="168"/>
                  <a:pt x="428" y="170"/>
                  <a:pt x="428" y="172"/>
                </a:cubicBezTo>
                <a:close/>
                <a:moveTo>
                  <a:pt x="1071" y="451"/>
                </a:moveTo>
                <a:cubicBezTo>
                  <a:pt x="1073" y="453"/>
                  <a:pt x="1073" y="455"/>
                  <a:pt x="1072" y="458"/>
                </a:cubicBezTo>
                <a:cubicBezTo>
                  <a:pt x="1072" y="459"/>
                  <a:pt x="1073" y="459"/>
                  <a:pt x="1073" y="460"/>
                </a:cubicBezTo>
                <a:cubicBezTo>
                  <a:pt x="1075" y="461"/>
                  <a:pt x="1075" y="462"/>
                  <a:pt x="1074" y="463"/>
                </a:cubicBezTo>
                <a:cubicBezTo>
                  <a:pt x="1073" y="464"/>
                  <a:pt x="1073" y="464"/>
                  <a:pt x="1073" y="465"/>
                </a:cubicBezTo>
                <a:cubicBezTo>
                  <a:pt x="1073" y="466"/>
                  <a:pt x="1073" y="466"/>
                  <a:pt x="1074" y="466"/>
                </a:cubicBezTo>
                <a:cubicBezTo>
                  <a:pt x="1074" y="467"/>
                  <a:pt x="1074" y="467"/>
                  <a:pt x="1074" y="468"/>
                </a:cubicBezTo>
                <a:cubicBezTo>
                  <a:pt x="1076" y="470"/>
                  <a:pt x="1076" y="470"/>
                  <a:pt x="1078" y="468"/>
                </a:cubicBezTo>
                <a:cubicBezTo>
                  <a:pt x="1078" y="468"/>
                  <a:pt x="1079" y="468"/>
                  <a:pt x="1079" y="467"/>
                </a:cubicBezTo>
                <a:cubicBezTo>
                  <a:pt x="1079" y="468"/>
                  <a:pt x="1079" y="468"/>
                  <a:pt x="1079" y="469"/>
                </a:cubicBezTo>
                <a:cubicBezTo>
                  <a:pt x="1079" y="470"/>
                  <a:pt x="1079" y="472"/>
                  <a:pt x="1078" y="473"/>
                </a:cubicBezTo>
                <a:cubicBezTo>
                  <a:pt x="1078" y="475"/>
                  <a:pt x="1079" y="476"/>
                  <a:pt x="1081" y="476"/>
                </a:cubicBezTo>
                <a:cubicBezTo>
                  <a:pt x="1081" y="476"/>
                  <a:pt x="1081" y="476"/>
                  <a:pt x="1082" y="476"/>
                </a:cubicBezTo>
                <a:cubicBezTo>
                  <a:pt x="1083" y="476"/>
                  <a:pt x="1085" y="476"/>
                  <a:pt x="1086" y="476"/>
                </a:cubicBezTo>
                <a:cubicBezTo>
                  <a:pt x="1088" y="477"/>
                  <a:pt x="1087" y="479"/>
                  <a:pt x="1088" y="480"/>
                </a:cubicBezTo>
                <a:cubicBezTo>
                  <a:pt x="1088" y="481"/>
                  <a:pt x="1089" y="482"/>
                  <a:pt x="1089" y="482"/>
                </a:cubicBezTo>
                <a:cubicBezTo>
                  <a:pt x="1091" y="483"/>
                  <a:pt x="1091" y="484"/>
                  <a:pt x="1091" y="486"/>
                </a:cubicBezTo>
                <a:cubicBezTo>
                  <a:pt x="1090" y="490"/>
                  <a:pt x="1089" y="491"/>
                  <a:pt x="1084" y="490"/>
                </a:cubicBezTo>
                <a:cubicBezTo>
                  <a:pt x="1084" y="490"/>
                  <a:pt x="1083" y="490"/>
                  <a:pt x="1083" y="490"/>
                </a:cubicBezTo>
                <a:cubicBezTo>
                  <a:pt x="1082" y="490"/>
                  <a:pt x="1082" y="490"/>
                  <a:pt x="1082" y="491"/>
                </a:cubicBezTo>
                <a:cubicBezTo>
                  <a:pt x="1082" y="493"/>
                  <a:pt x="1082" y="496"/>
                  <a:pt x="1084" y="498"/>
                </a:cubicBezTo>
                <a:cubicBezTo>
                  <a:pt x="1084" y="498"/>
                  <a:pt x="1084" y="500"/>
                  <a:pt x="1083" y="501"/>
                </a:cubicBezTo>
                <a:cubicBezTo>
                  <a:pt x="1082" y="501"/>
                  <a:pt x="1081" y="502"/>
                  <a:pt x="1080" y="503"/>
                </a:cubicBezTo>
                <a:cubicBezTo>
                  <a:pt x="1080" y="503"/>
                  <a:pt x="1079" y="504"/>
                  <a:pt x="1078" y="504"/>
                </a:cubicBezTo>
                <a:cubicBezTo>
                  <a:pt x="1078" y="505"/>
                  <a:pt x="1078" y="506"/>
                  <a:pt x="1078" y="506"/>
                </a:cubicBezTo>
                <a:cubicBezTo>
                  <a:pt x="1078" y="506"/>
                  <a:pt x="1079" y="507"/>
                  <a:pt x="1079" y="507"/>
                </a:cubicBezTo>
                <a:cubicBezTo>
                  <a:pt x="1083" y="508"/>
                  <a:pt x="1086" y="509"/>
                  <a:pt x="1089" y="511"/>
                </a:cubicBezTo>
                <a:cubicBezTo>
                  <a:pt x="1089" y="511"/>
                  <a:pt x="1089" y="511"/>
                  <a:pt x="1090" y="511"/>
                </a:cubicBezTo>
                <a:cubicBezTo>
                  <a:pt x="1089" y="511"/>
                  <a:pt x="1089" y="512"/>
                  <a:pt x="1088" y="512"/>
                </a:cubicBezTo>
                <a:cubicBezTo>
                  <a:pt x="1085" y="511"/>
                  <a:pt x="1083" y="512"/>
                  <a:pt x="1082" y="515"/>
                </a:cubicBezTo>
                <a:cubicBezTo>
                  <a:pt x="1080" y="518"/>
                  <a:pt x="1077" y="520"/>
                  <a:pt x="1075" y="522"/>
                </a:cubicBezTo>
                <a:cubicBezTo>
                  <a:pt x="1075" y="522"/>
                  <a:pt x="1075" y="523"/>
                  <a:pt x="1076" y="523"/>
                </a:cubicBezTo>
                <a:cubicBezTo>
                  <a:pt x="1076" y="523"/>
                  <a:pt x="1076" y="523"/>
                  <a:pt x="1076" y="523"/>
                </a:cubicBezTo>
                <a:cubicBezTo>
                  <a:pt x="1077" y="523"/>
                  <a:pt x="1078" y="523"/>
                  <a:pt x="1079" y="523"/>
                </a:cubicBezTo>
                <a:cubicBezTo>
                  <a:pt x="1080" y="522"/>
                  <a:pt x="1082" y="521"/>
                  <a:pt x="1083" y="522"/>
                </a:cubicBezTo>
                <a:cubicBezTo>
                  <a:pt x="1086" y="522"/>
                  <a:pt x="1088" y="521"/>
                  <a:pt x="1090" y="519"/>
                </a:cubicBezTo>
                <a:cubicBezTo>
                  <a:pt x="1091" y="518"/>
                  <a:pt x="1092" y="518"/>
                  <a:pt x="1093" y="518"/>
                </a:cubicBezTo>
                <a:cubicBezTo>
                  <a:pt x="1096" y="518"/>
                  <a:pt x="1099" y="518"/>
                  <a:pt x="1102" y="518"/>
                </a:cubicBezTo>
                <a:cubicBezTo>
                  <a:pt x="1105" y="517"/>
                  <a:pt x="1109" y="516"/>
                  <a:pt x="1112" y="516"/>
                </a:cubicBezTo>
                <a:cubicBezTo>
                  <a:pt x="1116" y="516"/>
                  <a:pt x="1118" y="514"/>
                  <a:pt x="1121" y="512"/>
                </a:cubicBezTo>
                <a:cubicBezTo>
                  <a:pt x="1121" y="511"/>
                  <a:pt x="1121" y="510"/>
                  <a:pt x="1120" y="509"/>
                </a:cubicBezTo>
                <a:cubicBezTo>
                  <a:pt x="1120" y="509"/>
                  <a:pt x="1119" y="509"/>
                  <a:pt x="1119" y="509"/>
                </a:cubicBezTo>
                <a:cubicBezTo>
                  <a:pt x="1118" y="508"/>
                  <a:pt x="1118" y="507"/>
                  <a:pt x="1118" y="507"/>
                </a:cubicBezTo>
                <a:cubicBezTo>
                  <a:pt x="1119" y="505"/>
                  <a:pt x="1121" y="503"/>
                  <a:pt x="1122" y="501"/>
                </a:cubicBezTo>
                <a:cubicBezTo>
                  <a:pt x="1124" y="498"/>
                  <a:pt x="1121" y="494"/>
                  <a:pt x="1117" y="493"/>
                </a:cubicBezTo>
                <a:cubicBezTo>
                  <a:pt x="1116" y="493"/>
                  <a:pt x="1114" y="493"/>
                  <a:pt x="1113" y="493"/>
                </a:cubicBezTo>
                <a:cubicBezTo>
                  <a:pt x="1113" y="493"/>
                  <a:pt x="1113" y="493"/>
                  <a:pt x="1113" y="493"/>
                </a:cubicBezTo>
                <a:cubicBezTo>
                  <a:pt x="1113" y="493"/>
                  <a:pt x="1113" y="493"/>
                  <a:pt x="1113" y="493"/>
                </a:cubicBezTo>
                <a:cubicBezTo>
                  <a:pt x="1113" y="493"/>
                  <a:pt x="1113" y="493"/>
                  <a:pt x="1113" y="493"/>
                </a:cubicBezTo>
                <a:cubicBezTo>
                  <a:pt x="1113" y="493"/>
                  <a:pt x="1113" y="493"/>
                  <a:pt x="1113" y="493"/>
                </a:cubicBezTo>
                <a:cubicBezTo>
                  <a:pt x="1113" y="492"/>
                  <a:pt x="1113" y="491"/>
                  <a:pt x="1113" y="490"/>
                </a:cubicBezTo>
                <a:cubicBezTo>
                  <a:pt x="1111" y="488"/>
                  <a:pt x="1110" y="485"/>
                  <a:pt x="1109" y="482"/>
                </a:cubicBezTo>
                <a:cubicBezTo>
                  <a:pt x="1108" y="481"/>
                  <a:pt x="1107" y="479"/>
                  <a:pt x="1106" y="478"/>
                </a:cubicBezTo>
                <a:cubicBezTo>
                  <a:pt x="1103" y="477"/>
                  <a:pt x="1102" y="475"/>
                  <a:pt x="1101" y="472"/>
                </a:cubicBezTo>
                <a:cubicBezTo>
                  <a:pt x="1099" y="467"/>
                  <a:pt x="1097" y="464"/>
                  <a:pt x="1093" y="463"/>
                </a:cubicBezTo>
                <a:cubicBezTo>
                  <a:pt x="1092" y="463"/>
                  <a:pt x="1092" y="462"/>
                  <a:pt x="1092" y="462"/>
                </a:cubicBezTo>
                <a:cubicBezTo>
                  <a:pt x="1093" y="460"/>
                  <a:pt x="1093" y="459"/>
                  <a:pt x="1094" y="458"/>
                </a:cubicBezTo>
                <a:cubicBezTo>
                  <a:pt x="1095" y="455"/>
                  <a:pt x="1096" y="452"/>
                  <a:pt x="1097" y="450"/>
                </a:cubicBezTo>
                <a:cubicBezTo>
                  <a:pt x="1097" y="448"/>
                  <a:pt x="1096" y="447"/>
                  <a:pt x="1095" y="446"/>
                </a:cubicBezTo>
                <a:cubicBezTo>
                  <a:pt x="1094" y="446"/>
                  <a:pt x="1094" y="446"/>
                  <a:pt x="1093" y="446"/>
                </a:cubicBezTo>
                <a:cubicBezTo>
                  <a:pt x="1091" y="446"/>
                  <a:pt x="1089" y="446"/>
                  <a:pt x="1087" y="446"/>
                </a:cubicBezTo>
                <a:cubicBezTo>
                  <a:pt x="1087" y="446"/>
                  <a:pt x="1086" y="445"/>
                  <a:pt x="1086" y="445"/>
                </a:cubicBezTo>
                <a:cubicBezTo>
                  <a:pt x="1086" y="445"/>
                  <a:pt x="1086" y="445"/>
                  <a:pt x="1086" y="444"/>
                </a:cubicBezTo>
                <a:cubicBezTo>
                  <a:pt x="1087" y="443"/>
                  <a:pt x="1088" y="442"/>
                  <a:pt x="1089" y="440"/>
                </a:cubicBezTo>
                <a:cubicBezTo>
                  <a:pt x="1090" y="440"/>
                  <a:pt x="1090" y="439"/>
                  <a:pt x="1090" y="439"/>
                </a:cubicBezTo>
                <a:cubicBezTo>
                  <a:pt x="1090" y="438"/>
                  <a:pt x="1089" y="437"/>
                  <a:pt x="1088" y="437"/>
                </a:cubicBezTo>
                <a:cubicBezTo>
                  <a:pt x="1085" y="437"/>
                  <a:pt x="1083" y="437"/>
                  <a:pt x="1081" y="438"/>
                </a:cubicBezTo>
                <a:cubicBezTo>
                  <a:pt x="1079" y="438"/>
                  <a:pt x="1079" y="438"/>
                  <a:pt x="1078" y="440"/>
                </a:cubicBezTo>
                <a:cubicBezTo>
                  <a:pt x="1077" y="442"/>
                  <a:pt x="1075" y="445"/>
                  <a:pt x="1074" y="447"/>
                </a:cubicBezTo>
                <a:cubicBezTo>
                  <a:pt x="1074" y="448"/>
                  <a:pt x="1073" y="448"/>
                  <a:pt x="1072" y="448"/>
                </a:cubicBezTo>
                <a:cubicBezTo>
                  <a:pt x="1070" y="448"/>
                  <a:pt x="1069" y="449"/>
                  <a:pt x="1071" y="451"/>
                </a:cubicBezTo>
                <a:close/>
                <a:moveTo>
                  <a:pt x="1161" y="142"/>
                </a:moveTo>
                <a:cubicBezTo>
                  <a:pt x="1161" y="145"/>
                  <a:pt x="1163" y="147"/>
                  <a:pt x="1164" y="149"/>
                </a:cubicBezTo>
                <a:cubicBezTo>
                  <a:pt x="1165" y="150"/>
                  <a:pt x="1167" y="152"/>
                  <a:pt x="1167" y="154"/>
                </a:cubicBezTo>
                <a:cubicBezTo>
                  <a:pt x="1169" y="156"/>
                  <a:pt x="1171" y="159"/>
                  <a:pt x="1174" y="160"/>
                </a:cubicBezTo>
                <a:cubicBezTo>
                  <a:pt x="1174" y="160"/>
                  <a:pt x="1174" y="160"/>
                  <a:pt x="1174" y="160"/>
                </a:cubicBezTo>
                <a:cubicBezTo>
                  <a:pt x="1174" y="160"/>
                  <a:pt x="1174" y="160"/>
                  <a:pt x="1174" y="160"/>
                </a:cubicBezTo>
                <a:cubicBezTo>
                  <a:pt x="1175" y="159"/>
                  <a:pt x="1176" y="157"/>
                  <a:pt x="1177" y="156"/>
                </a:cubicBezTo>
                <a:cubicBezTo>
                  <a:pt x="1178" y="155"/>
                  <a:pt x="1178" y="154"/>
                  <a:pt x="1178" y="152"/>
                </a:cubicBezTo>
                <a:cubicBezTo>
                  <a:pt x="1178" y="152"/>
                  <a:pt x="1179" y="151"/>
                  <a:pt x="1179" y="151"/>
                </a:cubicBezTo>
                <a:cubicBezTo>
                  <a:pt x="1180" y="151"/>
                  <a:pt x="1180" y="151"/>
                  <a:pt x="1180" y="151"/>
                </a:cubicBezTo>
                <a:cubicBezTo>
                  <a:pt x="1181" y="154"/>
                  <a:pt x="1183" y="153"/>
                  <a:pt x="1185" y="153"/>
                </a:cubicBezTo>
                <a:cubicBezTo>
                  <a:pt x="1185" y="153"/>
                  <a:pt x="1185" y="153"/>
                  <a:pt x="1185" y="153"/>
                </a:cubicBezTo>
                <a:cubicBezTo>
                  <a:pt x="1186" y="154"/>
                  <a:pt x="1186" y="154"/>
                  <a:pt x="1185" y="154"/>
                </a:cubicBezTo>
                <a:cubicBezTo>
                  <a:pt x="1183" y="155"/>
                  <a:pt x="1182" y="157"/>
                  <a:pt x="1180" y="158"/>
                </a:cubicBezTo>
                <a:cubicBezTo>
                  <a:pt x="1179" y="160"/>
                  <a:pt x="1177" y="160"/>
                  <a:pt x="1174" y="160"/>
                </a:cubicBezTo>
                <a:cubicBezTo>
                  <a:pt x="1174" y="160"/>
                  <a:pt x="1174" y="160"/>
                  <a:pt x="1174" y="160"/>
                </a:cubicBezTo>
                <a:cubicBezTo>
                  <a:pt x="1174" y="160"/>
                  <a:pt x="1174" y="160"/>
                  <a:pt x="1174" y="160"/>
                </a:cubicBezTo>
                <a:cubicBezTo>
                  <a:pt x="1174" y="162"/>
                  <a:pt x="1174" y="163"/>
                  <a:pt x="1174" y="165"/>
                </a:cubicBezTo>
                <a:cubicBezTo>
                  <a:pt x="1174" y="166"/>
                  <a:pt x="1175" y="167"/>
                  <a:pt x="1176" y="167"/>
                </a:cubicBezTo>
                <a:cubicBezTo>
                  <a:pt x="1177" y="168"/>
                  <a:pt x="1179" y="168"/>
                  <a:pt x="1179" y="169"/>
                </a:cubicBezTo>
                <a:cubicBezTo>
                  <a:pt x="1179" y="169"/>
                  <a:pt x="1179" y="169"/>
                  <a:pt x="1179" y="169"/>
                </a:cubicBezTo>
                <a:cubicBezTo>
                  <a:pt x="1179" y="169"/>
                  <a:pt x="1180" y="169"/>
                  <a:pt x="1180" y="169"/>
                </a:cubicBezTo>
                <a:cubicBezTo>
                  <a:pt x="1180" y="169"/>
                  <a:pt x="1181" y="169"/>
                  <a:pt x="1182" y="169"/>
                </a:cubicBezTo>
                <a:cubicBezTo>
                  <a:pt x="1183" y="169"/>
                  <a:pt x="1183" y="170"/>
                  <a:pt x="1182" y="170"/>
                </a:cubicBezTo>
                <a:cubicBezTo>
                  <a:pt x="1182" y="170"/>
                  <a:pt x="1182" y="170"/>
                  <a:pt x="1181" y="170"/>
                </a:cubicBezTo>
                <a:cubicBezTo>
                  <a:pt x="1181" y="170"/>
                  <a:pt x="1180" y="170"/>
                  <a:pt x="1180" y="169"/>
                </a:cubicBezTo>
                <a:cubicBezTo>
                  <a:pt x="1179" y="169"/>
                  <a:pt x="1179" y="169"/>
                  <a:pt x="1179" y="169"/>
                </a:cubicBezTo>
                <a:cubicBezTo>
                  <a:pt x="1179" y="169"/>
                  <a:pt x="1179" y="169"/>
                  <a:pt x="1179" y="169"/>
                </a:cubicBezTo>
                <a:cubicBezTo>
                  <a:pt x="1178" y="169"/>
                  <a:pt x="1177" y="169"/>
                  <a:pt x="1176" y="170"/>
                </a:cubicBezTo>
                <a:cubicBezTo>
                  <a:pt x="1176" y="172"/>
                  <a:pt x="1176" y="173"/>
                  <a:pt x="1176" y="175"/>
                </a:cubicBezTo>
                <a:cubicBezTo>
                  <a:pt x="1179" y="179"/>
                  <a:pt x="1182" y="182"/>
                  <a:pt x="1187" y="183"/>
                </a:cubicBezTo>
                <a:cubicBezTo>
                  <a:pt x="1187" y="183"/>
                  <a:pt x="1187" y="183"/>
                  <a:pt x="1187" y="183"/>
                </a:cubicBezTo>
                <a:cubicBezTo>
                  <a:pt x="1187" y="183"/>
                  <a:pt x="1187" y="183"/>
                  <a:pt x="1187" y="183"/>
                </a:cubicBezTo>
                <a:cubicBezTo>
                  <a:pt x="1187" y="183"/>
                  <a:pt x="1187" y="183"/>
                  <a:pt x="1187" y="183"/>
                </a:cubicBezTo>
                <a:cubicBezTo>
                  <a:pt x="1187" y="183"/>
                  <a:pt x="1187" y="183"/>
                  <a:pt x="1187" y="183"/>
                </a:cubicBezTo>
                <a:cubicBezTo>
                  <a:pt x="1186" y="184"/>
                  <a:pt x="1186" y="184"/>
                  <a:pt x="1186" y="185"/>
                </a:cubicBezTo>
                <a:cubicBezTo>
                  <a:pt x="1187" y="187"/>
                  <a:pt x="1188" y="189"/>
                  <a:pt x="1190" y="191"/>
                </a:cubicBezTo>
                <a:cubicBezTo>
                  <a:pt x="1191" y="191"/>
                  <a:pt x="1193" y="191"/>
                  <a:pt x="1193" y="190"/>
                </a:cubicBezTo>
                <a:cubicBezTo>
                  <a:pt x="1194" y="190"/>
                  <a:pt x="1194" y="189"/>
                  <a:pt x="1194" y="188"/>
                </a:cubicBezTo>
                <a:cubicBezTo>
                  <a:pt x="1194" y="185"/>
                  <a:pt x="1195" y="181"/>
                  <a:pt x="1195" y="177"/>
                </a:cubicBezTo>
                <a:cubicBezTo>
                  <a:pt x="1195" y="175"/>
                  <a:pt x="1196" y="173"/>
                  <a:pt x="1197" y="172"/>
                </a:cubicBezTo>
                <a:cubicBezTo>
                  <a:pt x="1198" y="171"/>
                  <a:pt x="1199" y="169"/>
                  <a:pt x="1199" y="168"/>
                </a:cubicBezTo>
                <a:cubicBezTo>
                  <a:pt x="1198" y="164"/>
                  <a:pt x="1201" y="159"/>
                  <a:pt x="1201" y="155"/>
                </a:cubicBezTo>
                <a:cubicBezTo>
                  <a:pt x="1201" y="154"/>
                  <a:pt x="1201" y="154"/>
                  <a:pt x="1201" y="153"/>
                </a:cubicBezTo>
                <a:cubicBezTo>
                  <a:pt x="1202" y="151"/>
                  <a:pt x="1203" y="149"/>
                  <a:pt x="1205" y="149"/>
                </a:cubicBezTo>
                <a:cubicBezTo>
                  <a:pt x="1205" y="148"/>
                  <a:pt x="1206" y="148"/>
                  <a:pt x="1206" y="149"/>
                </a:cubicBezTo>
                <a:cubicBezTo>
                  <a:pt x="1206" y="150"/>
                  <a:pt x="1206" y="152"/>
                  <a:pt x="1206" y="152"/>
                </a:cubicBezTo>
                <a:cubicBezTo>
                  <a:pt x="1208" y="155"/>
                  <a:pt x="1209" y="159"/>
                  <a:pt x="1210" y="162"/>
                </a:cubicBezTo>
                <a:cubicBezTo>
                  <a:pt x="1211" y="163"/>
                  <a:pt x="1211" y="165"/>
                  <a:pt x="1211" y="166"/>
                </a:cubicBezTo>
                <a:cubicBezTo>
                  <a:pt x="1210" y="168"/>
                  <a:pt x="1210" y="169"/>
                  <a:pt x="1210" y="170"/>
                </a:cubicBezTo>
                <a:cubicBezTo>
                  <a:pt x="1209" y="171"/>
                  <a:pt x="1211" y="173"/>
                  <a:pt x="1212" y="173"/>
                </a:cubicBezTo>
                <a:cubicBezTo>
                  <a:pt x="1213" y="172"/>
                  <a:pt x="1215" y="171"/>
                  <a:pt x="1216" y="171"/>
                </a:cubicBezTo>
                <a:cubicBezTo>
                  <a:pt x="1217" y="170"/>
                  <a:pt x="1217" y="170"/>
                  <a:pt x="1218" y="172"/>
                </a:cubicBezTo>
                <a:cubicBezTo>
                  <a:pt x="1218" y="173"/>
                  <a:pt x="1218" y="173"/>
                  <a:pt x="1218" y="173"/>
                </a:cubicBezTo>
                <a:cubicBezTo>
                  <a:pt x="1219" y="175"/>
                  <a:pt x="1220" y="175"/>
                  <a:pt x="1221" y="174"/>
                </a:cubicBezTo>
                <a:cubicBezTo>
                  <a:pt x="1224" y="172"/>
                  <a:pt x="1226" y="168"/>
                  <a:pt x="1227" y="164"/>
                </a:cubicBezTo>
                <a:cubicBezTo>
                  <a:pt x="1227" y="163"/>
                  <a:pt x="1226" y="163"/>
                  <a:pt x="1226" y="163"/>
                </a:cubicBezTo>
                <a:cubicBezTo>
                  <a:pt x="1225" y="162"/>
                  <a:pt x="1225" y="162"/>
                  <a:pt x="1224" y="162"/>
                </a:cubicBezTo>
                <a:cubicBezTo>
                  <a:pt x="1221" y="162"/>
                  <a:pt x="1220" y="161"/>
                  <a:pt x="1220" y="158"/>
                </a:cubicBezTo>
                <a:cubicBezTo>
                  <a:pt x="1220" y="155"/>
                  <a:pt x="1219" y="155"/>
                  <a:pt x="1216" y="155"/>
                </a:cubicBezTo>
                <a:cubicBezTo>
                  <a:pt x="1214" y="156"/>
                  <a:pt x="1214" y="156"/>
                  <a:pt x="1215" y="154"/>
                </a:cubicBezTo>
                <a:cubicBezTo>
                  <a:pt x="1215" y="153"/>
                  <a:pt x="1215" y="153"/>
                  <a:pt x="1215" y="152"/>
                </a:cubicBezTo>
                <a:cubicBezTo>
                  <a:pt x="1215" y="150"/>
                  <a:pt x="1215" y="149"/>
                  <a:pt x="1213" y="148"/>
                </a:cubicBezTo>
                <a:cubicBezTo>
                  <a:pt x="1212" y="148"/>
                  <a:pt x="1210" y="148"/>
                  <a:pt x="1209" y="146"/>
                </a:cubicBezTo>
                <a:cubicBezTo>
                  <a:pt x="1208" y="144"/>
                  <a:pt x="1206" y="143"/>
                  <a:pt x="1205" y="140"/>
                </a:cubicBezTo>
                <a:cubicBezTo>
                  <a:pt x="1205" y="140"/>
                  <a:pt x="1204" y="139"/>
                  <a:pt x="1204" y="139"/>
                </a:cubicBezTo>
                <a:cubicBezTo>
                  <a:pt x="1203" y="139"/>
                  <a:pt x="1202" y="139"/>
                  <a:pt x="1201" y="138"/>
                </a:cubicBezTo>
                <a:cubicBezTo>
                  <a:pt x="1198" y="137"/>
                  <a:pt x="1196" y="136"/>
                  <a:pt x="1196" y="134"/>
                </a:cubicBezTo>
                <a:cubicBezTo>
                  <a:pt x="1195" y="131"/>
                  <a:pt x="1194" y="129"/>
                  <a:pt x="1192" y="128"/>
                </a:cubicBezTo>
                <a:cubicBezTo>
                  <a:pt x="1191" y="128"/>
                  <a:pt x="1191" y="127"/>
                  <a:pt x="1190" y="126"/>
                </a:cubicBezTo>
                <a:cubicBezTo>
                  <a:pt x="1189" y="125"/>
                  <a:pt x="1188" y="123"/>
                  <a:pt x="1186" y="123"/>
                </a:cubicBezTo>
                <a:cubicBezTo>
                  <a:pt x="1185" y="122"/>
                  <a:pt x="1184" y="122"/>
                  <a:pt x="1183" y="121"/>
                </a:cubicBezTo>
                <a:cubicBezTo>
                  <a:pt x="1182" y="121"/>
                  <a:pt x="1181" y="121"/>
                  <a:pt x="1181" y="123"/>
                </a:cubicBezTo>
                <a:cubicBezTo>
                  <a:pt x="1180" y="124"/>
                  <a:pt x="1180" y="126"/>
                  <a:pt x="1180" y="128"/>
                </a:cubicBezTo>
                <a:cubicBezTo>
                  <a:pt x="1180" y="128"/>
                  <a:pt x="1180" y="128"/>
                  <a:pt x="1180" y="128"/>
                </a:cubicBezTo>
                <a:cubicBezTo>
                  <a:pt x="1180" y="128"/>
                  <a:pt x="1180" y="129"/>
                  <a:pt x="1180" y="129"/>
                </a:cubicBezTo>
                <a:cubicBezTo>
                  <a:pt x="1181" y="130"/>
                  <a:pt x="1181" y="131"/>
                  <a:pt x="1181" y="132"/>
                </a:cubicBezTo>
                <a:cubicBezTo>
                  <a:pt x="1181" y="133"/>
                  <a:pt x="1181" y="133"/>
                  <a:pt x="1181" y="133"/>
                </a:cubicBezTo>
                <a:cubicBezTo>
                  <a:pt x="1180" y="134"/>
                  <a:pt x="1180" y="133"/>
                  <a:pt x="1180" y="132"/>
                </a:cubicBezTo>
                <a:cubicBezTo>
                  <a:pt x="1180" y="131"/>
                  <a:pt x="1180" y="130"/>
                  <a:pt x="1180" y="129"/>
                </a:cubicBezTo>
                <a:cubicBezTo>
                  <a:pt x="1180" y="129"/>
                  <a:pt x="1180" y="129"/>
                  <a:pt x="1179" y="129"/>
                </a:cubicBezTo>
                <a:cubicBezTo>
                  <a:pt x="1180" y="128"/>
                  <a:pt x="1180" y="128"/>
                  <a:pt x="1180" y="128"/>
                </a:cubicBezTo>
                <a:cubicBezTo>
                  <a:pt x="1179" y="128"/>
                  <a:pt x="1178" y="128"/>
                  <a:pt x="1178" y="128"/>
                </a:cubicBezTo>
                <a:cubicBezTo>
                  <a:pt x="1176" y="127"/>
                  <a:pt x="1174" y="128"/>
                  <a:pt x="1172" y="128"/>
                </a:cubicBezTo>
                <a:cubicBezTo>
                  <a:pt x="1172" y="128"/>
                  <a:pt x="1172" y="129"/>
                  <a:pt x="1172" y="129"/>
                </a:cubicBezTo>
                <a:cubicBezTo>
                  <a:pt x="1172" y="129"/>
                  <a:pt x="1172" y="129"/>
                  <a:pt x="1172" y="129"/>
                </a:cubicBezTo>
                <a:cubicBezTo>
                  <a:pt x="1172" y="129"/>
                  <a:pt x="1172" y="130"/>
                  <a:pt x="1172" y="130"/>
                </a:cubicBezTo>
                <a:cubicBezTo>
                  <a:pt x="1172" y="131"/>
                  <a:pt x="1172" y="131"/>
                  <a:pt x="1171" y="131"/>
                </a:cubicBezTo>
                <a:cubicBezTo>
                  <a:pt x="1171" y="131"/>
                  <a:pt x="1171" y="130"/>
                  <a:pt x="1170" y="130"/>
                </a:cubicBezTo>
                <a:cubicBezTo>
                  <a:pt x="1170" y="130"/>
                  <a:pt x="1170" y="129"/>
                  <a:pt x="1171" y="129"/>
                </a:cubicBezTo>
                <a:cubicBezTo>
                  <a:pt x="1171" y="129"/>
                  <a:pt x="1172" y="129"/>
                  <a:pt x="1172" y="129"/>
                </a:cubicBezTo>
                <a:cubicBezTo>
                  <a:pt x="1172" y="129"/>
                  <a:pt x="1172" y="128"/>
                  <a:pt x="1172" y="128"/>
                </a:cubicBezTo>
                <a:cubicBezTo>
                  <a:pt x="1172" y="128"/>
                  <a:pt x="1172" y="128"/>
                  <a:pt x="1172" y="128"/>
                </a:cubicBezTo>
                <a:cubicBezTo>
                  <a:pt x="1172" y="128"/>
                  <a:pt x="1172" y="128"/>
                  <a:pt x="1172" y="128"/>
                </a:cubicBezTo>
                <a:cubicBezTo>
                  <a:pt x="1172" y="125"/>
                  <a:pt x="1171" y="125"/>
                  <a:pt x="1169" y="125"/>
                </a:cubicBezTo>
                <a:cubicBezTo>
                  <a:pt x="1167" y="126"/>
                  <a:pt x="1164" y="127"/>
                  <a:pt x="1162" y="127"/>
                </a:cubicBezTo>
                <a:cubicBezTo>
                  <a:pt x="1160" y="127"/>
                  <a:pt x="1159" y="128"/>
                  <a:pt x="1159" y="129"/>
                </a:cubicBezTo>
                <a:cubicBezTo>
                  <a:pt x="1159" y="130"/>
                  <a:pt x="1158" y="131"/>
                  <a:pt x="1158" y="132"/>
                </a:cubicBezTo>
                <a:cubicBezTo>
                  <a:pt x="1157" y="135"/>
                  <a:pt x="1157" y="138"/>
                  <a:pt x="1160" y="140"/>
                </a:cubicBezTo>
                <a:cubicBezTo>
                  <a:pt x="1161" y="141"/>
                  <a:pt x="1161" y="142"/>
                  <a:pt x="1161" y="142"/>
                </a:cubicBezTo>
                <a:close/>
                <a:moveTo>
                  <a:pt x="1183" y="167"/>
                </a:moveTo>
                <a:cubicBezTo>
                  <a:pt x="1182" y="166"/>
                  <a:pt x="1182" y="166"/>
                  <a:pt x="1182" y="166"/>
                </a:cubicBezTo>
                <a:cubicBezTo>
                  <a:pt x="1183" y="166"/>
                  <a:pt x="1183" y="166"/>
                  <a:pt x="1183" y="166"/>
                </a:cubicBezTo>
                <a:lnTo>
                  <a:pt x="1183" y="167"/>
                </a:lnTo>
                <a:close/>
                <a:moveTo>
                  <a:pt x="1181" y="139"/>
                </a:moveTo>
                <a:cubicBezTo>
                  <a:pt x="1181" y="139"/>
                  <a:pt x="1181" y="139"/>
                  <a:pt x="1181" y="139"/>
                </a:cubicBezTo>
                <a:cubicBezTo>
                  <a:pt x="1181" y="139"/>
                  <a:pt x="1181" y="139"/>
                  <a:pt x="1181" y="139"/>
                </a:cubicBezTo>
                <a:cubicBezTo>
                  <a:pt x="1181" y="139"/>
                  <a:pt x="1181" y="139"/>
                  <a:pt x="1181" y="139"/>
                </a:cubicBezTo>
                <a:close/>
                <a:moveTo>
                  <a:pt x="697" y="160"/>
                </a:moveTo>
                <a:cubicBezTo>
                  <a:pt x="696" y="159"/>
                  <a:pt x="695" y="158"/>
                  <a:pt x="695" y="157"/>
                </a:cubicBezTo>
                <a:cubicBezTo>
                  <a:pt x="694" y="156"/>
                  <a:pt x="692" y="155"/>
                  <a:pt x="690" y="155"/>
                </a:cubicBezTo>
                <a:cubicBezTo>
                  <a:pt x="688" y="155"/>
                  <a:pt x="685" y="155"/>
                  <a:pt x="683" y="154"/>
                </a:cubicBezTo>
                <a:cubicBezTo>
                  <a:pt x="682" y="153"/>
                  <a:pt x="681" y="153"/>
                  <a:pt x="680" y="153"/>
                </a:cubicBezTo>
                <a:cubicBezTo>
                  <a:pt x="677" y="154"/>
                  <a:pt x="673" y="154"/>
                  <a:pt x="669" y="155"/>
                </a:cubicBezTo>
                <a:cubicBezTo>
                  <a:pt x="667" y="155"/>
                  <a:pt x="665" y="156"/>
                  <a:pt x="663" y="153"/>
                </a:cubicBezTo>
                <a:cubicBezTo>
                  <a:pt x="663" y="152"/>
                  <a:pt x="661" y="152"/>
                  <a:pt x="660" y="152"/>
                </a:cubicBezTo>
                <a:cubicBezTo>
                  <a:pt x="657" y="150"/>
                  <a:pt x="654" y="149"/>
                  <a:pt x="653" y="145"/>
                </a:cubicBezTo>
                <a:cubicBezTo>
                  <a:pt x="652" y="143"/>
                  <a:pt x="651" y="143"/>
                  <a:pt x="650" y="142"/>
                </a:cubicBezTo>
                <a:cubicBezTo>
                  <a:pt x="649" y="142"/>
                  <a:pt x="649" y="142"/>
                  <a:pt x="650" y="141"/>
                </a:cubicBezTo>
                <a:cubicBezTo>
                  <a:pt x="651" y="141"/>
                  <a:pt x="651" y="140"/>
                  <a:pt x="652" y="139"/>
                </a:cubicBezTo>
                <a:cubicBezTo>
                  <a:pt x="652" y="139"/>
                  <a:pt x="652" y="139"/>
                  <a:pt x="652" y="139"/>
                </a:cubicBezTo>
                <a:cubicBezTo>
                  <a:pt x="652" y="139"/>
                  <a:pt x="652" y="139"/>
                  <a:pt x="652" y="139"/>
                </a:cubicBezTo>
                <a:cubicBezTo>
                  <a:pt x="652" y="139"/>
                  <a:pt x="652" y="139"/>
                  <a:pt x="652" y="139"/>
                </a:cubicBezTo>
                <a:cubicBezTo>
                  <a:pt x="652" y="139"/>
                  <a:pt x="652" y="139"/>
                  <a:pt x="652" y="139"/>
                </a:cubicBezTo>
                <a:cubicBezTo>
                  <a:pt x="654" y="139"/>
                  <a:pt x="656" y="140"/>
                  <a:pt x="657" y="139"/>
                </a:cubicBezTo>
                <a:cubicBezTo>
                  <a:pt x="658" y="139"/>
                  <a:pt x="659" y="138"/>
                  <a:pt x="658" y="137"/>
                </a:cubicBezTo>
                <a:cubicBezTo>
                  <a:pt x="658" y="137"/>
                  <a:pt x="658" y="136"/>
                  <a:pt x="657" y="136"/>
                </a:cubicBezTo>
                <a:cubicBezTo>
                  <a:pt x="656" y="134"/>
                  <a:pt x="655" y="133"/>
                  <a:pt x="655" y="130"/>
                </a:cubicBezTo>
                <a:cubicBezTo>
                  <a:pt x="656" y="129"/>
                  <a:pt x="654" y="127"/>
                  <a:pt x="652" y="127"/>
                </a:cubicBezTo>
                <a:cubicBezTo>
                  <a:pt x="651" y="127"/>
                  <a:pt x="649" y="127"/>
                  <a:pt x="648" y="127"/>
                </a:cubicBezTo>
                <a:cubicBezTo>
                  <a:pt x="647" y="126"/>
                  <a:pt x="646" y="126"/>
                  <a:pt x="645" y="125"/>
                </a:cubicBezTo>
                <a:cubicBezTo>
                  <a:pt x="645" y="124"/>
                  <a:pt x="645" y="122"/>
                  <a:pt x="644" y="121"/>
                </a:cubicBezTo>
                <a:cubicBezTo>
                  <a:pt x="644" y="120"/>
                  <a:pt x="644" y="119"/>
                  <a:pt x="643" y="119"/>
                </a:cubicBezTo>
                <a:cubicBezTo>
                  <a:pt x="641" y="117"/>
                  <a:pt x="639" y="115"/>
                  <a:pt x="636" y="114"/>
                </a:cubicBezTo>
                <a:cubicBezTo>
                  <a:pt x="634" y="113"/>
                  <a:pt x="632" y="113"/>
                  <a:pt x="630" y="115"/>
                </a:cubicBezTo>
                <a:cubicBezTo>
                  <a:pt x="629" y="115"/>
                  <a:pt x="628" y="117"/>
                  <a:pt x="628" y="118"/>
                </a:cubicBezTo>
                <a:cubicBezTo>
                  <a:pt x="629" y="122"/>
                  <a:pt x="630" y="125"/>
                  <a:pt x="630" y="129"/>
                </a:cubicBezTo>
                <a:cubicBezTo>
                  <a:pt x="630" y="129"/>
                  <a:pt x="631" y="130"/>
                  <a:pt x="631" y="130"/>
                </a:cubicBezTo>
                <a:cubicBezTo>
                  <a:pt x="634" y="131"/>
                  <a:pt x="636" y="132"/>
                  <a:pt x="638" y="133"/>
                </a:cubicBezTo>
                <a:cubicBezTo>
                  <a:pt x="641" y="134"/>
                  <a:pt x="641" y="134"/>
                  <a:pt x="641" y="136"/>
                </a:cubicBezTo>
                <a:cubicBezTo>
                  <a:pt x="641" y="137"/>
                  <a:pt x="641" y="139"/>
                  <a:pt x="641" y="141"/>
                </a:cubicBezTo>
                <a:cubicBezTo>
                  <a:pt x="641" y="143"/>
                  <a:pt x="640" y="145"/>
                  <a:pt x="638" y="146"/>
                </a:cubicBezTo>
                <a:cubicBezTo>
                  <a:pt x="637" y="147"/>
                  <a:pt x="636" y="149"/>
                  <a:pt x="635" y="150"/>
                </a:cubicBezTo>
                <a:cubicBezTo>
                  <a:pt x="632" y="153"/>
                  <a:pt x="632" y="158"/>
                  <a:pt x="632" y="162"/>
                </a:cubicBezTo>
                <a:cubicBezTo>
                  <a:pt x="632" y="164"/>
                  <a:pt x="636" y="164"/>
                  <a:pt x="637" y="166"/>
                </a:cubicBezTo>
                <a:cubicBezTo>
                  <a:pt x="637" y="166"/>
                  <a:pt x="638" y="167"/>
                  <a:pt x="638" y="167"/>
                </a:cubicBezTo>
                <a:cubicBezTo>
                  <a:pt x="640" y="169"/>
                  <a:pt x="642" y="169"/>
                  <a:pt x="644" y="167"/>
                </a:cubicBezTo>
                <a:cubicBezTo>
                  <a:pt x="645" y="167"/>
                  <a:pt x="645" y="167"/>
                  <a:pt x="646" y="167"/>
                </a:cubicBezTo>
                <a:cubicBezTo>
                  <a:pt x="647" y="167"/>
                  <a:pt x="647" y="167"/>
                  <a:pt x="647" y="168"/>
                </a:cubicBezTo>
                <a:cubicBezTo>
                  <a:pt x="647" y="169"/>
                  <a:pt x="646" y="169"/>
                  <a:pt x="646" y="170"/>
                </a:cubicBezTo>
                <a:cubicBezTo>
                  <a:pt x="647" y="171"/>
                  <a:pt x="648" y="172"/>
                  <a:pt x="649" y="172"/>
                </a:cubicBezTo>
                <a:cubicBezTo>
                  <a:pt x="652" y="173"/>
                  <a:pt x="654" y="174"/>
                  <a:pt x="657" y="174"/>
                </a:cubicBezTo>
                <a:cubicBezTo>
                  <a:pt x="663" y="174"/>
                  <a:pt x="668" y="177"/>
                  <a:pt x="674" y="177"/>
                </a:cubicBezTo>
                <a:cubicBezTo>
                  <a:pt x="675" y="177"/>
                  <a:pt x="676" y="178"/>
                  <a:pt x="677" y="178"/>
                </a:cubicBezTo>
                <a:cubicBezTo>
                  <a:pt x="679" y="180"/>
                  <a:pt x="681" y="180"/>
                  <a:pt x="683" y="180"/>
                </a:cubicBezTo>
                <a:cubicBezTo>
                  <a:pt x="685" y="180"/>
                  <a:pt x="687" y="180"/>
                  <a:pt x="689" y="179"/>
                </a:cubicBezTo>
                <a:cubicBezTo>
                  <a:pt x="689" y="179"/>
                  <a:pt x="690" y="179"/>
                  <a:pt x="691" y="178"/>
                </a:cubicBezTo>
                <a:cubicBezTo>
                  <a:pt x="692" y="177"/>
                  <a:pt x="694" y="176"/>
                  <a:pt x="696" y="175"/>
                </a:cubicBezTo>
                <a:cubicBezTo>
                  <a:pt x="697" y="174"/>
                  <a:pt x="697" y="173"/>
                  <a:pt x="697" y="172"/>
                </a:cubicBezTo>
                <a:cubicBezTo>
                  <a:pt x="697" y="171"/>
                  <a:pt x="698" y="170"/>
                  <a:pt x="698" y="169"/>
                </a:cubicBezTo>
                <a:cubicBezTo>
                  <a:pt x="701" y="165"/>
                  <a:pt x="700" y="162"/>
                  <a:pt x="697" y="160"/>
                </a:cubicBezTo>
                <a:close/>
                <a:moveTo>
                  <a:pt x="549" y="122"/>
                </a:moveTo>
                <a:cubicBezTo>
                  <a:pt x="547" y="121"/>
                  <a:pt x="544" y="121"/>
                  <a:pt x="542" y="120"/>
                </a:cubicBezTo>
                <a:cubicBezTo>
                  <a:pt x="541" y="120"/>
                  <a:pt x="541" y="119"/>
                  <a:pt x="541" y="119"/>
                </a:cubicBezTo>
                <a:cubicBezTo>
                  <a:pt x="543" y="117"/>
                  <a:pt x="541" y="114"/>
                  <a:pt x="541" y="112"/>
                </a:cubicBezTo>
                <a:cubicBezTo>
                  <a:pt x="541" y="109"/>
                  <a:pt x="541" y="107"/>
                  <a:pt x="541" y="105"/>
                </a:cubicBezTo>
                <a:cubicBezTo>
                  <a:pt x="541" y="103"/>
                  <a:pt x="539" y="103"/>
                  <a:pt x="537" y="102"/>
                </a:cubicBezTo>
                <a:cubicBezTo>
                  <a:pt x="536" y="102"/>
                  <a:pt x="536" y="101"/>
                  <a:pt x="536" y="100"/>
                </a:cubicBezTo>
                <a:cubicBezTo>
                  <a:pt x="536" y="97"/>
                  <a:pt x="535" y="96"/>
                  <a:pt x="533" y="95"/>
                </a:cubicBezTo>
                <a:cubicBezTo>
                  <a:pt x="531" y="95"/>
                  <a:pt x="529" y="95"/>
                  <a:pt x="528" y="96"/>
                </a:cubicBezTo>
                <a:cubicBezTo>
                  <a:pt x="525" y="98"/>
                  <a:pt x="522" y="99"/>
                  <a:pt x="520" y="100"/>
                </a:cubicBezTo>
                <a:cubicBezTo>
                  <a:pt x="519" y="101"/>
                  <a:pt x="519" y="102"/>
                  <a:pt x="518" y="103"/>
                </a:cubicBezTo>
                <a:cubicBezTo>
                  <a:pt x="518" y="105"/>
                  <a:pt x="517" y="106"/>
                  <a:pt x="515" y="106"/>
                </a:cubicBezTo>
                <a:cubicBezTo>
                  <a:pt x="514" y="107"/>
                  <a:pt x="513" y="108"/>
                  <a:pt x="512" y="109"/>
                </a:cubicBezTo>
                <a:cubicBezTo>
                  <a:pt x="511" y="110"/>
                  <a:pt x="511" y="110"/>
                  <a:pt x="512" y="111"/>
                </a:cubicBezTo>
                <a:cubicBezTo>
                  <a:pt x="513" y="111"/>
                  <a:pt x="514" y="112"/>
                  <a:pt x="515" y="113"/>
                </a:cubicBezTo>
                <a:cubicBezTo>
                  <a:pt x="515" y="113"/>
                  <a:pt x="516" y="113"/>
                  <a:pt x="515" y="114"/>
                </a:cubicBezTo>
                <a:cubicBezTo>
                  <a:pt x="515" y="114"/>
                  <a:pt x="515" y="114"/>
                  <a:pt x="514" y="114"/>
                </a:cubicBezTo>
                <a:cubicBezTo>
                  <a:pt x="512" y="114"/>
                  <a:pt x="510" y="113"/>
                  <a:pt x="508" y="113"/>
                </a:cubicBezTo>
                <a:cubicBezTo>
                  <a:pt x="506" y="113"/>
                  <a:pt x="505" y="115"/>
                  <a:pt x="504" y="117"/>
                </a:cubicBezTo>
                <a:cubicBezTo>
                  <a:pt x="504" y="119"/>
                  <a:pt x="504" y="120"/>
                  <a:pt x="505" y="121"/>
                </a:cubicBezTo>
                <a:cubicBezTo>
                  <a:pt x="507" y="122"/>
                  <a:pt x="508" y="123"/>
                  <a:pt x="509" y="124"/>
                </a:cubicBezTo>
                <a:cubicBezTo>
                  <a:pt x="512" y="126"/>
                  <a:pt x="515" y="128"/>
                  <a:pt x="518" y="126"/>
                </a:cubicBezTo>
                <a:cubicBezTo>
                  <a:pt x="519" y="126"/>
                  <a:pt x="520" y="126"/>
                  <a:pt x="520" y="126"/>
                </a:cubicBezTo>
                <a:cubicBezTo>
                  <a:pt x="522" y="127"/>
                  <a:pt x="524" y="127"/>
                  <a:pt x="527" y="127"/>
                </a:cubicBezTo>
                <a:cubicBezTo>
                  <a:pt x="527" y="127"/>
                  <a:pt x="527" y="128"/>
                  <a:pt x="527" y="128"/>
                </a:cubicBezTo>
                <a:cubicBezTo>
                  <a:pt x="527" y="128"/>
                  <a:pt x="527" y="128"/>
                  <a:pt x="527" y="128"/>
                </a:cubicBezTo>
                <a:cubicBezTo>
                  <a:pt x="523" y="129"/>
                  <a:pt x="519" y="129"/>
                  <a:pt x="515" y="130"/>
                </a:cubicBezTo>
                <a:cubicBezTo>
                  <a:pt x="514" y="130"/>
                  <a:pt x="513" y="131"/>
                  <a:pt x="513" y="133"/>
                </a:cubicBezTo>
                <a:cubicBezTo>
                  <a:pt x="513" y="135"/>
                  <a:pt x="514" y="137"/>
                  <a:pt x="516" y="138"/>
                </a:cubicBezTo>
                <a:cubicBezTo>
                  <a:pt x="517" y="139"/>
                  <a:pt x="518" y="139"/>
                  <a:pt x="520" y="139"/>
                </a:cubicBezTo>
                <a:cubicBezTo>
                  <a:pt x="521" y="140"/>
                  <a:pt x="523" y="139"/>
                  <a:pt x="525" y="140"/>
                </a:cubicBezTo>
                <a:cubicBezTo>
                  <a:pt x="528" y="140"/>
                  <a:pt x="531" y="139"/>
                  <a:pt x="534" y="138"/>
                </a:cubicBezTo>
                <a:cubicBezTo>
                  <a:pt x="535" y="137"/>
                  <a:pt x="536" y="136"/>
                  <a:pt x="537" y="136"/>
                </a:cubicBezTo>
                <a:cubicBezTo>
                  <a:pt x="540" y="136"/>
                  <a:pt x="542" y="136"/>
                  <a:pt x="545" y="135"/>
                </a:cubicBezTo>
                <a:cubicBezTo>
                  <a:pt x="545" y="135"/>
                  <a:pt x="546" y="135"/>
                  <a:pt x="547" y="135"/>
                </a:cubicBezTo>
                <a:cubicBezTo>
                  <a:pt x="548" y="136"/>
                  <a:pt x="550" y="137"/>
                  <a:pt x="552" y="137"/>
                </a:cubicBezTo>
                <a:cubicBezTo>
                  <a:pt x="554" y="138"/>
                  <a:pt x="555" y="138"/>
                  <a:pt x="556" y="138"/>
                </a:cubicBezTo>
                <a:cubicBezTo>
                  <a:pt x="557" y="138"/>
                  <a:pt x="559" y="138"/>
                  <a:pt x="560" y="137"/>
                </a:cubicBezTo>
                <a:cubicBezTo>
                  <a:pt x="562" y="137"/>
                  <a:pt x="563" y="136"/>
                  <a:pt x="564" y="135"/>
                </a:cubicBezTo>
                <a:cubicBezTo>
                  <a:pt x="567" y="132"/>
                  <a:pt x="569" y="130"/>
                  <a:pt x="572" y="127"/>
                </a:cubicBezTo>
                <a:cubicBezTo>
                  <a:pt x="573" y="126"/>
                  <a:pt x="574" y="125"/>
                  <a:pt x="574" y="124"/>
                </a:cubicBezTo>
                <a:cubicBezTo>
                  <a:pt x="575" y="122"/>
                  <a:pt x="574" y="119"/>
                  <a:pt x="572" y="117"/>
                </a:cubicBezTo>
                <a:cubicBezTo>
                  <a:pt x="572" y="117"/>
                  <a:pt x="571" y="117"/>
                  <a:pt x="570" y="117"/>
                </a:cubicBezTo>
                <a:cubicBezTo>
                  <a:pt x="569" y="117"/>
                  <a:pt x="568" y="118"/>
                  <a:pt x="568" y="119"/>
                </a:cubicBezTo>
                <a:cubicBezTo>
                  <a:pt x="567" y="120"/>
                  <a:pt x="567" y="120"/>
                  <a:pt x="566" y="120"/>
                </a:cubicBezTo>
                <a:cubicBezTo>
                  <a:pt x="565" y="118"/>
                  <a:pt x="563" y="118"/>
                  <a:pt x="564" y="115"/>
                </a:cubicBezTo>
                <a:cubicBezTo>
                  <a:pt x="563" y="114"/>
                  <a:pt x="562" y="113"/>
                  <a:pt x="563" y="112"/>
                </a:cubicBezTo>
                <a:cubicBezTo>
                  <a:pt x="564" y="111"/>
                  <a:pt x="565" y="110"/>
                  <a:pt x="565" y="109"/>
                </a:cubicBezTo>
                <a:cubicBezTo>
                  <a:pt x="564" y="106"/>
                  <a:pt x="565" y="103"/>
                  <a:pt x="566" y="101"/>
                </a:cubicBezTo>
                <a:cubicBezTo>
                  <a:pt x="567" y="100"/>
                  <a:pt x="566" y="99"/>
                  <a:pt x="565" y="99"/>
                </a:cubicBezTo>
                <a:cubicBezTo>
                  <a:pt x="565" y="98"/>
                  <a:pt x="563" y="98"/>
                  <a:pt x="562" y="98"/>
                </a:cubicBezTo>
                <a:cubicBezTo>
                  <a:pt x="560" y="100"/>
                  <a:pt x="558" y="102"/>
                  <a:pt x="555" y="104"/>
                </a:cubicBezTo>
                <a:cubicBezTo>
                  <a:pt x="554" y="105"/>
                  <a:pt x="554" y="106"/>
                  <a:pt x="554" y="108"/>
                </a:cubicBezTo>
                <a:cubicBezTo>
                  <a:pt x="554" y="108"/>
                  <a:pt x="554" y="109"/>
                  <a:pt x="554" y="110"/>
                </a:cubicBezTo>
                <a:cubicBezTo>
                  <a:pt x="555" y="112"/>
                  <a:pt x="554" y="113"/>
                  <a:pt x="553" y="114"/>
                </a:cubicBezTo>
                <a:cubicBezTo>
                  <a:pt x="552" y="114"/>
                  <a:pt x="552" y="114"/>
                  <a:pt x="552" y="114"/>
                </a:cubicBezTo>
                <a:cubicBezTo>
                  <a:pt x="550" y="115"/>
                  <a:pt x="550" y="116"/>
                  <a:pt x="551" y="118"/>
                </a:cubicBezTo>
                <a:cubicBezTo>
                  <a:pt x="551" y="118"/>
                  <a:pt x="551" y="119"/>
                  <a:pt x="551" y="120"/>
                </a:cubicBezTo>
                <a:cubicBezTo>
                  <a:pt x="552" y="121"/>
                  <a:pt x="550" y="122"/>
                  <a:pt x="549" y="122"/>
                </a:cubicBezTo>
                <a:close/>
                <a:moveTo>
                  <a:pt x="2316" y="1301"/>
                </a:moveTo>
                <a:cubicBezTo>
                  <a:pt x="2315" y="1302"/>
                  <a:pt x="2313" y="1302"/>
                  <a:pt x="2312" y="1302"/>
                </a:cubicBezTo>
                <a:cubicBezTo>
                  <a:pt x="2310" y="1302"/>
                  <a:pt x="2311" y="1300"/>
                  <a:pt x="2310" y="1299"/>
                </a:cubicBezTo>
                <a:cubicBezTo>
                  <a:pt x="2310" y="1298"/>
                  <a:pt x="2310" y="1298"/>
                  <a:pt x="2309" y="1297"/>
                </a:cubicBezTo>
                <a:cubicBezTo>
                  <a:pt x="2309" y="1296"/>
                  <a:pt x="2307" y="1296"/>
                  <a:pt x="2306" y="1297"/>
                </a:cubicBezTo>
                <a:cubicBezTo>
                  <a:pt x="2306" y="1297"/>
                  <a:pt x="2305" y="1298"/>
                  <a:pt x="2304" y="1299"/>
                </a:cubicBezTo>
                <a:cubicBezTo>
                  <a:pt x="2303" y="1303"/>
                  <a:pt x="2300" y="1307"/>
                  <a:pt x="2296" y="1309"/>
                </a:cubicBezTo>
                <a:cubicBezTo>
                  <a:pt x="2295" y="1310"/>
                  <a:pt x="2294" y="1311"/>
                  <a:pt x="2294" y="1312"/>
                </a:cubicBezTo>
                <a:cubicBezTo>
                  <a:pt x="2293" y="1313"/>
                  <a:pt x="2292" y="1314"/>
                  <a:pt x="2292" y="1316"/>
                </a:cubicBezTo>
                <a:cubicBezTo>
                  <a:pt x="2290" y="1319"/>
                  <a:pt x="2288" y="1321"/>
                  <a:pt x="2285" y="1323"/>
                </a:cubicBezTo>
                <a:cubicBezTo>
                  <a:pt x="2282" y="1324"/>
                  <a:pt x="2279" y="1326"/>
                  <a:pt x="2275" y="1328"/>
                </a:cubicBezTo>
                <a:cubicBezTo>
                  <a:pt x="2273" y="1330"/>
                  <a:pt x="2271" y="1333"/>
                  <a:pt x="2267" y="1333"/>
                </a:cubicBezTo>
                <a:cubicBezTo>
                  <a:pt x="2266" y="1333"/>
                  <a:pt x="2266" y="1334"/>
                  <a:pt x="2265" y="1334"/>
                </a:cubicBezTo>
                <a:cubicBezTo>
                  <a:pt x="2261" y="1338"/>
                  <a:pt x="2256" y="1341"/>
                  <a:pt x="2253" y="1345"/>
                </a:cubicBezTo>
                <a:cubicBezTo>
                  <a:pt x="2249" y="1348"/>
                  <a:pt x="2247" y="1352"/>
                  <a:pt x="2245" y="1356"/>
                </a:cubicBezTo>
                <a:cubicBezTo>
                  <a:pt x="2245" y="1357"/>
                  <a:pt x="2246" y="1359"/>
                  <a:pt x="2247" y="1360"/>
                </a:cubicBezTo>
                <a:cubicBezTo>
                  <a:pt x="2250" y="1361"/>
                  <a:pt x="2252" y="1362"/>
                  <a:pt x="2254" y="1364"/>
                </a:cubicBezTo>
                <a:cubicBezTo>
                  <a:pt x="2254" y="1365"/>
                  <a:pt x="2255" y="1365"/>
                  <a:pt x="2255" y="1366"/>
                </a:cubicBezTo>
                <a:cubicBezTo>
                  <a:pt x="2257" y="1368"/>
                  <a:pt x="2260" y="1368"/>
                  <a:pt x="2262" y="1367"/>
                </a:cubicBezTo>
                <a:cubicBezTo>
                  <a:pt x="2267" y="1365"/>
                  <a:pt x="2270" y="1361"/>
                  <a:pt x="2274" y="1359"/>
                </a:cubicBezTo>
                <a:cubicBezTo>
                  <a:pt x="2275" y="1357"/>
                  <a:pt x="2276" y="1355"/>
                  <a:pt x="2278" y="1353"/>
                </a:cubicBezTo>
                <a:cubicBezTo>
                  <a:pt x="2278" y="1352"/>
                  <a:pt x="2279" y="1350"/>
                  <a:pt x="2280" y="1349"/>
                </a:cubicBezTo>
                <a:cubicBezTo>
                  <a:pt x="2282" y="1348"/>
                  <a:pt x="2283" y="1346"/>
                  <a:pt x="2284" y="1344"/>
                </a:cubicBezTo>
                <a:cubicBezTo>
                  <a:pt x="2287" y="1338"/>
                  <a:pt x="2286" y="1339"/>
                  <a:pt x="2292" y="1336"/>
                </a:cubicBezTo>
                <a:cubicBezTo>
                  <a:pt x="2294" y="1335"/>
                  <a:pt x="2295" y="1335"/>
                  <a:pt x="2297" y="1335"/>
                </a:cubicBezTo>
                <a:cubicBezTo>
                  <a:pt x="2299" y="1335"/>
                  <a:pt x="2300" y="1334"/>
                  <a:pt x="2300" y="1333"/>
                </a:cubicBezTo>
                <a:cubicBezTo>
                  <a:pt x="2299" y="1330"/>
                  <a:pt x="2300" y="1328"/>
                  <a:pt x="2303" y="1326"/>
                </a:cubicBezTo>
                <a:cubicBezTo>
                  <a:pt x="2304" y="1326"/>
                  <a:pt x="2305" y="1325"/>
                  <a:pt x="2305" y="1324"/>
                </a:cubicBezTo>
                <a:cubicBezTo>
                  <a:pt x="2308" y="1320"/>
                  <a:pt x="2312" y="1317"/>
                  <a:pt x="2315" y="1313"/>
                </a:cubicBezTo>
                <a:cubicBezTo>
                  <a:pt x="2316" y="1312"/>
                  <a:pt x="2316" y="1311"/>
                  <a:pt x="2317" y="1310"/>
                </a:cubicBezTo>
                <a:cubicBezTo>
                  <a:pt x="2317" y="1309"/>
                  <a:pt x="2317" y="1307"/>
                  <a:pt x="2317" y="1307"/>
                </a:cubicBezTo>
                <a:cubicBezTo>
                  <a:pt x="2317" y="1306"/>
                  <a:pt x="2317" y="1306"/>
                  <a:pt x="2317" y="1305"/>
                </a:cubicBezTo>
                <a:cubicBezTo>
                  <a:pt x="2317" y="1305"/>
                  <a:pt x="2317" y="1304"/>
                  <a:pt x="2317" y="1304"/>
                </a:cubicBezTo>
                <a:cubicBezTo>
                  <a:pt x="2318" y="1303"/>
                  <a:pt x="2317" y="1303"/>
                  <a:pt x="2318" y="1303"/>
                </a:cubicBezTo>
                <a:cubicBezTo>
                  <a:pt x="2318" y="1302"/>
                  <a:pt x="2316" y="1301"/>
                  <a:pt x="2316" y="1301"/>
                </a:cubicBezTo>
                <a:close/>
                <a:moveTo>
                  <a:pt x="1000" y="379"/>
                </a:moveTo>
                <a:cubicBezTo>
                  <a:pt x="1004" y="377"/>
                  <a:pt x="1008" y="375"/>
                  <a:pt x="1012" y="373"/>
                </a:cubicBezTo>
                <a:cubicBezTo>
                  <a:pt x="1013" y="373"/>
                  <a:pt x="1014" y="373"/>
                  <a:pt x="1014" y="372"/>
                </a:cubicBezTo>
                <a:cubicBezTo>
                  <a:pt x="1017" y="370"/>
                  <a:pt x="1019" y="369"/>
                  <a:pt x="1022" y="368"/>
                </a:cubicBezTo>
                <a:cubicBezTo>
                  <a:pt x="1023" y="368"/>
                  <a:pt x="1024" y="367"/>
                  <a:pt x="1025" y="366"/>
                </a:cubicBezTo>
                <a:cubicBezTo>
                  <a:pt x="1026" y="365"/>
                  <a:pt x="1027" y="364"/>
                  <a:pt x="1028" y="363"/>
                </a:cubicBezTo>
                <a:cubicBezTo>
                  <a:pt x="1028" y="362"/>
                  <a:pt x="1028" y="362"/>
                  <a:pt x="1028" y="361"/>
                </a:cubicBezTo>
                <a:cubicBezTo>
                  <a:pt x="1027" y="359"/>
                  <a:pt x="1028" y="357"/>
                  <a:pt x="1029" y="355"/>
                </a:cubicBezTo>
                <a:cubicBezTo>
                  <a:pt x="1030" y="354"/>
                  <a:pt x="1030" y="354"/>
                  <a:pt x="1030" y="354"/>
                </a:cubicBezTo>
                <a:cubicBezTo>
                  <a:pt x="1029" y="354"/>
                  <a:pt x="1029" y="353"/>
                  <a:pt x="1029" y="353"/>
                </a:cubicBezTo>
                <a:cubicBezTo>
                  <a:pt x="1028" y="353"/>
                  <a:pt x="1027" y="352"/>
                  <a:pt x="1026" y="351"/>
                </a:cubicBezTo>
                <a:cubicBezTo>
                  <a:pt x="1025" y="350"/>
                  <a:pt x="1025" y="349"/>
                  <a:pt x="1025" y="347"/>
                </a:cubicBezTo>
                <a:cubicBezTo>
                  <a:pt x="1025" y="346"/>
                  <a:pt x="1024" y="345"/>
                  <a:pt x="1023" y="344"/>
                </a:cubicBezTo>
                <a:cubicBezTo>
                  <a:pt x="1023" y="343"/>
                  <a:pt x="1022" y="343"/>
                  <a:pt x="1022" y="343"/>
                </a:cubicBezTo>
                <a:cubicBezTo>
                  <a:pt x="1020" y="343"/>
                  <a:pt x="1019" y="343"/>
                  <a:pt x="1018" y="342"/>
                </a:cubicBezTo>
                <a:cubicBezTo>
                  <a:pt x="1017" y="341"/>
                  <a:pt x="1015" y="341"/>
                  <a:pt x="1014" y="342"/>
                </a:cubicBezTo>
                <a:cubicBezTo>
                  <a:pt x="1011" y="345"/>
                  <a:pt x="1009" y="346"/>
                  <a:pt x="1005" y="345"/>
                </a:cubicBezTo>
                <a:cubicBezTo>
                  <a:pt x="1004" y="344"/>
                  <a:pt x="1003" y="345"/>
                  <a:pt x="1002" y="345"/>
                </a:cubicBezTo>
                <a:cubicBezTo>
                  <a:pt x="999" y="344"/>
                  <a:pt x="997" y="345"/>
                  <a:pt x="996" y="347"/>
                </a:cubicBezTo>
                <a:cubicBezTo>
                  <a:pt x="996" y="347"/>
                  <a:pt x="995" y="348"/>
                  <a:pt x="995" y="347"/>
                </a:cubicBezTo>
                <a:cubicBezTo>
                  <a:pt x="994" y="347"/>
                  <a:pt x="994" y="346"/>
                  <a:pt x="993" y="345"/>
                </a:cubicBezTo>
                <a:cubicBezTo>
                  <a:pt x="993" y="345"/>
                  <a:pt x="991" y="345"/>
                  <a:pt x="991" y="346"/>
                </a:cubicBezTo>
                <a:cubicBezTo>
                  <a:pt x="990" y="347"/>
                  <a:pt x="990" y="348"/>
                  <a:pt x="990" y="349"/>
                </a:cubicBezTo>
                <a:cubicBezTo>
                  <a:pt x="991" y="351"/>
                  <a:pt x="990" y="352"/>
                  <a:pt x="988" y="352"/>
                </a:cubicBezTo>
                <a:cubicBezTo>
                  <a:pt x="988" y="352"/>
                  <a:pt x="987" y="353"/>
                  <a:pt x="987" y="353"/>
                </a:cubicBezTo>
                <a:cubicBezTo>
                  <a:pt x="987" y="353"/>
                  <a:pt x="987" y="353"/>
                  <a:pt x="987" y="353"/>
                </a:cubicBezTo>
                <a:cubicBezTo>
                  <a:pt x="987" y="353"/>
                  <a:pt x="987" y="353"/>
                  <a:pt x="986" y="353"/>
                </a:cubicBezTo>
                <a:cubicBezTo>
                  <a:pt x="987" y="353"/>
                  <a:pt x="987" y="353"/>
                  <a:pt x="987" y="353"/>
                </a:cubicBezTo>
                <a:cubicBezTo>
                  <a:pt x="987" y="353"/>
                  <a:pt x="987" y="353"/>
                  <a:pt x="987" y="353"/>
                </a:cubicBezTo>
                <a:cubicBezTo>
                  <a:pt x="986" y="352"/>
                  <a:pt x="985" y="350"/>
                  <a:pt x="986" y="348"/>
                </a:cubicBezTo>
                <a:cubicBezTo>
                  <a:pt x="986" y="347"/>
                  <a:pt x="985" y="345"/>
                  <a:pt x="984" y="344"/>
                </a:cubicBezTo>
                <a:cubicBezTo>
                  <a:pt x="983" y="343"/>
                  <a:pt x="982" y="343"/>
                  <a:pt x="982" y="342"/>
                </a:cubicBezTo>
                <a:cubicBezTo>
                  <a:pt x="980" y="340"/>
                  <a:pt x="979" y="340"/>
                  <a:pt x="976" y="342"/>
                </a:cubicBezTo>
                <a:cubicBezTo>
                  <a:pt x="976" y="343"/>
                  <a:pt x="976" y="343"/>
                  <a:pt x="976" y="343"/>
                </a:cubicBezTo>
                <a:cubicBezTo>
                  <a:pt x="976" y="342"/>
                  <a:pt x="976" y="342"/>
                  <a:pt x="976" y="342"/>
                </a:cubicBezTo>
                <a:cubicBezTo>
                  <a:pt x="976" y="342"/>
                  <a:pt x="976" y="342"/>
                  <a:pt x="976" y="342"/>
                </a:cubicBezTo>
                <a:cubicBezTo>
                  <a:pt x="976" y="342"/>
                  <a:pt x="976" y="342"/>
                  <a:pt x="976" y="342"/>
                </a:cubicBezTo>
                <a:cubicBezTo>
                  <a:pt x="975" y="343"/>
                  <a:pt x="973" y="343"/>
                  <a:pt x="972" y="344"/>
                </a:cubicBezTo>
                <a:cubicBezTo>
                  <a:pt x="971" y="346"/>
                  <a:pt x="969" y="348"/>
                  <a:pt x="968" y="350"/>
                </a:cubicBezTo>
                <a:cubicBezTo>
                  <a:pt x="967" y="351"/>
                  <a:pt x="969" y="353"/>
                  <a:pt x="970" y="353"/>
                </a:cubicBezTo>
                <a:cubicBezTo>
                  <a:pt x="971" y="353"/>
                  <a:pt x="972" y="353"/>
                  <a:pt x="972" y="353"/>
                </a:cubicBezTo>
                <a:cubicBezTo>
                  <a:pt x="974" y="352"/>
                  <a:pt x="976" y="352"/>
                  <a:pt x="978" y="353"/>
                </a:cubicBezTo>
                <a:cubicBezTo>
                  <a:pt x="979" y="353"/>
                  <a:pt x="979" y="354"/>
                  <a:pt x="978" y="355"/>
                </a:cubicBezTo>
                <a:cubicBezTo>
                  <a:pt x="978" y="356"/>
                  <a:pt x="977" y="357"/>
                  <a:pt x="975" y="357"/>
                </a:cubicBezTo>
                <a:cubicBezTo>
                  <a:pt x="973" y="357"/>
                  <a:pt x="971" y="358"/>
                  <a:pt x="970" y="358"/>
                </a:cubicBezTo>
                <a:cubicBezTo>
                  <a:pt x="969" y="358"/>
                  <a:pt x="969" y="359"/>
                  <a:pt x="969" y="360"/>
                </a:cubicBezTo>
                <a:cubicBezTo>
                  <a:pt x="969" y="360"/>
                  <a:pt x="969" y="361"/>
                  <a:pt x="970" y="361"/>
                </a:cubicBezTo>
                <a:cubicBezTo>
                  <a:pt x="971" y="362"/>
                  <a:pt x="973" y="362"/>
                  <a:pt x="974" y="362"/>
                </a:cubicBezTo>
                <a:cubicBezTo>
                  <a:pt x="975" y="362"/>
                  <a:pt x="976" y="363"/>
                  <a:pt x="976" y="363"/>
                </a:cubicBezTo>
                <a:cubicBezTo>
                  <a:pt x="977" y="364"/>
                  <a:pt x="978" y="366"/>
                  <a:pt x="978" y="367"/>
                </a:cubicBezTo>
                <a:cubicBezTo>
                  <a:pt x="979" y="367"/>
                  <a:pt x="978" y="368"/>
                  <a:pt x="978" y="369"/>
                </a:cubicBezTo>
                <a:cubicBezTo>
                  <a:pt x="978" y="369"/>
                  <a:pt x="977" y="369"/>
                  <a:pt x="976" y="369"/>
                </a:cubicBezTo>
                <a:cubicBezTo>
                  <a:pt x="975" y="369"/>
                  <a:pt x="974" y="370"/>
                  <a:pt x="974" y="372"/>
                </a:cubicBezTo>
                <a:cubicBezTo>
                  <a:pt x="975" y="373"/>
                  <a:pt x="975" y="374"/>
                  <a:pt x="977" y="374"/>
                </a:cubicBezTo>
                <a:cubicBezTo>
                  <a:pt x="978" y="374"/>
                  <a:pt x="979" y="375"/>
                  <a:pt x="980" y="374"/>
                </a:cubicBezTo>
                <a:cubicBezTo>
                  <a:pt x="983" y="374"/>
                  <a:pt x="986" y="374"/>
                  <a:pt x="988" y="377"/>
                </a:cubicBezTo>
                <a:cubicBezTo>
                  <a:pt x="991" y="378"/>
                  <a:pt x="993" y="379"/>
                  <a:pt x="996" y="379"/>
                </a:cubicBezTo>
                <a:cubicBezTo>
                  <a:pt x="997" y="379"/>
                  <a:pt x="999" y="379"/>
                  <a:pt x="1000" y="379"/>
                </a:cubicBezTo>
                <a:close/>
                <a:moveTo>
                  <a:pt x="1519" y="53"/>
                </a:moveTo>
                <a:cubicBezTo>
                  <a:pt x="1519" y="54"/>
                  <a:pt x="1519" y="54"/>
                  <a:pt x="1520" y="55"/>
                </a:cubicBezTo>
                <a:cubicBezTo>
                  <a:pt x="1521" y="55"/>
                  <a:pt x="1522" y="55"/>
                  <a:pt x="1523" y="55"/>
                </a:cubicBezTo>
                <a:cubicBezTo>
                  <a:pt x="1524" y="56"/>
                  <a:pt x="1526" y="57"/>
                  <a:pt x="1528" y="57"/>
                </a:cubicBezTo>
                <a:cubicBezTo>
                  <a:pt x="1529" y="57"/>
                  <a:pt x="1529" y="57"/>
                  <a:pt x="1529" y="57"/>
                </a:cubicBezTo>
                <a:cubicBezTo>
                  <a:pt x="1529" y="58"/>
                  <a:pt x="1529" y="58"/>
                  <a:pt x="1528" y="58"/>
                </a:cubicBezTo>
                <a:cubicBezTo>
                  <a:pt x="1527" y="58"/>
                  <a:pt x="1526" y="59"/>
                  <a:pt x="1525" y="59"/>
                </a:cubicBezTo>
                <a:cubicBezTo>
                  <a:pt x="1524" y="59"/>
                  <a:pt x="1523" y="59"/>
                  <a:pt x="1522" y="61"/>
                </a:cubicBezTo>
                <a:cubicBezTo>
                  <a:pt x="1522" y="61"/>
                  <a:pt x="1522" y="62"/>
                  <a:pt x="1523" y="63"/>
                </a:cubicBezTo>
                <a:cubicBezTo>
                  <a:pt x="1525" y="65"/>
                  <a:pt x="1527" y="67"/>
                  <a:pt x="1528" y="68"/>
                </a:cubicBezTo>
                <a:cubicBezTo>
                  <a:pt x="1529" y="68"/>
                  <a:pt x="1529" y="69"/>
                  <a:pt x="1530" y="69"/>
                </a:cubicBezTo>
                <a:cubicBezTo>
                  <a:pt x="1533" y="68"/>
                  <a:pt x="1536" y="64"/>
                  <a:pt x="1535" y="61"/>
                </a:cubicBezTo>
                <a:cubicBezTo>
                  <a:pt x="1535" y="60"/>
                  <a:pt x="1534" y="59"/>
                  <a:pt x="1534" y="58"/>
                </a:cubicBezTo>
                <a:cubicBezTo>
                  <a:pt x="1535" y="58"/>
                  <a:pt x="1535" y="58"/>
                  <a:pt x="1535" y="58"/>
                </a:cubicBezTo>
                <a:cubicBezTo>
                  <a:pt x="1535" y="58"/>
                  <a:pt x="1536" y="58"/>
                  <a:pt x="1536" y="58"/>
                </a:cubicBezTo>
                <a:cubicBezTo>
                  <a:pt x="1537" y="59"/>
                  <a:pt x="1538" y="61"/>
                  <a:pt x="1538" y="63"/>
                </a:cubicBezTo>
                <a:cubicBezTo>
                  <a:pt x="1538" y="64"/>
                  <a:pt x="1538" y="65"/>
                  <a:pt x="1538" y="67"/>
                </a:cubicBezTo>
                <a:cubicBezTo>
                  <a:pt x="1537" y="70"/>
                  <a:pt x="1537" y="70"/>
                  <a:pt x="1540" y="70"/>
                </a:cubicBezTo>
                <a:cubicBezTo>
                  <a:pt x="1542" y="70"/>
                  <a:pt x="1544" y="70"/>
                  <a:pt x="1545" y="72"/>
                </a:cubicBezTo>
                <a:cubicBezTo>
                  <a:pt x="1547" y="75"/>
                  <a:pt x="1549" y="76"/>
                  <a:pt x="1552" y="76"/>
                </a:cubicBezTo>
                <a:cubicBezTo>
                  <a:pt x="1557" y="76"/>
                  <a:pt x="1562" y="77"/>
                  <a:pt x="1567" y="78"/>
                </a:cubicBezTo>
                <a:cubicBezTo>
                  <a:pt x="1568" y="78"/>
                  <a:pt x="1569" y="78"/>
                  <a:pt x="1569" y="78"/>
                </a:cubicBezTo>
                <a:cubicBezTo>
                  <a:pt x="1572" y="77"/>
                  <a:pt x="1574" y="76"/>
                  <a:pt x="1575" y="74"/>
                </a:cubicBezTo>
                <a:cubicBezTo>
                  <a:pt x="1576" y="73"/>
                  <a:pt x="1576" y="71"/>
                  <a:pt x="1575" y="71"/>
                </a:cubicBezTo>
                <a:cubicBezTo>
                  <a:pt x="1575" y="70"/>
                  <a:pt x="1575" y="70"/>
                  <a:pt x="1574" y="69"/>
                </a:cubicBezTo>
                <a:cubicBezTo>
                  <a:pt x="1573" y="69"/>
                  <a:pt x="1572" y="68"/>
                  <a:pt x="1571" y="67"/>
                </a:cubicBezTo>
                <a:cubicBezTo>
                  <a:pt x="1570" y="67"/>
                  <a:pt x="1570" y="66"/>
                  <a:pt x="1570" y="64"/>
                </a:cubicBezTo>
                <a:cubicBezTo>
                  <a:pt x="1571" y="62"/>
                  <a:pt x="1568" y="60"/>
                  <a:pt x="1568" y="58"/>
                </a:cubicBezTo>
                <a:cubicBezTo>
                  <a:pt x="1567" y="54"/>
                  <a:pt x="1564" y="51"/>
                  <a:pt x="1560" y="49"/>
                </a:cubicBezTo>
                <a:cubicBezTo>
                  <a:pt x="1558" y="48"/>
                  <a:pt x="1557" y="48"/>
                  <a:pt x="1555" y="49"/>
                </a:cubicBezTo>
                <a:cubicBezTo>
                  <a:pt x="1554" y="50"/>
                  <a:pt x="1552" y="50"/>
                  <a:pt x="1551" y="49"/>
                </a:cubicBezTo>
                <a:cubicBezTo>
                  <a:pt x="1549" y="47"/>
                  <a:pt x="1547" y="48"/>
                  <a:pt x="1546" y="49"/>
                </a:cubicBezTo>
                <a:cubicBezTo>
                  <a:pt x="1545" y="49"/>
                  <a:pt x="1545" y="49"/>
                  <a:pt x="1544" y="50"/>
                </a:cubicBezTo>
                <a:cubicBezTo>
                  <a:pt x="1544" y="50"/>
                  <a:pt x="1544" y="50"/>
                  <a:pt x="1544" y="50"/>
                </a:cubicBezTo>
                <a:cubicBezTo>
                  <a:pt x="1544" y="50"/>
                  <a:pt x="1544" y="50"/>
                  <a:pt x="1544" y="50"/>
                </a:cubicBezTo>
                <a:cubicBezTo>
                  <a:pt x="1542" y="51"/>
                  <a:pt x="1541" y="53"/>
                  <a:pt x="1540" y="54"/>
                </a:cubicBezTo>
                <a:cubicBezTo>
                  <a:pt x="1539" y="54"/>
                  <a:pt x="1539" y="54"/>
                  <a:pt x="1539" y="54"/>
                </a:cubicBezTo>
                <a:cubicBezTo>
                  <a:pt x="1538" y="53"/>
                  <a:pt x="1539" y="53"/>
                  <a:pt x="1539" y="53"/>
                </a:cubicBezTo>
                <a:cubicBezTo>
                  <a:pt x="1540" y="51"/>
                  <a:pt x="1541" y="50"/>
                  <a:pt x="1544" y="50"/>
                </a:cubicBezTo>
                <a:cubicBezTo>
                  <a:pt x="1544" y="50"/>
                  <a:pt x="1544" y="50"/>
                  <a:pt x="1544" y="50"/>
                </a:cubicBezTo>
                <a:cubicBezTo>
                  <a:pt x="1544" y="50"/>
                  <a:pt x="1544" y="50"/>
                  <a:pt x="1544" y="50"/>
                </a:cubicBezTo>
                <a:cubicBezTo>
                  <a:pt x="1544" y="47"/>
                  <a:pt x="1544" y="45"/>
                  <a:pt x="1542" y="43"/>
                </a:cubicBezTo>
                <a:cubicBezTo>
                  <a:pt x="1540" y="42"/>
                  <a:pt x="1539" y="39"/>
                  <a:pt x="1539" y="37"/>
                </a:cubicBezTo>
                <a:cubicBezTo>
                  <a:pt x="1539" y="36"/>
                  <a:pt x="1538" y="35"/>
                  <a:pt x="1537" y="35"/>
                </a:cubicBezTo>
                <a:cubicBezTo>
                  <a:pt x="1533" y="34"/>
                  <a:pt x="1530" y="32"/>
                  <a:pt x="1528" y="29"/>
                </a:cubicBezTo>
                <a:cubicBezTo>
                  <a:pt x="1527" y="28"/>
                  <a:pt x="1526" y="28"/>
                  <a:pt x="1524" y="27"/>
                </a:cubicBezTo>
                <a:cubicBezTo>
                  <a:pt x="1524" y="26"/>
                  <a:pt x="1522" y="27"/>
                  <a:pt x="1521" y="28"/>
                </a:cubicBezTo>
                <a:cubicBezTo>
                  <a:pt x="1521" y="30"/>
                  <a:pt x="1520" y="33"/>
                  <a:pt x="1519" y="34"/>
                </a:cubicBezTo>
                <a:cubicBezTo>
                  <a:pt x="1517" y="38"/>
                  <a:pt x="1516" y="41"/>
                  <a:pt x="1518" y="44"/>
                </a:cubicBezTo>
                <a:cubicBezTo>
                  <a:pt x="1519" y="47"/>
                  <a:pt x="1519" y="50"/>
                  <a:pt x="1519" y="53"/>
                </a:cubicBezTo>
                <a:close/>
                <a:moveTo>
                  <a:pt x="2358" y="1265"/>
                </a:moveTo>
                <a:cubicBezTo>
                  <a:pt x="2358" y="1264"/>
                  <a:pt x="2357" y="1264"/>
                  <a:pt x="2356" y="1265"/>
                </a:cubicBezTo>
                <a:cubicBezTo>
                  <a:pt x="2356" y="1265"/>
                  <a:pt x="2355" y="1265"/>
                  <a:pt x="2355" y="1266"/>
                </a:cubicBezTo>
                <a:cubicBezTo>
                  <a:pt x="2351" y="1268"/>
                  <a:pt x="2350" y="1268"/>
                  <a:pt x="2348" y="1265"/>
                </a:cubicBezTo>
                <a:cubicBezTo>
                  <a:pt x="2346" y="1264"/>
                  <a:pt x="2345" y="1263"/>
                  <a:pt x="2345" y="1261"/>
                </a:cubicBezTo>
                <a:cubicBezTo>
                  <a:pt x="2345" y="1259"/>
                  <a:pt x="2345" y="1257"/>
                  <a:pt x="2344" y="1255"/>
                </a:cubicBezTo>
                <a:cubicBezTo>
                  <a:pt x="2344" y="1254"/>
                  <a:pt x="2344" y="1253"/>
                  <a:pt x="2343" y="1253"/>
                </a:cubicBezTo>
                <a:cubicBezTo>
                  <a:pt x="2343" y="1252"/>
                  <a:pt x="2342" y="1252"/>
                  <a:pt x="2342" y="1252"/>
                </a:cubicBezTo>
                <a:cubicBezTo>
                  <a:pt x="2342" y="1252"/>
                  <a:pt x="2341" y="1252"/>
                  <a:pt x="2341" y="1252"/>
                </a:cubicBezTo>
                <a:cubicBezTo>
                  <a:pt x="2341" y="1253"/>
                  <a:pt x="2341" y="1253"/>
                  <a:pt x="2341" y="1254"/>
                </a:cubicBezTo>
                <a:cubicBezTo>
                  <a:pt x="2340" y="1254"/>
                  <a:pt x="2340" y="1255"/>
                  <a:pt x="2340" y="1255"/>
                </a:cubicBezTo>
                <a:cubicBezTo>
                  <a:pt x="2339" y="1255"/>
                  <a:pt x="2338" y="1254"/>
                  <a:pt x="2338" y="1253"/>
                </a:cubicBezTo>
                <a:cubicBezTo>
                  <a:pt x="2339" y="1249"/>
                  <a:pt x="2338" y="1245"/>
                  <a:pt x="2339" y="1241"/>
                </a:cubicBezTo>
                <a:cubicBezTo>
                  <a:pt x="2340" y="1239"/>
                  <a:pt x="2340" y="1237"/>
                  <a:pt x="2338" y="1235"/>
                </a:cubicBezTo>
                <a:cubicBezTo>
                  <a:pt x="2336" y="1232"/>
                  <a:pt x="2335" y="1229"/>
                  <a:pt x="2332" y="1228"/>
                </a:cubicBezTo>
                <a:cubicBezTo>
                  <a:pt x="2332" y="1227"/>
                  <a:pt x="2331" y="1226"/>
                  <a:pt x="2331" y="1225"/>
                </a:cubicBezTo>
                <a:cubicBezTo>
                  <a:pt x="2331" y="1225"/>
                  <a:pt x="2331" y="1225"/>
                  <a:pt x="2330" y="1225"/>
                </a:cubicBezTo>
                <a:cubicBezTo>
                  <a:pt x="2330" y="1224"/>
                  <a:pt x="2329" y="1224"/>
                  <a:pt x="2329" y="1225"/>
                </a:cubicBezTo>
                <a:cubicBezTo>
                  <a:pt x="2329" y="1225"/>
                  <a:pt x="2329" y="1225"/>
                  <a:pt x="2329" y="1225"/>
                </a:cubicBezTo>
                <a:cubicBezTo>
                  <a:pt x="2329" y="1228"/>
                  <a:pt x="2331" y="1230"/>
                  <a:pt x="2330" y="1232"/>
                </a:cubicBezTo>
                <a:cubicBezTo>
                  <a:pt x="2329" y="1234"/>
                  <a:pt x="2329" y="1235"/>
                  <a:pt x="2330" y="1237"/>
                </a:cubicBezTo>
                <a:cubicBezTo>
                  <a:pt x="2331" y="1240"/>
                  <a:pt x="2331" y="1242"/>
                  <a:pt x="2332" y="1245"/>
                </a:cubicBezTo>
                <a:cubicBezTo>
                  <a:pt x="2332" y="1247"/>
                  <a:pt x="2334" y="1250"/>
                  <a:pt x="2333" y="1252"/>
                </a:cubicBezTo>
                <a:cubicBezTo>
                  <a:pt x="2332" y="1253"/>
                  <a:pt x="2333" y="1254"/>
                  <a:pt x="2333" y="1255"/>
                </a:cubicBezTo>
                <a:cubicBezTo>
                  <a:pt x="2334" y="1256"/>
                  <a:pt x="2334" y="1257"/>
                  <a:pt x="2334" y="1258"/>
                </a:cubicBezTo>
                <a:cubicBezTo>
                  <a:pt x="2334" y="1261"/>
                  <a:pt x="2334" y="1263"/>
                  <a:pt x="2333" y="1266"/>
                </a:cubicBezTo>
                <a:cubicBezTo>
                  <a:pt x="2331" y="1268"/>
                  <a:pt x="2330" y="1271"/>
                  <a:pt x="2329" y="1274"/>
                </a:cubicBezTo>
                <a:cubicBezTo>
                  <a:pt x="2329" y="1275"/>
                  <a:pt x="2328" y="1276"/>
                  <a:pt x="2326" y="1277"/>
                </a:cubicBezTo>
                <a:cubicBezTo>
                  <a:pt x="2325" y="1277"/>
                  <a:pt x="2324" y="1278"/>
                  <a:pt x="2322" y="1279"/>
                </a:cubicBezTo>
                <a:cubicBezTo>
                  <a:pt x="2320" y="1280"/>
                  <a:pt x="2320" y="1283"/>
                  <a:pt x="2321" y="1285"/>
                </a:cubicBezTo>
                <a:cubicBezTo>
                  <a:pt x="2323" y="1286"/>
                  <a:pt x="2324" y="1288"/>
                  <a:pt x="2326" y="1289"/>
                </a:cubicBezTo>
                <a:cubicBezTo>
                  <a:pt x="2327" y="1290"/>
                  <a:pt x="2327" y="1292"/>
                  <a:pt x="2327" y="1294"/>
                </a:cubicBezTo>
                <a:cubicBezTo>
                  <a:pt x="2327" y="1295"/>
                  <a:pt x="2327" y="1297"/>
                  <a:pt x="2326" y="1298"/>
                </a:cubicBezTo>
                <a:cubicBezTo>
                  <a:pt x="2324" y="1300"/>
                  <a:pt x="2322" y="1302"/>
                  <a:pt x="2321" y="1304"/>
                </a:cubicBezTo>
                <a:cubicBezTo>
                  <a:pt x="2320" y="1304"/>
                  <a:pt x="2320" y="1305"/>
                  <a:pt x="2321" y="1305"/>
                </a:cubicBezTo>
                <a:cubicBezTo>
                  <a:pt x="2322" y="1307"/>
                  <a:pt x="2323" y="1308"/>
                  <a:pt x="2324" y="1309"/>
                </a:cubicBezTo>
                <a:cubicBezTo>
                  <a:pt x="2324" y="1309"/>
                  <a:pt x="2325" y="1309"/>
                  <a:pt x="2325" y="1309"/>
                </a:cubicBezTo>
                <a:cubicBezTo>
                  <a:pt x="2328" y="1308"/>
                  <a:pt x="2329" y="1306"/>
                  <a:pt x="2331" y="1305"/>
                </a:cubicBezTo>
                <a:cubicBezTo>
                  <a:pt x="2334" y="1302"/>
                  <a:pt x="2337" y="1299"/>
                  <a:pt x="2339" y="1296"/>
                </a:cubicBezTo>
                <a:cubicBezTo>
                  <a:pt x="2342" y="1293"/>
                  <a:pt x="2344" y="1290"/>
                  <a:pt x="2344" y="1286"/>
                </a:cubicBezTo>
                <a:cubicBezTo>
                  <a:pt x="2344" y="1284"/>
                  <a:pt x="2346" y="1282"/>
                  <a:pt x="2348" y="1282"/>
                </a:cubicBezTo>
                <a:cubicBezTo>
                  <a:pt x="2349" y="1282"/>
                  <a:pt x="2350" y="1282"/>
                  <a:pt x="2350" y="1282"/>
                </a:cubicBezTo>
                <a:cubicBezTo>
                  <a:pt x="2351" y="1282"/>
                  <a:pt x="2352" y="1282"/>
                  <a:pt x="2352" y="1281"/>
                </a:cubicBezTo>
                <a:cubicBezTo>
                  <a:pt x="2352" y="1279"/>
                  <a:pt x="2355" y="1277"/>
                  <a:pt x="2356" y="1275"/>
                </a:cubicBezTo>
                <a:cubicBezTo>
                  <a:pt x="2357" y="1275"/>
                  <a:pt x="2358" y="1274"/>
                  <a:pt x="2358" y="1273"/>
                </a:cubicBezTo>
                <a:cubicBezTo>
                  <a:pt x="2359" y="1271"/>
                  <a:pt x="2359" y="1269"/>
                  <a:pt x="2360" y="1268"/>
                </a:cubicBezTo>
                <a:cubicBezTo>
                  <a:pt x="2360" y="1267"/>
                  <a:pt x="2360" y="1265"/>
                  <a:pt x="2358" y="1265"/>
                </a:cubicBezTo>
                <a:close/>
                <a:moveTo>
                  <a:pt x="1803" y="75"/>
                </a:moveTo>
                <a:cubicBezTo>
                  <a:pt x="1804" y="77"/>
                  <a:pt x="1806" y="78"/>
                  <a:pt x="1806" y="81"/>
                </a:cubicBezTo>
                <a:cubicBezTo>
                  <a:pt x="1806" y="82"/>
                  <a:pt x="1807" y="82"/>
                  <a:pt x="1808" y="83"/>
                </a:cubicBezTo>
                <a:cubicBezTo>
                  <a:pt x="1809" y="84"/>
                  <a:pt x="1811" y="85"/>
                  <a:pt x="1812" y="85"/>
                </a:cubicBezTo>
                <a:cubicBezTo>
                  <a:pt x="1814" y="86"/>
                  <a:pt x="1816" y="87"/>
                  <a:pt x="1818" y="88"/>
                </a:cubicBezTo>
                <a:cubicBezTo>
                  <a:pt x="1819" y="90"/>
                  <a:pt x="1820" y="90"/>
                  <a:pt x="1822" y="90"/>
                </a:cubicBezTo>
                <a:cubicBezTo>
                  <a:pt x="1824" y="90"/>
                  <a:pt x="1825" y="90"/>
                  <a:pt x="1827" y="90"/>
                </a:cubicBezTo>
                <a:cubicBezTo>
                  <a:pt x="1827" y="90"/>
                  <a:pt x="1828" y="89"/>
                  <a:pt x="1829" y="88"/>
                </a:cubicBezTo>
                <a:cubicBezTo>
                  <a:pt x="1829" y="87"/>
                  <a:pt x="1829" y="86"/>
                  <a:pt x="1831" y="85"/>
                </a:cubicBezTo>
                <a:cubicBezTo>
                  <a:pt x="1832" y="84"/>
                  <a:pt x="1833" y="83"/>
                  <a:pt x="1833" y="81"/>
                </a:cubicBezTo>
                <a:cubicBezTo>
                  <a:pt x="1835" y="79"/>
                  <a:pt x="1837" y="78"/>
                  <a:pt x="1840" y="79"/>
                </a:cubicBezTo>
                <a:cubicBezTo>
                  <a:pt x="1841" y="79"/>
                  <a:pt x="1842" y="78"/>
                  <a:pt x="1843" y="78"/>
                </a:cubicBezTo>
                <a:cubicBezTo>
                  <a:pt x="1843" y="78"/>
                  <a:pt x="1844" y="77"/>
                  <a:pt x="1844" y="76"/>
                </a:cubicBezTo>
                <a:cubicBezTo>
                  <a:pt x="1845" y="76"/>
                  <a:pt x="1845" y="75"/>
                  <a:pt x="1845" y="75"/>
                </a:cubicBezTo>
                <a:cubicBezTo>
                  <a:pt x="1845" y="74"/>
                  <a:pt x="1846" y="73"/>
                  <a:pt x="1846" y="73"/>
                </a:cubicBezTo>
                <a:cubicBezTo>
                  <a:pt x="1847" y="72"/>
                  <a:pt x="1847" y="72"/>
                  <a:pt x="1848" y="71"/>
                </a:cubicBezTo>
                <a:cubicBezTo>
                  <a:pt x="1848" y="71"/>
                  <a:pt x="1849" y="70"/>
                  <a:pt x="1849" y="69"/>
                </a:cubicBezTo>
                <a:cubicBezTo>
                  <a:pt x="1849" y="68"/>
                  <a:pt x="1849" y="67"/>
                  <a:pt x="1849" y="66"/>
                </a:cubicBezTo>
                <a:cubicBezTo>
                  <a:pt x="1848" y="64"/>
                  <a:pt x="1848" y="63"/>
                  <a:pt x="1847" y="62"/>
                </a:cubicBezTo>
                <a:cubicBezTo>
                  <a:pt x="1848" y="59"/>
                  <a:pt x="1846" y="58"/>
                  <a:pt x="1844" y="58"/>
                </a:cubicBezTo>
                <a:cubicBezTo>
                  <a:pt x="1840" y="57"/>
                  <a:pt x="1837" y="56"/>
                  <a:pt x="1833" y="55"/>
                </a:cubicBezTo>
                <a:cubicBezTo>
                  <a:pt x="1833" y="55"/>
                  <a:pt x="1832" y="55"/>
                  <a:pt x="1832" y="55"/>
                </a:cubicBezTo>
                <a:cubicBezTo>
                  <a:pt x="1831" y="56"/>
                  <a:pt x="1831" y="56"/>
                  <a:pt x="1830" y="57"/>
                </a:cubicBezTo>
                <a:cubicBezTo>
                  <a:pt x="1830" y="57"/>
                  <a:pt x="1830" y="58"/>
                  <a:pt x="1830" y="58"/>
                </a:cubicBezTo>
                <a:cubicBezTo>
                  <a:pt x="1832" y="61"/>
                  <a:pt x="1833" y="63"/>
                  <a:pt x="1832" y="66"/>
                </a:cubicBezTo>
                <a:cubicBezTo>
                  <a:pt x="1832" y="67"/>
                  <a:pt x="1833" y="68"/>
                  <a:pt x="1833" y="69"/>
                </a:cubicBezTo>
                <a:cubicBezTo>
                  <a:pt x="1833" y="69"/>
                  <a:pt x="1833" y="69"/>
                  <a:pt x="1833" y="69"/>
                </a:cubicBezTo>
                <a:cubicBezTo>
                  <a:pt x="1833" y="69"/>
                  <a:pt x="1833" y="69"/>
                  <a:pt x="1833" y="69"/>
                </a:cubicBezTo>
                <a:cubicBezTo>
                  <a:pt x="1833" y="69"/>
                  <a:pt x="1833" y="69"/>
                  <a:pt x="1833" y="69"/>
                </a:cubicBezTo>
                <a:cubicBezTo>
                  <a:pt x="1833" y="69"/>
                  <a:pt x="1833" y="69"/>
                  <a:pt x="1833" y="69"/>
                </a:cubicBezTo>
                <a:cubicBezTo>
                  <a:pt x="1832" y="68"/>
                  <a:pt x="1832" y="68"/>
                  <a:pt x="1832" y="68"/>
                </a:cubicBezTo>
                <a:cubicBezTo>
                  <a:pt x="1830" y="65"/>
                  <a:pt x="1828" y="62"/>
                  <a:pt x="1828" y="59"/>
                </a:cubicBezTo>
                <a:cubicBezTo>
                  <a:pt x="1828" y="57"/>
                  <a:pt x="1826" y="56"/>
                  <a:pt x="1825" y="56"/>
                </a:cubicBezTo>
                <a:cubicBezTo>
                  <a:pt x="1823" y="55"/>
                  <a:pt x="1821" y="55"/>
                  <a:pt x="1820" y="55"/>
                </a:cubicBezTo>
                <a:cubicBezTo>
                  <a:pt x="1819" y="55"/>
                  <a:pt x="1818" y="55"/>
                  <a:pt x="1818" y="56"/>
                </a:cubicBezTo>
                <a:cubicBezTo>
                  <a:pt x="1818" y="57"/>
                  <a:pt x="1817" y="58"/>
                  <a:pt x="1817" y="59"/>
                </a:cubicBezTo>
                <a:cubicBezTo>
                  <a:pt x="1817" y="60"/>
                  <a:pt x="1817" y="62"/>
                  <a:pt x="1817" y="64"/>
                </a:cubicBezTo>
                <a:cubicBezTo>
                  <a:pt x="1817" y="64"/>
                  <a:pt x="1817" y="64"/>
                  <a:pt x="1817" y="64"/>
                </a:cubicBezTo>
                <a:cubicBezTo>
                  <a:pt x="1817" y="64"/>
                  <a:pt x="1818" y="64"/>
                  <a:pt x="1818" y="65"/>
                </a:cubicBezTo>
                <a:cubicBezTo>
                  <a:pt x="1818" y="64"/>
                  <a:pt x="1817" y="64"/>
                  <a:pt x="1817" y="64"/>
                </a:cubicBezTo>
                <a:cubicBezTo>
                  <a:pt x="1817" y="64"/>
                  <a:pt x="1817" y="64"/>
                  <a:pt x="1817" y="64"/>
                </a:cubicBezTo>
                <a:cubicBezTo>
                  <a:pt x="1815" y="63"/>
                  <a:pt x="1812" y="63"/>
                  <a:pt x="1810" y="60"/>
                </a:cubicBezTo>
                <a:cubicBezTo>
                  <a:pt x="1809" y="59"/>
                  <a:pt x="1806" y="58"/>
                  <a:pt x="1804" y="57"/>
                </a:cubicBezTo>
                <a:cubicBezTo>
                  <a:pt x="1803" y="57"/>
                  <a:pt x="1802" y="58"/>
                  <a:pt x="1801" y="59"/>
                </a:cubicBezTo>
                <a:cubicBezTo>
                  <a:pt x="1801" y="61"/>
                  <a:pt x="1800" y="63"/>
                  <a:pt x="1799" y="66"/>
                </a:cubicBezTo>
                <a:cubicBezTo>
                  <a:pt x="1799" y="66"/>
                  <a:pt x="1799" y="67"/>
                  <a:pt x="1799" y="68"/>
                </a:cubicBezTo>
                <a:cubicBezTo>
                  <a:pt x="1801" y="70"/>
                  <a:pt x="1802" y="73"/>
                  <a:pt x="1803" y="75"/>
                </a:cubicBezTo>
                <a:close/>
                <a:moveTo>
                  <a:pt x="1835" y="71"/>
                </a:moveTo>
                <a:cubicBezTo>
                  <a:pt x="1835" y="71"/>
                  <a:pt x="1835" y="71"/>
                  <a:pt x="1835" y="71"/>
                </a:cubicBezTo>
                <a:cubicBezTo>
                  <a:pt x="1835" y="71"/>
                  <a:pt x="1835" y="71"/>
                  <a:pt x="1835" y="71"/>
                </a:cubicBezTo>
                <a:cubicBezTo>
                  <a:pt x="1835" y="71"/>
                  <a:pt x="1834" y="71"/>
                  <a:pt x="1834" y="70"/>
                </a:cubicBezTo>
                <a:cubicBezTo>
                  <a:pt x="1834" y="70"/>
                  <a:pt x="1835" y="71"/>
                  <a:pt x="1835" y="71"/>
                </a:cubicBezTo>
                <a:close/>
                <a:moveTo>
                  <a:pt x="1819" y="65"/>
                </a:moveTo>
                <a:cubicBezTo>
                  <a:pt x="1819" y="66"/>
                  <a:pt x="1819" y="66"/>
                  <a:pt x="1819" y="66"/>
                </a:cubicBezTo>
                <a:cubicBezTo>
                  <a:pt x="1819" y="65"/>
                  <a:pt x="1819" y="65"/>
                  <a:pt x="1819" y="65"/>
                </a:cubicBezTo>
                <a:cubicBezTo>
                  <a:pt x="1819" y="65"/>
                  <a:pt x="1818" y="65"/>
                  <a:pt x="1818" y="65"/>
                </a:cubicBezTo>
                <a:cubicBezTo>
                  <a:pt x="1818" y="65"/>
                  <a:pt x="1819" y="65"/>
                  <a:pt x="1819" y="65"/>
                </a:cubicBezTo>
                <a:close/>
                <a:moveTo>
                  <a:pt x="594" y="176"/>
                </a:moveTo>
                <a:cubicBezTo>
                  <a:pt x="595" y="175"/>
                  <a:pt x="596" y="174"/>
                  <a:pt x="595" y="173"/>
                </a:cubicBezTo>
                <a:cubicBezTo>
                  <a:pt x="595" y="171"/>
                  <a:pt x="594" y="171"/>
                  <a:pt x="593" y="170"/>
                </a:cubicBezTo>
                <a:cubicBezTo>
                  <a:pt x="591" y="170"/>
                  <a:pt x="589" y="170"/>
                  <a:pt x="587" y="170"/>
                </a:cubicBezTo>
                <a:cubicBezTo>
                  <a:pt x="586" y="170"/>
                  <a:pt x="585" y="169"/>
                  <a:pt x="584" y="169"/>
                </a:cubicBezTo>
                <a:cubicBezTo>
                  <a:pt x="584" y="169"/>
                  <a:pt x="584" y="169"/>
                  <a:pt x="584" y="169"/>
                </a:cubicBezTo>
                <a:cubicBezTo>
                  <a:pt x="584" y="169"/>
                  <a:pt x="584" y="169"/>
                  <a:pt x="583" y="169"/>
                </a:cubicBezTo>
                <a:cubicBezTo>
                  <a:pt x="584" y="169"/>
                  <a:pt x="584" y="169"/>
                  <a:pt x="584" y="169"/>
                </a:cubicBezTo>
                <a:cubicBezTo>
                  <a:pt x="583" y="168"/>
                  <a:pt x="583" y="168"/>
                  <a:pt x="582" y="167"/>
                </a:cubicBezTo>
                <a:cubicBezTo>
                  <a:pt x="581" y="167"/>
                  <a:pt x="580" y="166"/>
                  <a:pt x="580" y="166"/>
                </a:cubicBezTo>
                <a:cubicBezTo>
                  <a:pt x="578" y="166"/>
                  <a:pt x="577" y="167"/>
                  <a:pt x="575" y="167"/>
                </a:cubicBezTo>
                <a:cubicBezTo>
                  <a:pt x="575" y="168"/>
                  <a:pt x="574" y="168"/>
                  <a:pt x="573" y="169"/>
                </a:cubicBezTo>
                <a:cubicBezTo>
                  <a:pt x="573" y="171"/>
                  <a:pt x="571" y="172"/>
                  <a:pt x="569" y="173"/>
                </a:cubicBezTo>
                <a:cubicBezTo>
                  <a:pt x="569" y="174"/>
                  <a:pt x="569" y="175"/>
                  <a:pt x="569" y="175"/>
                </a:cubicBezTo>
                <a:cubicBezTo>
                  <a:pt x="569" y="176"/>
                  <a:pt x="569" y="177"/>
                  <a:pt x="570" y="178"/>
                </a:cubicBezTo>
                <a:cubicBezTo>
                  <a:pt x="572" y="181"/>
                  <a:pt x="571" y="183"/>
                  <a:pt x="569" y="186"/>
                </a:cubicBezTo>
                <a:cubicBezTo>
                  <a:pt x="569" y="187"/>
                  <a:pt x="567" y="187"/>
                  <a:pt x="567" y="186"/>
                </a:cubicBezTo>
                <a:cubicBezTo>
                  <a:pt x="565" y="185"/>
                  <a:pt x="565" y="183"/>
                  <a:pt x="564" y="181"/>
                </a:cubicBezTo>
                <a:cubicBezTo>
                  <a:pt x="564" y="180"/>
                  <a:pt x="563" y="179"/>
                  <a:pt x="561" y="179"/>
                </a:cubicBezTo>
                <a:cubicBezTo>
                  <a:pt x="558" y="179"/>
                  <a:pt x="556" y="181"/>
                  <a:pt x="556" y="185"/>
                </a:cubicBezTo>
                <a:cubicBezTo>
                  <a:pt x="555" y="187"/>
                  <a:pt x="555" y="189"/>
                  <a:pt x="555" y="192"/>
                </a:cubicBezTo>
                <a:cubicBezTo>
                  <a:pt x="555" y="193"/>
                  <a:pt x="555" y="193"/>
                  <a:pt x="556" y="194"/>
                </a:cubicBezTo>
                <a:cubicBezTo>
                  <a:pt x="558" y="194"/>
                  <a:pt x="560" y="196"/>
                  <a:pt x="560" y="198"/>
                </a:cubicBezTo>
                <a:cubicBezTo>
                  <a:pt x="561" y="202"/>
                  <a:pt x="563" y="205"/>
                  <a:pt x="563" y="209"/>
                </a:cubicBezTo>
                <a:cubicBezTo>
                  <a:pt x="563" y="211"/>
                  <a:pt x="564" y="213"/>
                  <a:pt x="565" y="215"/>
                </a:cubicBezTo>
                <a:cubicBezTo>
                  <a:pt x="566" y="215"/>
                  <a:pt x="567" y="216"/>
                  <a:pt x="568" y="215"/>
                </a:cubicBezTo>
                <a:cubicBezTo>
                  <a:pt x="570" y="214"/>
                  <a:pt x="571" y="212"/>
                  <a:pt x="572" y="212"/>
                </a:cubicBezTo>
                <a:cubicBezTo>
                  <a:pt x="574" y="211"/>
                  <a:pt x="576" y="210"/>
                  <a:pt x="577" y="210"/>
                </a:cubicBezTo>
                <a:cubicBezTo>
                  <a:pt x="579" y="209"/>
                  <a:pt x="580" y="208"/>
                  <a:pt x="582" y="207"/>
                </a:cubicBezTo>
                <a:cubicBezTo>
                  <a:pt x="583" y="207"/>
                  <a:pt x="583" y="206"/>
                  <a:pt x="583" y="206"/>
                </a:cubicBezTo>
                <a:cubicBezTo>
                  <a:pt x="584" y="203"/>
                  <a:pt x="586" y="200"/>
                  <a:pt x="588" y="198"/>
                </a:cubicBezTo>
                <a:cubicBezTo>
                  <a:pt x="589" y="197"/>
                  <a:pt x="590" y="195"/>
                  <a:pt x="589" y="192"/>
                </a:cubicBezTo>
                <a:cubicBezTo>
                  <a:pt x="589" y="191"/>
                  <a:pt x="588" y="190"/>
                  <a:pt x="588" y="188"/>
                </a:cubicBezTo>
                <a:cubicBezTo>
                  <a:pt x="587" y="186"/>
                  <a:pt x="586" y="185"/>
                  <a:pt x="584" y="184"/>
                </a:cubicBezTo>
                <a:cubicBezTo>
                  <a:pt x="584" y="184"/>
                  <a:pt x="584" y="184"/>
                  <a:pt x="585" y="183"/>
                </a:cubicBezTo>
                <a:cubicBezTo>
                  <a:pt x="586" y="183"/>
                  <a:pt x="588" y="182"/>
                  <a:pt x="589" y="181"/>
                </a:cubicBezTo>
                <a:cubicBezTo>
                  <a:pt x="591" y="181"/>
                  <a:pt x="592" y="180"/>
                  <a:pt x="592" y="179"/>
                </a:cubicBezTo>
                <a:cubicBezTo>
                  <a:pt x="592" y="177"/>
                  <a:pt x="593" y="177"/>
                  <a:pt x="594" y="176"/>
                </a:cubicBezTo>
                <a:close/>
                <a:moveTo>
                  <a:pt x="1987" y="919"/>
                </a:moveTo>
                <a:cubicBezTo>
                  <a:pt x="1994" y="919"/>
                  <a:pt x="2000" y="919"/>
                  <a:pt x="2006" y="919"/>
                </a:cubicBezTo>
                <a:cubicBezTo>
                  <a:pt x="2012" y="920"/>
                  <a:pt x="2017" y="918"/>
                  <a:pt x="2020" y="912"/>
                </a:cubicBezTo>
                <a:cubicBezTo>
                  <a:pt x="2021" y="912"/>
                  <a:pt x="2020" y="911"/>
                  <a:pt x="2020" y="910"/>
                </a:cubicBezTo>
                <a:cubicBezTo>
                  <a:pt x="2019" y="909"/>
                  <a:pt x="2018" y="909"/>
                  <a:pt x="2017" y="910"/>
                </a:cubicBezTo>
                <a:cubicBezTo>
                  <a:pt x="2016" y="910"/>
                  <a:pt x="2015" y="912"/>
                  <a:pt x="2014" y="912"/>
                </a:cubicBezTo>
                <a:cubicBezTo>
                  <a:pt x="2012" y="914"/>
                  <a:pt x="2010" y="915"/>
                  <a:pt x="2008" y="914"/>
                </a:cubicBezTo>
                <a:cubicBezTo>
                  <a:pt x="2004" y="914"/>
                  <a:pt x="2001" y="914"/>
                  <a:pt x="1997" y="913"/>
                </a:cubicBezTo>
                <a:cubicBezTo>
                  <a:pt x="1995" y="913"/>
                  <a:pt x="1993" y="912"/>
                  <a:pt x="1990" y="912"/>
                </a:cubicBezTo>
                <a:cubicBezTo>
                  <a:pt x="1988" y="912"/>
                  <a:pt x="1986" y="915"/>
                  <a:pt x="1984" y="915"/>
                </a:cubicBezTo>
                <a:cubicBezTo>
                  <a:pt x="1983" y="915"/>
                  <a:pt x="1983" y="916"/>
                  <a:pt x="1983" y="916"/>
                </a:cubicBezTo>
                <a:cubicBezTo>
                  <a:pt x="1981" y="917"/>
                  <a:pt x="1980" y="918"/>
                  <a:pt x="1980" y="920"/>
                </a:cubicBezTo>
                <a:cubicBezTo>
                  <a:pt x="1980" y="921"/>
                  <a:pt x="1980" y="922"/>
                  <a:pt x="1980" y="923"/>
                </a:cubicBezTo>
                <a:cubicBezTo>
                  <a:pt x="1979" y="925"/>
                  <a:pt x="1979" y="926"/>
                  <a:pt x="1978" y="927"/>
                </a:cubicBezTo>
                <a:cubicBezTo>
                  <a:pt x="1977" y="928"/>
                  <a:pt x="1976" y="931"/>
                  <a:pt x="1976" y="933"/>
                </a:cubicBezTo>
                <a:cubicBezTo>
                  <a:pt x="1976" y="935"/>
                  <a:pt x="1975" y="937"/>
                  <a:pt x="1975" y="939"/>
                </a:cubicBezTo>
                <a:cubicBezTo>
                  <a:pt x="1974" y="940"/>
                  <a:pt x="1973" y="942"/>
                  <a:pt x="1973" y="943"/>
                </a:cubicBezTo>
                <a:cubicBezTo>
                  <a:pt x="1972" y="945"/>
                  <a:pt x="1973" y="946"/>
                  <a:pt x="1974" y="948"/>
                </a:cubicBezTo>
                <a:cubicBezTo>
                  <a:pt x="1975" y="948"/>
                  <a:pt x="1976" y="949"/>
                  <a:pt x="1976" y="949"/>
                </a:cubicBezTo>
                <a:cubicBezTo>
                  <a:pt x="1978" y="951"/>
                  <a:pt x="1978" y="952"/>
                  <a:pt x="1978" y="954"/>
                </a:cubicBezTo>
                <a:cubicBezTo>
                  <a:pt x="1977" y="956"/>
                  <a:pt x="1976" y="958"/>
                  <a:pt x="1977" y="960"/>
                </a:cubicBezTo>
                <a:cubicBezTo>
                  <a:pt x="1977" y="961"/>
                  <a:pt x="1977" y="962"/>
                  <a:pt x="1978" y="962"/>
                </a:cubicBezTo>
                <a:cubicBezTo>
                  <a:pt x="1979" y="964"/>
                  <a:pt x="1982" y="963"/>
                  <a:pt x="1983" y="963"/>
                </a:cubicBezTo>
                <a:cubicBezTo>
                  <a:pt x="1985" y="962"/>
                  <a:pt x="1984" y="961"/>
                  <a:pt x="1984" y="960"/>
                </a:cubicBezTo>
                <a:cubicBezTo>
                  <a:pt x="1984" y="954"/>
                  <a:pt x="1986" y="949"/>
                  <a:pt x="1986" y="944"/>
                </a:cubicBezTo>
                <a:cubicBezTo>
                  <a:pt x="1986" y="944"/>
                  <a:pt x="1987" y="943"/>
                  <a:pt x="1987" y="943"/>
                </a:cubicBezTo>
                <a:cubicBezTo>
                  <a:pt x="1988" y="943"/>
                  <a:pt x="1988" y="944"/>
                  <a:pt x="1988" y="944"/>
                </a:cubicBezTo>
                <a:cubicBezTo>
                  <a:pt x="1988" y="947"/>
                  <a:pt x="1988" y="950"/>
                  <a:pt x="1991" y="952"/>
                </a:cubicBezTo>
                <a:cubicBezTo>
                  <a:pt x="1992" y="953"/>
                  <a:pt x="1992" y="954"/>
                  <a:pt x="1992" y="955"/>
                </a:cubicBezTo>
                <a:cubicBezTo>
                  <a:pt x="1993" y="957"/>
                  <a:pt x="1993" y="958"/>
                  <a:pt x="1996" y="958"/>
                </a:cubicBezTo>
                <a:cubicBezTo>
                  <a:pt x="1997" y="958"/>
                  <a:pt x="1997" y="958"/>
                  <a:pt x="1998" y="958"/>
                </a:cubicBezTo>
                <a:cubicBezTo>
                  <a:pt x="1998" y="958"/>
                  <a:pt x="1998" y="957"/>
                  <a:pt x="1998" y="957"/>
                </a:cubicBezTo>
                <a:cubicBezTo>
                  <a:pt x="1998" y="957"/>
                  <a:pt x="1998" y="957"/>
                  <a:pt x="1998" y="957"/>
                </a:cubicBezTo>
                <a:cubicBezTo>
                  <a:pt x="1998" y="957"/>
                  <a:pt x="1998" y="957"/>
                  <a:pt x="1998" y="958"/>
                </a:cubicBezTo>
                <a:cubicBezTo>
                  <a:pt x="1998" y="958"/>
                  <a:pt x="1998" y="958"/>
                  <a:pt x="1998" y="958"/>
                </a:cubicBezTo>
                <a:cubicBezTo>
                  <a:pt x="1998" y="959"/>
                  <a:pt x="1998" y="961"/>
                  <a:pt x="2000" y="961"/>
                </a:cubicBezTo>
                <a:cubicBezTo>
                  <a:pt x="2000" y="962"/>
                  <a:pt x="2001" y="962"/>
                  <a:pt x="2001" y="962"/>
                </a:cubicBezTo>
                <a:cubicBezTo>
                  <a:pt x="2002" y="963"/>
                  <a:pt x="2004" y="962"/>
                  <a:pt x="2004" y="961"/>
                </a:cubicBezTo>
                <a:cubicBezTo>
                  <a:pt x="2005" y="958"/>
                  <a:pt x="2005" y="956"/>
                  <a:pt x="2005" y="954"/>
                </a:cubicBezTo>
                <a:cubicBezTo>
                  <a:pt x="2005" y="952"/>
                  <a:pt x="2004" y="951"/>
                  <a:pt x="2003" y="951"/>
                </a:cubicBezTo>
                <a:cubicBezTo>
                  <a:pt x="2002" y="951"/>
                  <a:pt x="2001" y="950"/>
                  <a:pt x="2001" y="950"/>
                </a:cubicBezTo>
                <a:cubicBezTo>
                  <a:pt x="2000" y="949"/>
                  <a:pt x="1999" y="948"/>
                  <a:pt x="1999" y="947"/>
                </a:cubicBezTo>
                <a:cubicBezTo>
                  <a:pt x="2000" y="945"/>
                  <a:pt x="1999" y="944"/>
                  <a:pt x="1998" y="943"/>
                </a:cubicBezTo>
                <a:cubicBezTo>
                  <a:pt x="1997" y="941"/>
                  <a:pt x="1996" y="940"/>
                  <a:pt x="1995" y="938"/>
                </a:cubicBezTo>
                <a:cubicBezTo>
                  <a:pt x="1995" y="938"/>
                  <a:pt x="1995" y="936"/>
                  <a:pt x="1996" y="936"/>
                </a:cubicBezTo>
                <a:cubicBezTo>
                  <a:pt x="1997" y="935"/>
                  <a:pt x="1999" y="934"/>
                  <a:pt x="2000" y="933"/>
                </a:cubicBezTo>
                <a:cubicBezTo>
                  <a:pt x="2001" y="932"/>
                  <a:pt x="2002" y="933"/>
                  <a:pt x="2003" y="933"/>
                </a:cubicBezTo>
                <a:cubicBezTo>
                  <a:pt x="2004" y="933"/>
                  <a:pt x="2005" y="933"/>
                  <a:pt x="2006" y="933"/>
                </a:cubicBezTo>
                <a:cubicBezTo>
                  <a:pt x="2007" y="933"/>
                  <a:pt x="2007" y="933"/>
                  <a:pt x="2007" y="932"/>
                </a:cubicBezTo>
                <a:cubicBezTo>
                  <a:pt x="2008" y="931"/>
                  <a:pt x="2008" y="929"/>
                  <a:pt x="2008" y="927"/>
                </a:cubicBezTo>
                <a:cubicBezTo>
                  <a:pt x="2008" y="927"/>
                  <a:pt x="2007" y="926"/>
                  <a:pt x="2007" y="926"/>
                </a:cubicBezTo>
                <a:cubicBezTo>
                  <a:pt x="2006" y="926"/>
                  <a:pt x="2004" y="925"/>
                  <a:pt x="2003" y="926"/>
                </a:cubicBezTo>
                <a:cubicBezTo>
                  <a:pt x="2001" y="926"/>
                  <a:pt x="1999" y="927"/>
                  <a:pt x="1996" y="927"/>
                </a:cubicBezTo>
                <a:cubicBezTo>
                  <a:pt x="1994" y="927"/>
                  <a:pt x="1991" y="928"/>
                  <a:pt x="1990" y="930"/>
                </a:cubicBezTo>
                <a:cubicBezTo>
                  <a:pt x="1989" y="931"/>
                  <a:pt x="1988" y="931"/>
                  <a:pt x="1988" y="930"/>
                </a:cubicBezTo>
                <a:cubicBezTo>
                  <a:pt x="1985" y="929"/>
                  <a:pt x="1984" y="927"/>
                  <a:pt x="1983" y="925"/>
                </a:cubicBezTo>
                <a:cubicBezTo>
                  <a:pt x="1982" y="922"/>
                  <a:pt x="1985" y="919"/>
                  <a:pt x="1987" y="919"/>
                </a:cubicBezTo>
                <a:close/>
                <a:moveTo>
                  <a:pt x="1999" y="956"/>
                </a:moveTo>
                <a:cubicBezTo>
                  <a:pt x="2000" y="956"/>
                  <a:pt x="2000" y="956"/>
                  <a:pt x="2000" y="956"/>
                </a:cubicBezTo>
                <a:cubicBezTo>
                  <a:pt x="2000" y="955"/>
                  <a:pt x="2001" y="955"/>
                  <a:pt x="2001" y="955"/>
                </a:cubicBezTo>
                <a:cubicBezTo>
                  <a:pt x="2002" y="955"/>
                  <a:pt x="2002" y="955"/>
                  <a:pt x="2002" y="956"/>
                </a:cubicBezTo>
                <a:cubicBezTo>
                  <a:pt x="2002" y="956"/>
                  <a:pt x="2002" y="956"/>
                  <a:pt x="2002" y="956"/>
                </a:cubicBezTo>
                <a:cubicBezTo>
                  <a:pt x="2001" y="956"/>
                  <a:pt x="2000" y="956"/>
                  <a:pt x="2000" y="956"/>
                </a:cubicBezTo>
                <a:cubicBezTo>
                  <a:pt x="2000" y="956"/>
                  <a:pt x="2000" y="956"/>
                  <a:pt x="2000" y="956"/>
                </a:cubicBezTo>
                <a:cubicBezTo>
                  <a:pt x="1999" y="956"/>
                  <a:pt x="1999" y="956"/>
                  <a:pt x="1999" y="956"/>
                </a:cubicBezTo>
                <a:cubicBezTo>
                  <a:pt x="1999" y="956"/>
                  <a:pt x="1999" y="956"/>
                  <a:pt x="1999" y="956"/>
                </a:cubicBezTo>
                <a:close/>
                <a:moveTo>
                  <a:pt x="761" y="535"/>
                </a:moveTo>
                <a:cubicBezTo>
                  <a:pt x="761" y="535"/>
                  <a:pt x="761" y="535"/>
                  <a:pt x="761" y="535"/>
                </a:cubicBezTo>
                <a:cubicBezTo>
                  <a:pt x="761" y="535"/>
                  <a:pt x="761" y="535"/>
                  <a:pt x="761" y="535"/>
                </a:cubicBezTo>
                <a:cubicBezTo>
                  <a:pt x="761" y="535"/>
                  <a:pt x="761" y="535"/>
                  <a:pt x="761" y="535"/>
                </a:cubicBezTo>
                <a:close/>
                <a:moveTo>
                  <a:pt x="758" y="522"/>
                </a:moveTo>
                <a:cubicBezTo>
                  <a:pt x="758" y="521"/>
                  <a:pt x="758" y="520"/>
                  <a:pt x="758" y="520"/>
                </a:cubicBezTo>
                <a:cubicBezTo>
                  <a:pt x="757" y="519"/>
                  <a:pt x="757" y="518"/>
                  <a:pt x="756" y="518"/>
                </a:cubicBezTo>
                <a:cubicBezTo>
                  <a:pt x="755" y="517"/>
                  <a:pt x="755" y="517"/>
                  <a:pt x="754" y="517"/>
                </a:cubicBezTo>
                <a:cubicBezTo>
                  <a:pt x="753" y="518"/>
                  <a:pt x="752" y="518"/>
                  <a:pt x="751" y="518"/>
                </a:cubicBezTo>
                <a:cubicBezTo>
                  <a:pt x="750" y="519"/>
                  <a:pt x="748" y="519"/>
                  <a:pt x="746" y="519"/>
                </a:cubicBezTo>
                <a:cubicBezTo>
                  <a:pt x="744" y="518"/>
                  <a:pt x="744" y="518"/>
                  <a:pt x="744" y="516"/>
                </a:cubicBezTo>
                <a:cubicBezTo>
                  <a:pt x="744" y="516"/>
                  <a:pt x="744" y="515"/>
                  <a:pt x="744" y="515"/>
                </a:cubicBezTo>
                <a:cubicBezTo>
                  <a:pt x="744" y="514"/>
                  <a:pt x="744" y="512"/>
                  <a:pt x="742" y="512"/>
                </a:cubicBezTo>
                <a:cubicBezTo>
                  <a:pt x="741" y="512"/>
                  <a:pt x="741" y="512"/>
                  <a:pt x="740" y="512"/>
                </a:cubicBezTo>
                <a:cubicBezTo>
                  <a:pt x="740" y="512"/>
                  <a:pt x="740" y="512"/>
                  <a:pt x="740" y="512"/>
                </a:cubicBezTo>
                <a:cubicBezTo>
                  <a:pt x="739" y="513"/>
                  <a:pt x="739" y="513"/>
                  <a:pt x="739" y="513"/>
                </a:cubicBezTo>
                <a:cubicBezTo>
                  <a:pt x="740" y="512"/>
                  <a:pt x="740" y="512"/>
                  <a:pt x="740" y="512"/>
                </a:cubicBezTo>
                <a:cubicBezTo>
                  <a:pt x="740" y="512"/>
                  <a:pt x="740" y="512"/>
                  <a:pt x="740" y="512"/>
                </a:cubicBezTo>
                <a:cubicBezTo>
                  <a:pt x="741" y="510"/>
                  <a:pt x="742" y="508"/>
                  <a:pt x="744" y="506"/>
                </a:cubicBezTo>
                <a:cubicBezTo>
                  <a:pt x="746" y="504"/>
                  <a:pt x="747" y="502"/>
                  <a:pt x="748" y="500"/>
                </a:cubicBezTo>
                <a:cubicBezTo>
                  <a:pt x="748" y="500"/>
                  <a:pt x="748" y="499"/>
                  <a:pt x="748" y="499"/>
                </a:cubicBezTo>
                <a:cubicBezTo>
                  <a:pt x="748" y="498"/>
                  <a:pt x="747" y="498"/>
                  <a:pt x="746" y="498"/>
                </a:cubicBezTo>
                <a:cubicBezTo>
                  <a:pt x="743" y="499"/>
                  <a:pt x="741" y="500"/>
                  <a:pt x="739" y="502"/>
                </a:cubicBezTo>
                <a:cubicBezTo>
                  <a:pt x="734" y="507"/>
                  <a:pt x="731" y="513"/>
                  <a:pt x="728" y="518"/>
                </a:cubicBezTo>
                <a:cubicBezTo>
                  <a:pt x="726" y="521"/>
                  <a:pt x="724" y="523"/>
                  <a:pt x="721" y="525"/>
                </a:cubicBezTo>
                <a:cubicBezTo>
                  <a:pt x="720" y="525"/>
                  <a:pt x="720" y="526"/>
                  <a:pt x="721" y="527"/>
                </a:cubicBezTo>
                <a:cubicBezTo>
                  <a:pt x="722" y="528"/>
                  <a:pt x="721" y="529"/>
                  <a:pt x="720" y="530"/>
                </a:cubicBezTo>
                <a:cubicBezTo>
                  <a:pt x="719" y="531"/>
                  <a:pt x="718" y="532"/>
                  <a:pt x="718" y="533"/>
                </a:cubicBezTo>
                <a:cubicBezTo>
                  <a:pt x="717" y="533"/>
                  <a:pt x="718" y="535"/>
                  <a:pt x="718" y="535"/>
                </a:cubicBezTo>
                <a:cubicBezTo>
                  <a:pt x="719" y="535"/>
                  <a:pt x="720" y="536"/>
                  <a:pt x="721" y="536"/>
                </a:cubicBezTo>
                <a:cubicBezTo>
                  <a:pt x="724" y="535"/>
                  <a:pt x="727" y="535"/>
                  <a:pt x="729" y="536"/>
                </a:cubicBezTo>
                <a:cubicBezTo>
                  <a:pt x="732" y="537"/>
                  <a:pt x="734" y="537"/>
                  <a:pt x="736" y="536"/>
                </a:cubicBezTo>
                <a:cubicBezTo>
                  <a:pt x="739" y="535"/>
                  <a:pt x="741" y="537"/>
                  <a:pt x="743" y="538"/>
                </a:cubicBezTo>
                <a:cubicBezTo>
                  <a:pt x="743" y="538"/>
                  <a:pt x="743" y="538"/>
                  <a:pt x="743" y="539"/>
                </a:cubicBezTo>
                <a:cubicBezTo>
                  <a:pt x="742" y="539"/>
                  <a:pt x="741" y="540"/>
                  <a:pt x="740" y="541"/>
                </a:cubicBezTo>
                <a:cubicBezTo>
                  <a:pt x="740" y="541"/>
                  <a:pt x="740" y="542"/>
                  <a:pt x="740" y="543"/>
                </a:cubicBezTo>
                <a:cubicBezTo>
                  <a:pt x="741" y="543"/>
                  <a:pt x="741" y="543"/>
                  <a:pt x="742" y="543"/>
                </a:cubicBezTo>
                <a:cubicBezTo>
                  <a:pt x="743" y="543"/>
                  <a:pt x="744" y="543"/>
                  <a:pt x="745" y="542"/>
                </a:cubicBezTo>
                <a:cubicBezTo>
                  <a:pt x="746" y="539"/>
                  <a:pt x="749" y="539"/>
                  <a:pt x="751" y="537"/>
                </a:cubicBezTo>
                <a:cubicBezTo>
                  <a:pt x="751" y="537"/>
                  <a:pt x="752" y="537"/>
                  <a:pt x="752" y="538"/>
                </a:cubicBezTo>
                <a:cubicBezTo>
                  <a:pt x="751" y="539"/>
                  <a:pt x="751" y="540"/>
                  <a:pt x="751" y="542"/>
                </a:cubicBezTo>
                <a:cubicBezTo>
                  <a:pt x="751" y="542"/>
                  <a:pt x="751" y="543"/>
                  <a:pt x="751" y="543"/>
                </a:cubicBezTo>
                <a:cubicBezTo>
                  <a:pt x="753" y="544"/>
                  <a:pt x="755" y="546"/>
                  <a:pt x="757" y="546"/>
                </a:cubicBezTo>
                <a:cubicBezTo>
                  <a:pt x="758" y="546"/>
                  <a:pt x="759" y="545"/>
                  <a:pt x="760" y="545"/>
                </a:cubicBezTo>
                <a:cubicBezTo>
                  <a:pt x="760" y="543"/>
                  <a:pt x="761" y="541"/>
                  <a:pt x="762" y="539"/>
                </a:cubicBezTo>
                <a:cubicBezTo>
                  <a:pt x="762" y="537"/>
                  <a:pt x="762" y="536"/>
                  <a:pt x="761" y="535"/>
                </a:cubicBezTo>
                <a:cubicBezTo>
                  <a:pt x="761" y="535"/>
                  <a:pt x="761" y="535"/>
                  <a:pt x="760" y="535"/>
                </a:cubicBezTo>
                <a:cubicBezTo>
                  <a:pt x="760" y="535"/>
                  <a:pt x="760" y="536"/>
                  <a:pt x="760" y="536"/>
                </a:cubicBezTo>
                <a:cubicBezTo>
                  <a:pt x="760" y="536"/>
                  <a:pt x="760" y="535"/>
                  <a:pt x="760" y="535"/>
                </a:cubicBezTo>
                <a:cubicBezTo>
                  <a:pt x="760" y="535"/>
                  <a:pt x="760" y="535"/>
                  <a:pt x="760" y="535"/>
                </a:cubicBezTo>
                <a:cubicBezTo>
                  <a:pt x="760" y="535"/>
                  <a:pt x="761" y="535"/>
                  <a:pt x="761" y="535"/>
                </a:cubicBezTo>
                <a:cubicBezTo>
                  <a:pt x="760" y="534"/>
                  <a:pt x="758" y="534"/>
                  <a:pt x="757" y="534"/>
                </a:cubicBezTo>
                <a:cubicBezTo>
                  <a:pt x="756" y="534"/>
                  <a:pt x="756" y="533"/>
                  <a:pt x="756" y="533"/>
                </a:cubicBezTo>
                <a:cubicBezTo>
                  <a:pt x="757" y="532"/>
                  <a:pt x="757" y="531"/>
                  <a:pt x="757" y="531"/>
                </a:cubicBezTo>
                <a:cubicBezTo>
                  <a:pt x="758" y="530"/>
                  <a:pt x="759" y="529"/>
                  <a:pt x="760" y="528"/>
                </a:cubicBezTo>
                <a:cubicBezTo>
                  <a:pt x="760" y="528"/>
                  <a:pt x="760" y="528"/>
                  <a:pt x="760" y="527"/>
                </a:cubicBezTo>
                <a:cubicBezTo>
                  <a:pt x="760" y="527"/>
                  <a:pt x="759" y="527"/>
                  <a:pt x="759" y="527"/>
                </a:cubicBezTo>
                <a:cubicBezTo>
                  <a:pt x="758" y="527"/>
                  <a:pt x="757" y="527"/>
                  <a:pt x="756" y="526"/>
                </a:cubicBezTo>
                <a:cubicBezTo>
                  <a:pt x="756" y="526"/>
                  <a:pt x="756" y="525"/>
                  <a:pt x="757" y="524"/>
                </a:cubicBezTo>
                <a:cubicBezTo>
                  <a:pt x="757" y="523"/>
                  <a:pt x="758" y="523"/>
                  <a:pt x="758" y="522"/>
                </a:cubicBezTo>
                <a:close/>
                <a:moveTo>
                  <a:pt x="489" y="93"/>
                </a:moveTo>
                <a:cubicBezTo>
                  <a:pt x="492" y="94"/>
                  <a:pt x="494" y="95"/>
                  <a:pt x="495" y="95"/>
                </a:cubicBezTo>
                <a:cubicBezTo>
                  <a:pt x="497" y="96"/>
                  <a:pt x="497" y="97"/>
                  <a:pt x="498" y="98"/>
                </a:cubicBezTo>
                <a:cubicBezTo>
                  <a:pt x="499" y="99"/>
                  <a:pt x="501" y="99"/>
                  <a:pt x="502" y="99"/>
                </a:cubicBezTo>
                <a:cubicBezTo>
                  <a:pt x="504" y="98"/>
                  <a:pt x="505" y="96"/>
                  <a:pt x="507" y="95"/>
                </a:cubicBezTo>
                <a:cubicBezTo>
                  <a:pt x="507" y="95"/>
                  <a:pt x="508" y="95"/>
                  <a:pt x="508" y="95"/>
                </a:cubicBezTo>
                <a:cubicBezTo>
                  <a:pt x="509" y="96"/>
                  <a:pt x="510" y="96"/>
                  <a:pt x="510" y="95"/>
                </a:cubicBezTo>
                <a:cubicBezTo>
                  <a:pt x="512" y="93"/>
                  <a:pt x="513" y="91"/>
                  <a:pt x="514" y="89"/>
                </a:cubicBezTo>
                <a:cubicBezTo>
                  <a:pt x="516" y="88"/>
                  <a:pt x="518" y="86"/>
                  <a:pt x="519" y="84"/>
                </a:cubicBezTo>
                <a:cubicBezTo>
                  <a:pt x="520" y="84"/>
                  <a:pt x="520" y="84"/>
                  <a:pt x="521" y="84"/>
                </a:cubicBezTo>
                <a:cubicBezTo>
                  <a:pt x="521" y="84"/>
                  <a:pt x="521" y="85"/>
                  <a:pt x="521" y="86"/>
                </a:cubicBezTo>
                <a:cubicBezTo>
                  <a:pt x="520" y="88"/>
                  <a:pt x="518" y="90"/>
                  <a:pt x="517" y="92"/>
                </a:cubicBezTo>
                <a:cubicBezTo>
                  <a:pt x="516" y="93"/>
                  <a:pt x="517" y="94"/>
                  <a:pt x="517" y="96"/>
                </a:cubicBezTo>
                <a:cubicBezTo>
                  <a:pt x="517" y="97"/>
                  <a:pt x="519" y="97"/>
                  <a:pt x="520" y="97"/>
                </a:cubicBezTo>
                <a:cubicBezTo>
                  <a:pt x="521" y="96"/>
                  <a:pt x="522" y="96"/>
                  <a:pt x="522" y="95"/>
                </a:cubicBezTo>
                <a:cubicBezTo>
                  <a:pt x="523" y="93"/>
                  <a:pt x="525" y="92"/>
                  <a:pt x="527" y="92"/>
                </a:cubicBezTo>
                <a:cubicBezTo>
                  <a:pt x="528" y="92"/>
                  <a:pt x="528" y="91"/>
                  <a:pt x="529" y="91"/>
                </a:cubicBezTo>
                <a:cubicBezTo>
                  <a:pt x="530" y="90"/>
                  <a:pt x="531" y="90"/>
                  <a:pt x="531" y="89"/>
                </a:cubicBezTo>
                <a:cubicBezTo>
                  <a:pt x="533" y="86"/>
                  <a:pt x="536" y="85"/>
                  <a:pt x="537" y="81"/>
                </a:cubicBezTo>
                <a:cubicBezTo>
                  <a:pt x="537" y="80"/>
                  <a:pt x="538" y="79"/>
                  <a:pt x="539" y="79"/>
                </a:cubicBezTo>
                <a:cubicBezTo>
                  <a:pt x="539" y="79"/>
                  <a:pt x="540" y="78"/>
                  <a:pt x="541" y="78"/>
                </a:cubicBezTo>
                <a:cubicBezTo>
                  <a:pt x="542" y="77"/>
                  <a:pt x="542" y="77"/>
                  <a:pt x="542" y="76"/>
                </a:cubicBezTo>
                <a:cubicBezTo>
                  <a:pt x="542" y="75"/>
                  <a:pt x="542" y="73"/>
                  <a:pt x="542" y="72"/>
                </a:cubicBezTo>
                <a:cubicBezTo>
                  <a:pt x="542" y="71"/>
                  <a:pt x="541" y="69"/>
                  <a:pt x="541" y="70"/>
                </a:cubicBezTo>
                <a:cubicBezTo>
                  <a:pt x="540" y="70"/>
                  <a:pt x="539" y="70"/>
                  <a:pt x="538" y="71"/>
                </a:cubicBezTo>
                <a:cubicBezTo>
                  <a:pt x="537" y="72"/>
                  <a:pt x="536" y="73"/>
                  <a:pt x="535" y="72"/>
                </a:cubicBezTo>
                <a:cubicBezTo>
                  <a:pt x="533" y="70"/>
                  <a:pt x="530" y="70"/>
                  <a:pt x="528" y="69"/>
                </a:cubicBezTo>
                <a:cubicBezTo>
                  <a:pt x="526" y="69"/>
                  <a:pt x="525" y="70"/>
                  <a:pt x="523" y="71"/>
                </a:cubicBezTo>
                <a:cubicBezTo>
                  <a:pt x="517" y="75"/>
                  <a:pt x="511" y="79"/>
                  <a:pt x="504" y="81"/>
                </a:cubicBezTo>
                <a:cubicBezTo>
                  <a:pt x="502" y="81"/>
                  <a:pt x="501" y="82"/>
                  <a:pt x="499" y="83"/>
                </a:cubicBezTo>
                <a:cubicBezTo>
                  <a:pt x="496" y="83"/>
                  <a:pt x="494" y="84"/>
                  <a:pt x="491" y="86"/>
                </a:cubicBezTo>
                <a:cubicBezTo>
                  <a:pt x="489" y="87"/>
                  <a:pt x="488" y="90"/>
                  <a:pt x="488" y="92"/>
                </a:cubicBezTo>
                <a:cubicBezTo>
                  <a:pt x="488" y="92"/>
                  <a:pt x="489" y="93"/>
                  <a:pt x="489" y="93"/>
                </a:cubicBezTo>
                <a:close/>
                <a:moveTo>
                  <a:pt x="1191" y="122"/>
                </a:moveTo>
                <a:cubicBezTo>
                  <a:pt x="1192" y="126"/>
                  <a:pt x="1194" y="127"/>
                  <a:pt x="1198" y="127"/>
                </a:cubicBezTo>
                <a:cubicBezTo>
                  <a:pt x="1199" y="127"/>
                  <a:pt x="1200" y="127"/>
                  <a:pt x="1202" y="127"/>
                </a:cubicBezTo>
                <a:cubicBezTo>
                  <a:pt x="1202" y="127"/>
                  <a:pt x="1202" y="127"/>
                  <a:pt x="1202" y="127"/>
                </a:cubicBezTo>
                <a:cubicBezTo>
                  <a:pt x="1202" y="127"/>
                  <a:pt x="1202" y="127"/>
                  <a:pt x="1203" y="127"/>
                </a:cubicBezTo>
                <a:cubicBezTo>
                  <a:pt x="1203" y="126"/>
                  <a:pt x="1204" y="126"/>
                  <a:pt x="1204" y="126"/>
                </a:cubicBezTo>
                <a:cubicBezTo>
                  <a:pt x="1205" y="126"/>
                  <a:pt x="1205" y="126"/>
                  <a:pt x="1205" y="126"/>
                </a:cubicBezTo>
                <a:cubicBezTo>
                  <a:pt x="1205" y="126"/>
                  <a:pt x="1205" y="127"/>
                  <a:pt x="1204" y="127"/>
                </a:cubicBezTo>
                <a:cubicBezTo>
                  <a:pt x="1204" y="127"/>
                  <a:pt x="1203" y="127"/>
                  <a:pt x="1203" y="127"/>
                </a:cubicBezTo>
                <a:cubicBezTo>
                  <a:pt x="1202" y="127"/>
                  <a:pt x="1202" y="127"/>
                  <a:pt x="1202" y="127"/>
                </a:cubicBezTo>
                <a:cubicBezTo>
                  <a:pt x="1202" y="127"/>
                  <a:pt x="1202" y="127"/>
                  <a:pt x="1202" y="127"/>
                </a:cubicBezTo>
                <a:cubicBezTo>
                  <a:pt x="1201" y="127"/>
                  <a:pt x="1201" y="128"/>
                  <a:pt x="1200" y="128"/>
                </a:cubicBezTo>
                <a:cubicBezTo>
                  <a:pt x="1199" y="129"/>
                  <a:pt x="1199" y="131"/>
                  <a:pt x="1200" y="131"/>
                </a:cubicBezTo>
                <a:cubicBezTo>
                  <a:pt x="1202" y="132"/>
                  <a:pt x="1203" y="133"/>
                  <a:pt x="1205" y="134"/>
                </a:cubicBezTo>
                <a:cubicBezTo>
                  <a:pt x="1206" y="135"/>
                  <a:pt x="1208" y="135"/>
                  <a:pt x="1209" y="135"/>
                </a:cubicBezTo>
                <a:cubicBezTo>
                  <a:pt x="1212" y="134"/>
                  <a:pt x="1213" y="134"/>
                  <a:pt x="1215" y="136"/>
                </a:cubicBezTo>
                <a:cubicBezTo>
                  <a:pt x="1217" y="138"/>
                  <a:pt x="1218" y="138"/>
                  <a:pt x="1221" y="136"/>
                </a:cubicBezTo>
                <a:cubicBezTo>
                  <a:pt x="1222" y="135"/>
                  <a:pt x="1222" y="134"/>
                  <a:pt x="1224" y="134"/>
                </a:cubicBezTo>
                <a:cubicBezTo>
                  <a:pt x="1227" y="134"/>
                  <a:pt x="1228" y="133"/>
                  <a:pt x="1229" y="130"/>
                </a:cubicBezTo>
                <a:cubicBezTo>
                  <a:pt x="1229" y="128"/>
                  <a:pt x="1230" y="127"/>
                  <a:pt x="1231" y="125"/>
                </a:cubicBezTo>
                <a:cubicBezTo>
                  <a:pt x="1234" y="123"/>
                  <a:pt x="1234" y="120"/>
                  <a:pt x="1234" y="117"/>
                </a:cubicBezTo>
                <a:cubicBezTo>
                  <a:pt x="1232" y="116"/>
                  <a:pt x="1231" y="115"/>
                  <a:pt x="1229" y="115"/>
                </a:cubicBezTo>
                <a:cubicBezTo>
                  <a:pt x="1226" y="114"/>
                  <a:pt x="1223" y="113"/>
                  <a:pt x="1220" y="112"/>
                </a:cubicBezTo>
                <a:cubicBezTo>
                  <a:pt x="1218" y="111"/>
                  <a:pt x="1217" y="112"/>
                  <a:pt x="1216" y="113"/>
                </a:cubicBezTo>
                <a:cubicBezTo>
                  <a:pt x="1215" y="114"/>
                  <a:pt x="1215" y="114"/>
                  <a:pt x="1214" y="112"/>
                </a:cubicBezTo>
                <a:cubicBezTo>
                  <a:pt x="1214" y="112"/>
                  <a:pt x="1213" y="111"/>
                  <a:pt x="1213" y="111"/>
                </a:cubicBezTo>
                <a:cubicBezTo>
                  <a:pt x="1213" y="110"/>
                  <a:pt x="1212" y="109"/>
                  <a:pt x="1211" y="110"/>
                </a:cubicBezTo>
                <a:cubicBezTo>
                  <a:pt x="1210" y="110"/>
                  <a:pt x="1210" y="110"/>
                  <a:pt x="1210" y="111"/>
                </a:cubicBezTo>
                <a:cubicBezTo>
                  <a:pt x="1209" y="112"/>
                  <a:pt x="1209" y="113"/>
                  <a:pt x="1209" y="113"/>
                </a:cubicBezTo>
                <a:cubicBezTo>
                  <a:pt x="1209" y="114"/>
                  <a:pt x="1209" y="115"/>
                  <a:pt x="1209" y="116"/>
                </a:cubicBezTo>
                <a:cubicBezTo>
                  <a:pt x="1208" y="117"/>
                  <a:pt x="1207" y="115"/>
                  <a:pt x="1207" y="115"/>
                </a:cubicBezTo>
                <a:cubicBezTo>
                  <a:pt x="1207" y="115"/>
                  <a:pt x="1206" y="115"/>
                  <a:pt x="1206" y="115"/>
                </a:cubicBezTo>
                <a:cubicBezTo>
                  <a:pt x="1203" y="115"/>
                  <a:pt x="1201" y="113"/>
                  <a:pt x="1199" y="111"/>
                </a:cubicBezTo>
                <a:cubicBezTo>
                  <a:pt x="1199" y="111"/>
                  <a:pt x="1198" y="111"/>
                  <a:pt x="1198" y="110"/>
                </a:cubicBezTo>
                <a:cubicBezTo>
                  <a:pt x="1197" y="110"/>
                  <a:pt x="1196" y="110"/>
                  <a:pt x="1196" y="112"/>
                </a:cubicBezTo>
                <a:cubicBezTo>
                  <a:pt x="1196" y="112"/>
                  <a:pt x="1196" y="113"/>
                  <a:pt x="1196" y="113"/>
                </a:cubicBezTo>
                <a:cubicBezTo>
                  <a:pt x="1196" y="114"/>
                  <a:pt x="1195" y="115"/>
                  <a:pt x="1195" y="115"/>
                </a:cubicBezTo>
                <a:cubicBezTo>
                  <a:pt x="1194" y="115"/>
                  <a:pt x="1194" y="114"/>
                  <a:pt x="1193" y="114"/>
                </a:cubicBezTo>
                <a:cubicBezTo>
                  <a:pt x="1193" y="114"/>
                  <a:pt x="1192" y="114"/>
                  <a:pt x="1192" y="114"/>
                </a:cubicBezTo>
                <a:cubicBezTo>
                  <a:pt x="1191" y="116"/>
                  <a:pt x="1190" y="117"/>
                  <a:pt x="1191" y="118"/>
                </a:cubicBezTo>
                <a:cubicBezTo>
                  <a:pt x="1191" y="119"/>
                  <a:pt x="1191" y="121"/>
                  <a:pt x="1191" y="122"/>
                </a:cubicBezTo>
                <a:close/>
                <a:moveTo>
                  <a:pt x="587" y="109"/>
                </a:moveTo>
                <a:cubicBezTo>
                  <a:pt x="586" y="110"/>
                  <a:pt x="586" y="111"/>
                  <a:pt x="586" y="112"/>
                </a:cubicBezTo>
                <a:cubicBezTo>
                  <a:pt x="585" y="114"/>
                  <a:pt x="585" y="116"/>
                  <a:pt x="584" y="118"/>
                </a:cubicBezTo>
                <a:cubicBezTo>
                  <a:pt x="583" y="118"/>
                  <a:pt x="583" y="119"/>
                  <a:pt x="583" y="119"/>
                </a:cubicBezTo>
                <a:cubicBezTo>
                  <a:pt x="584" y="122"/>
                  <a:pt x="585" y="125"/>
                  <a:pt x="584" y="128"/>
                </a:cubicBezTo>
                <a:cubicBezTo>
                  <a:pt x="583" y="128"/>
                  <a:pt x="584" y="128"/>
                  <a:pt x="585" y="129"/>
                </a:cubicBezTo>
                <a:cubicBezTo>
                  <a:pt x="585" y="129"/>
                  <a:pt x="586" y="130"/>
                  <a:pt x="586" y="130"/>
                </a:cubicBezTo>
                <a:cubicBezTo>
                  <a:pt x="585" y="133"/>
                  <a:pt x="587" y="133"/>
                  <a:pt x="589" y="134"/>
                </a:cubicBezTo>
                <a:cubicBezTo>
                  <a:pt x="592" y="134"/>
                  <a:pt x="594" y="134"/>
                  <a:pt x="597" y="135"/>
                </a:cubicBezTo>
                <a:cubicBezTo>
                  <a:pt x="597" y="135"/>
                  <a:pt x="598" y="135"/>
                  <a:pt x="598" y="135"/>
                </a:cubicBezTo>
                <a:cubicBezTo>
                  <a:pt x="597" y="135"/>
                  <a:pt x="597" y="136"/>
                  <a:pt x="597" y="136"/>
                </a:cubicBezTo>
                <a:cubicBezTo>
                  <a:pt x="596" y="137"/>
                  <a:pt x="595" y="137"/>
                  <a:pt x="594" y="137"/>
                </a:cubicBezTo>
                <a:cubicBezTo>
                  <a:pt x="592" y="138"/>
                  <a:pt x="591" y="139"/>
                  <a:pt x="591" y="141"/>
                </a:cubicBezTo>
                <a:cubicBezTo>
                  <a:pt x="591" y="142"/>
                  <a:pt x="591" y="143"/>
                  <a:pt x="590" y="144"/>
                </a:cubicBezTo>
                <a:cubicBezTo>
                  <a:pt x="590" y="145"/>
                  <a:pt x="591" y="146"/>
                  <a:pt x="592" y="147"/>
                </a:cubicBezTo>
                <a:cubicBezTo>
                  <a:pt x="594" y="147"/>
                  <a:pt x="597" y="148"/>
                  <a:pt x="599" y="149"/>
                </a:cubicBezTo>
                <a:cubicBezTo>
                  <a:pt x="601" y="149"/>
                  <a:pt x="604" y="148"/>
                  <a:pt x="605" y="146"/>
                </a:cubicBezTo>
                <a:cubicBezTo>
                  <a:pt x="605" y="145"/>
                  <a:pt x="605" y="145"/>
                  <a:pt x="605" y="144"/>
                </a:cubicBezTo>
                <a:cubicBezTo>
                  <a:pt x="606" y="142"/>
                  <a:pt x="608" y="141"/>
                  <a:pt x="610" y="141"/>
                </a:cubicBezTo>
                <a:cubicBezTo>
                  <a:pt x="610" y="139"/>
                  <a:pt x="611" y="137"/>
                  <a:pt x="612" y="136"/>
                </a:cubicBezTo>
                <a:cubicBezTo>
                  <a:pt x="613" y="134"/>
                  <a:pt x="614" y="132"/>
                  <a:pt x="615" y="131"/>
                </a:cubicBezTo>
                <a:cubicBezTo>
                  <a:pt x="616" y="131"/>
                  <a:pt x="616" y="130"/>
                  <a:pt x="616" y="130"/>
                </a:cubicBezTo>
                <a:cubicBezTo>
                  <a:pt x="617" y="128"/>
                  <a:pt x="619" y="125"/>
                  <a:pt x="620" y="123"/>
                </a:cubicBezTo>
                <a:cubicBezTo>
                  <a:pt x="620" y="122"/>
                  <a:pt x="620" y="122"/>
                  <a:pt x="620" y="121"/>
                </a:cubicBezTo>
                <a:cubicBezTo>
                  <a:pt x="620" y="120"/>
                  <a:pt x="619" y="119"/>
                  <a:pt x="619" y="118"/>
                </a:cubicBezTo>
                <a:cubicBezTo>
                  <a:pt x="618" y="117"/>
                  <a:pt x="617" y="117"/>
                  <a:pt x="616" y="117"/>
                </a:cubicBezTo>
                <a:cubicBezTo>
                  <a:pt x="614" y="117"/>
                  <a:pt x="613" y="116"/>
                  <a:pt x="612" y="115"/>
                </a:cubicBezTo>
                <a:cubicBezTo>
                  <a:pt x="609" y="114"/>
                  <a:pt x="607" y="114"/>
                  <a:pt x="605" y="115"/>
                </a:cubicBezTo>
                <a:cubicBezTo>
                  <a:pt x="604" y="116"/>
                  <a:pt x="603" y="118"/>
                  <a:pt x="603" y="119"/>
                </a:cubicBezTo>
                <a:cubicBezTo>
                  <a:pt x="603" y="121"/>
                  <a:pt x="603" y="123"/>
                  <a:pt x="603" y="125"/>
                </a:cubicBezTo>
                <a:cubicBezTo>
                  <a:pt x="603" y="126"/>
                  <a:pt x="603" y="126"/>
                  <a:pt x="602" y="126"/>
                </a:cubicBezTo>
                <a:cubicBezTo>
                  <a:pt x="602" y="126"/>
                  <a:pt x="602" y="126"/>
                  <a:pt x="602" y="125"/>
                </a:cubicBezTo>
                <a:cubicBezTo>
                  <a:pt x="601" y="123"/>
                  <a:pt x="600" y="121"/>
                  <a:pt x="599" y="119"/>
                </a:cubicBezTo>
                <a:cubicBezTo>
                  <a:pt x="599" y="119"/>
                  <a:pt x="598" y="118"/>
                  <a:pt x="598" y="118"/>
                </a:cubicBezTo>
                <a:cubicBezTo>
                  <a:pt x="597" y="118"/>
                  <a:pt x="596" y="119"/>
                  <a:pt x="596" y="119"/>
                </a:cubicBezTo>
                <a:cubicBezTo>
                  <a:pt x="595" y="122"/>
                  <a:pt x="594" y="124"/>
                  <a:pt x="593" y="127"/>
                </a:cubicBezTo>
                <a:cubicBezTo>
                  <a:pt x="593" y="127"/>
                  <a:pt x="593" y="127"/>
                  <a:pt x="593" y="127"/>
                </a:cubicBezTo>
                <a:cubicBezTo>
                  <a:pt x="592" y="127"/>
                  <a:pt x="592" y="127"/>
                  <a:pt x="592" y="127"/>
                </a:cubicBezTo>
                <a:cubicBezTo>
                  <a:pt x="593" y="127"/>
                  <a:pt x="593" y="127"/>
                  <a:pt x="593" y="127"/>
                </a:cubicBezTo>
                <a:cubicBezTo>
                  <a:pt x="593" y="127"/>
                  <a:pt x="593" y="127"/>
                  <a:pt x="593" y="127"/>
                </a:cubicBezTo>
                <a:cubicBezTo>
                  <a:pt x="592" y="125"/>
                  <a:pt x="591" y="124"/>
                  <a:pt x="592" y="122"/>
                </a:cubicBezTo>
                <a:cubicBezTo>
                  <a:pt x="592" y="121"/>
                  <a:pt x="593" y="120"/>
                  <a:pt x="592" y="120"/>
                </a:cubicBezTo>
                <a:cubicBezTo>
                  <a:pt x="591" y="118"/>
                  <a:pt x="591" y="115"/>
                  <a:pt x="591" y="113"/>
                </a:cubicBezTo>
                <a:cubicBezTo>
                  <a:pt x="591" y="112"/>
                  <a:pt x="591" y="112"/>
                  <a:pt x="591" y="111"/>
                </a:cubicBezTo>
                <a:cubicBezTo>
                  <a:pt x="591" y="111"/>
                  <a:pt x="590" y="110"/>
                  <a:pt x="590" y="109"/>
                </a:cubicBezTo>
                <a:cubicBezTo>
                  <a:pt x="589" y="108"/>
                  <a:pt x="587" y="108"/>
                  <a:pt x="587" y="109"/>
                </a:cubicBezTo>
                <a:close/>
                <a:moveTo>
                  <a:pt x="1057" y="474"/>
                </a:moveTo>
                <a:cubicBezTo>
                  <a:pt x="1057" y="475"/>
                  <a:pt x="1057" y="477"/>
                  <a:pt x="1056" y="478"/>
                </a:cubicBezTo>
                <a:cubicBezTo>
                  <a:pt x="1056" y="478"/>
                  <a:pt x="1055" y="479"/>
                  <a:pt x="1055" y="479"/>
                </a:cubicBezTo>
                <a:cubicBezTo>
                  <a:pt x="1053" y="479"/>
                  <a:pt x="1051" y="479"/>
                  <a:pt x="1049" y="479"/>
                </a:cubicBezTo>
                <a:cubicBezTo>
                  <a:pt x="1048" y="479"/>
                  <a:pt x="1048" y="480"/>
                  <a:pt x="1048" y="481"/>
                </a:cubicBezTo>
                <a:cubicBezTo>
                  <a:pt x="1047" y="482"/>
                  <a:pt x="1048" y="484"/>
                  <a:pt x="1047" y="486"/>
                </a:cubicBezTo>
                <a:cubicBezTo>
                  <a:pt x="1047" y="488"/>
                  <a:pt x="1048" y="489"/>
                  <a:pt x="1049" y="490"/>
                </a:cubicBezTo>
                <a:cubicBezTo>
                  <a:pt x="1050" y="491"/>
                  <a:pt x="1050" y="493"/>
                  <a:pt x="1049" y="494"/>
                </a:cubicBezTo>
                <a:cubicBezTo>
                  <a:pt x="1048" y="496"/>
                  <a:pt x="1047" y="497"/>
                  <a:pt x="1046" y="499"/>
                </a:cubicBezTo>
                <a:cubicBezTo>
                  <a:pt x="1046" y="499"/>
                  <a:pt x="1045" y="500"/>
                  <a:pt x="1045" y="500"/>
                </a:cubicBezTo>
                <a:cubicBezTo>
                  <a:pt x="1043" y="502"/>
                  <a:pt x="1044" y="505"/>
                  <a:pt x="1046" y="506"/>
                </a:cubicBezTo>
                <a:cubicBezTo>
                  <a:pt x="1049" y="508"/>
                  <a:pt x="1052" y="508"/>
                  <a:pt x="1055" y="507"/>
                </a:cubicBezTo>
                <a:cubicBezTo>
                  <a:pt x="1056" y="507"/>
                  <a:pt x="1058" y="506"/>
                  <a:pt x="1059" y="505"/>
                </a:cubicBezTo>
                <a:cubicBezTo>
                  <a:pt x="1062" y="503"/>
                  <a:pt x="1064" y="502"/>
                  <a:pt x="1067" y="502"/>
                </a:cubicBezTo>
                <a:cubicBezTo>
                  <a:pt x="1069" y="502"/>
                  <a:pt x="1069" y="501"/>
                  <a:pt x="1070" y="500"/>
                </a:cubicBezTo>
                <a:cubicBezTo>
                  <a:pt x="1072" y="497"/>
                  <a:pt x="1073" y="493"/>
                  <a:pt x="1072" y="489"/>
                </a:cubicBezTo>
                <a:cubicBezTo>
                  <a:pt x="1072" y="488"/>
                  <a:pt x="1072" y="487"/>
                  <a:pt x="1072" y="487"/>
                </a:cubicBezTo>
                <a:cubicBezTo>
                  <a:pt x="1071" y="485"/>
                  <a:pt x="1072" y="484"/>
                  <a:pt x="1073" y="483"/>
                </a:cubicBezTo>
                <a:cubicBezTo>
                  <a:pt x="1073" y="483"/>
                  <a:pt x="1073" y="483"/>
                  <a:pt x="1074" y="482"/>
                </a:cubicBezTo>
                <a:cubicBezTo>
                  <a:pt x="1076" y="480"/>
                  <a:pt x="1076" y="478"/>
                  <a:pt x="1075" y="476"/>
                </a:cubicBezTo>
                <a:cubicBezTo>
                  <a:pt x="1074" y="475"/>
                  <a:pt x="1074" y="474"/>
                  <a:pt x="1073" y="473"/>
                </a:cubicBezTo>
                <a:cubicBezTo>
                  <a:pt x="1072" y="472"/>
                  <a:pt x="1072" y="471"/>
                  <a:pt x="1071" y="471"/>
                </a:cubicBezTo>
                <a:cubicBezTo>
                  <a:pt x="1068" y="471"/>
                  <a:pt x="1066" y="471"/>
                  <a:pt x="1064" y="470"/>
                </a:cubicBezTo>
                <a:cubicBezTo>
                  <a:pt x="1063" y="470"/>
                  <a:pt x="1063" y="470"/>
                  <a:pt x="1062" y="471"/>
                </a:cubicBezTo>
                <a:cubicBezTo>
                  <a:pt x="1060" y="471"/>
                  <a:pt x="1058" y="472"/>
                  <a:pt x="1057" y="474"/>
                </a:cubicBezTo>
                <a:close/>
                <a:moveTo>
                  <a:pt x="2071" y="546"/>
                </a:moveTo>
                <a:cubicBezTo>
                  <a:pt x="2071" y="549"/>
                  <a:pt x="2074" y="550"/>
                  <a:pt x="2075" y="552"/>
                </a:cubicBezTo>
                <a:cubicBezTo>
                  <a:pt x="2075" y="554"/>
                  <a:pt x="2076" y="555"/>
                  <a:pt x="2077" y="557"/>
                </a:cubicBezTo>
                <a:cubicBezTo>
                  <a:pt x="2077" y="557"/>
                  <a:pt x="2078" y="558"/>
                  <a:pt x="2078" y="557"/>
                </a:cubicBezTo>
                <a:cubicBezTo>
                  <a:pt x="2080" y="556"/>
                  <a:pt x="2082" y="555"/>
                  <a:pt x="2084" y="553"/>
                </a:cubicBezTo>
                <a:cubicBezTo>
                  <a:pt x="2084" y="553"/>
                  <a:pt x="2084" y="552"/>
                  <a:pt x="2084" y="551"/>
                </a:cubicBezTo>
                <a:cubicBezTo>
                  <a:pt x="2082" y="550"/>
                  <a:pt x="2080" y="549"/>
                  <a:pt x="2078" y="548"/>
                </a:cubicBezTo>
                <a:cubicBezTo>
                  <a:pt x="2078" y="548"/>
                  <a:pt x="2078" y="547"/>
                  <a:pt x="2078" y="547"/>
                </a:cubicBezTo>
                <a:cubicBezTo>
                  <a:pt x="2079" y="546"/>
                  <a:pt x="2080" y="546"/>
                  <a:pt x="2081" y="546"/>
                </a:cubicBezTo>
                <a:cubicBezTo>
                  <a:pt x="2084" y="543"/>
                  <a:pt x="2087" y="544"/>
                  <a:pt x="2090" y="547"/>
                </a:cubicBezTo>
                <a:cubicBezTo>
                  <a:pt x="2092" y="548"/>
                  <a:pt x="2094" y="549"/>
                  <a:pt x="2096" y="549"/>
                </a:cubicBezTo>
                <a:cubicBezTo>
                  <a:pt x="2097" y="549"/>
                  <a:pt x="2097" y="549"/>
                  <a:pt x="2097" y="548"/>
                </a:cubicBezTo>
                <a:cubicBezTo>
                  <a:pt x="2098" y="546"/>
                  <a:pt x="2098" y="545"/>
                  <a:pt x="2098" y="543"/>
                </a:cubicBezTo>
                <a:cubicBezTo>
                  <a:pt x="2099" y="541"/>
                  <a:pt x="2100" y="539"/>
                  <a:pt x="2102" y="539"/>
                </a:cubicBezTo>
                <a:cubicBezTo>
                  <a:pt x="2104" y="538"/>
                  <a:pt x="2106" y="537"/>
                  <a:pt x="2108" y="536"/>
                </a:cubicBezTo>
                <a:cubicBezTo>
                  <a:pt x="2109" y="535"/>
                  <a:pt x="2110" y="533"/>
                  <a:pt x="2109" y="532"/>
                </a:cubicBezTo>
                <a:cubicBezTo>
                  <a:pt x="2108" y="531"/>
                  <a:pt x="2107" y="529"/>
                  <a:pt x="2106" y="528"/>
                </a:cubicBezTo>
                <a:cubicBezTo>
                  <a:pt x="2105" y="528"/>
                  <a:pt x="2105" y="527"/>
                  <a:pt x="2105" y="526"/>
                </a:cubicBezTo>
                <a:cubicBezTo>
                  <a:pt x="2104" y="524"/>
                  <a:pt x="2104" y="524"/>
                  <a:pt x="2103" y="525"/>
                </a:cubicBezTo>
                <a:cubicBezTo>
                  <a:pt x="2100" y="527"/>
                  <a:pt x="2098" y="526"/>
                  <a:pt x="2095" y="525"/>
                </a:cubicBezTo>
                <a:cubicBezTo>
                  <a:pt x="2091" y="523"/>
                  <a:pt x="2088" y="521"/>
                  <a:pt x="2085" y="518"/>
                </a:cubicBezTo>
                <a:cubicBezTo>
                  <a:pt x="2083" y="516"/>
                  <a:pt x="2081" y="514"/>
                  <a:pt x="2078" y="513"/>
                </a:cubicBezTo>
                <a:cubicBezTo>
                  <a:pt x="2077" y="512"/>
                  <a:pt x="2076" y="513"/>
                  <a:pt x="2076" y="513"/>
                </a:cubicBezTo>
                <a:cubicBezTo>
                  <a:pt x="2075" y="514"/>
                  <a:pt x="2075" y="515"/>
                  <a:pt x="2075" y="516"/>
                </a:cubicBezTo>
                <a:cubicBezTo>
                  <a:pt x="2075" y="517"/>
                  <a:pt x="2076" y="518"/>
                  <a:pt x="2077" y="520"/>
                </a:cubicBezTo>
                <a:cubicBezTo>
                  <a:pt x="2077" y="521"/>
                  <a:pt x="2078" y="522"/>
                  <a:pt x="2078" y="524"/>
                </a:cubicBezTo>
                <a:cubicBezTo>
                  <a:pt x="2078" y="528"/>
                  <a:pt x="2078" y="532"/>
                  <a:pt x="2078" y="536"/>
                </a:cubicBezTo>
                <a:cubicBezTo>
                  <a:pt x="2078" y="536"/>
                  <a:pt x="2078" y="537"/>
                  <a:pt x="2077" y="537"/>
                </a:cubicBezTo>
                <a:cubicBezTo>
                  <a:pt x="2077" y="537"/>
                  <a:pt x="2076" y="537"/>
                  <a:pt x="2076" y="537"/>
                </a:cubicBezTo>
                <a:cubicBezTo>
                  <a:pt x="2074" y="537"/>
                  <a:pt x="2074" y="537"/>
                  <a:pt x="2074" y="539"/>
                </a:cubicBezTo>
                <a:cubicBezTo>
                  <a:pt x="2074" y="540"/>
                  <a:pt x="2074" y="540"/>
                  <a:pt x="2074" y="541"/>
                </a:cubicBezTo>
                <a:cubicBezTo>
                  <a:pt x="2073" y="543"/>
                  <a:pt x="2072" y="544"/>
                  <a:pt x="2071" y="546"/>
                </a:cubicBezTo>
                <a:close/>
                <a:moveTo>
                  <a:pt x="612" y="76"/>
                </a:moveTo>
                <a:cubicBezTo>
                  <a:pt x="614" y="77"/>
                  <a:pt x="615" y="77"/>
                  <a:pt x="617" y="78"/>
                </a:cubicBezTo>
                <a:cubicBezTo>
                  <a:pt x="617" y="78"/>
                  <a:pt x="617" y="78"/>
                  <a:pt x="617" y="78"/>
                </a:cubicBezTo>
                <a:cubicBezTo>
                  <a:pt x="617" y="78"/>
                  <a:pt x="617" y="78"/>
                  <a:pt x="617" y="78"/>
                </a:cubicBezTo>
                <a:cubicBezTo>
                  <a:pt x="618" y="79"/>
                  <a:pt x="619" y="79"/>
                  <a:pt x="619" y="80"/>
                </a:cubicBezTo>
                <a:cubicBezTo>
                  <a:pt x="623" y="83"/>
                  <a:pt x="625" y="86"/>
                  <a:pt x="623" y="90"/>
                </a:cubicBezTo>
                <a:cubicBezTo>
                  <a:pt x="622" y="92"/>
                  <a:pt x="623" y="93"/>
                  <a:pt x="624" y="94"/>
                </a:cubicBezTo>
                <a:cubicBezTo>
                  <a:pt x="625" y="95"/>
                  <a:pt x="627" y="95"/>
                  <a:pt x="629" y="94"/>
                </a:cubicBezTo>
                <a:cubicBezTo>
                  <a:pt x="631" y="93"/>
                  <a:pt x="632" y="91"/>
                  <a:pt x="633" y="88"/>
                </a:cubicBezTo>
                <a:cubicBezTo>
                  <a:pt x="634" y="85"/>
                  <a:pt x="635" y="82"/>
                  <a:pt x="638" y="79"/>
                </a:cubicBezTo>
                <a:cubicBezTo>
                  <a:pt x="638" y="79"/>
                  <a:pt x="639" y="77"/>
                  <a:pt x="639" y="76"/>
                </a:cubicBezTo>
                <a:cubicBezTo>
                  <a:pt x="640" y="74"/>
                  <a:pt x="640" y="72"/>
                  <a:pt x="639" y="70"/>
                </a:cubicBezTo>
                <a:cubicBezTo>
                  <a:pt x="638" y="69"/>
                  <a:pt x="637" y="68"/>
                  <a:pt x="638" y="67"/>
                </a:cubicBezTo>
                <a:cubicBezTo>
                  <a:pt x="638" y="66"/>
                  <a:pt x="638" y="66"/>
                  <a:pt x="638" y="65"/>
                </a:cubicBezTo>
                <a:cubicBezTo>
                  <a:pt x="638" y="61"/>
                  <a:pt x="636" y="60"/>
                  <a:pt x="633" y="61"/>
                </a:cubicBezTo>
                <a:cubicBezTo>
                  <a:pt x="632" y="61"/>
                  <a:pt x="632" y="62"/>
                  <a:pt x="631" y="62"/>
                </a:cubicBezTo>
                <a:cubicBezTo>
                  <a:pt x="631" y="62"/>
                  <a:pt x="631" y="62"/>
                  <a:pt x="631" y="62"/>
                </a:cubicBezTo>
                <a:cubicBezTo>
                  <a:pt x="631" y="63"/>
                  <a:pt x="631" y="63"/>
                  <a:pt x="630" y="62"/>
                </a:cubicBezTo>
                <a:cubicBezTo>
                  <a:pt x="631" y="62"/>
                  <a:pt x="631" y="62"/>
                  <a:pt x="631" y="62"/>
                </a:cubicBezTo>
                <a:cubicBezTo>
                  <a:pt x="631" y="60"/>
                  <a:pt x="631" y="58"/>
                  <a:pt x="631" y="57"/>
                </a:cubicBezTo>
                <a:cubicBezTo>
                  <a:pt x="631" y="54"/>
                  <a:pt x="629" y="52"/>
                  <a:pt x="626" y="52"/>
                </a:cubicBezTo>
                <a:cubicBezTo>
                  <a:pt x="625" y="52"/>
                  <a:pt x="623" y="52"/>
                  <a:pt x="621" y="52"/>
                </a:cubicBezTo>
                <a:cubicBezTo>
                  <a:pt x="621" y="52"/>
                  <a:pt x="620" y="52"/>
                  <a:pt x="620" y="53"/>
                </a:cubicBezTo>
                <a:cubicBezTo>
                  <a:pt x="618" y="54"/>
                  <a:pt x="616" y="56"/>
                  <a:pt x="617" y="59"/>
                </a:cubicBezTo>
                <a:cubicBezTo>
                  <a:pt x="617" y="59"/>
                  <a:pt x="617" y="60"/>
                  <a:pt x="617" y="61"/>
                </a:cubicBezTo>
                <a:cubicBezTo>
                  <a:pt x="616" y="63"/>
                  <a:pt x="616" y="63"/>
                  <a:pt x="619" y="64"/>
                </a:cubicBezTo>
                <a:cubicBezTo>
                  <a:pt x="619" y="64"/>
                  <a:pt x="619" y="64"/>
                  <a:pt x="619" y="64"/>
                </a:cubicBezTo>
                <a:cubicBezTo>
                  <a:pt x="619" y="64"/>
                  <a:pt x="619" y="64"/>
                  <a:pt x="619" y="64"/>
                </a:cubicBezTo>
                <a:cubicBezTo>
                  <a:pt x="619" y="63"/>
                  <a:pt x="619" y="63"/>
                  <a:pt x="619" y="63"/>
                </a:cubicBezTo>
                <a:cubicBezTo>
                  <a:pt x="620" y="63"/>
                  <a:pt x="619" y="63"/>
                  <a:pt x="619" y="64"/>
                </a:cubicBezTo>
                <a:cubicBezTo>
                  <a:pt x="619" y="64"/>
                  <a:pt x="619" y="64"/>
                  <a:pt x="619" y="64"/>
                </a:cubicBezTo>
                <a:cubicBezTo>
                  <a:pt x="619" y="64"/>
                  <a:pt x="619" y="64"/>
                  <a:pt x="619" y="64"/>
                </a:cubicBezTo>
                <a:cubicBezTo>
                  <a:pt x="619" y="65"/>
                  <a:pt x="619" y="66"/>
                  <a:pt x="619" y="67"/>
                </a:cubicBezTo>
                <a:cubicBezTo>
                  <a:pt x="619" y="68"/>
                  <a:pt x="619" y="69"/>
                  <a:pt x="619" y="70"/>
                </a:cubicBezTo>
                <a:cubicBezTo>
                  <a:pt x="618" y="71"/>
                  <a:pt x="617" y="71"/>
                  <a:pt x="617" y="71"/>
                </a:cubicBezTo>
                <a:cubicBezTo>
                  <a:pt x="615" y="70"/>
                  <a:pt x="615" y="70"/>
                  <a:pt x="613" y="69"/>
                </a:cubicBezTo>
                <a:cubicBezTo>
                  <a:pt x="613" y="69"/>
                  <a:pt x="612" y="69"/>
                  <a:pt x="611" y="70"/>
                </a:cubicBezTo>
                <a:cubicBezTo>
                  <a:pt x="611" y="70"/>
                  <a:pt x="610" y="71"/>
                  <a:pt x="610" y="72"/>
                </a:cubicBezTo>
                <a:cubicBezTo>
                  <a:pt x="609" y="74"/>
                  <a:pt x="610" y="76"/>
                  <a:pt x="612" y="76"/>
                </a:cubicBezTo>
                <a:close/>
                <a:moveTo>
                  <a:pt x="1927" y="984"/>
                </a:moveTo>
                <a:cubicBezTo>
                  <a:pt x="1930" y="984"/>
                  <a:pt x="1933" y="984"/>
                  <a:pt x="1937" y="986"/>
                </a:cubicBezTo>
                <a:cubicBezTo>
                  <a:pt x="1938" y="987"/>
                  <a:pt x="1939" y="987"/>
                  <a:pt x="1940" y="986"/>
                </a:cubicBezTo>
                <a:cubicBezTo>
                  <a:pt x="1941" y="985"/>
                  <a:pt x="1942" y="985"/>
                  <a:pt x="1943" y="985"/>
                </a:cubicBezTo>
                <a:cubicBezTo>
                  <a:pt x="1944" y="985"/>
                  <a:pt x="1945" y="986"/>
                  <a:pt x="1946" y="986"/>
                </a:cubicBezTo>
                <a:cubicBezTo>
                  <a:pt x="1947" y="986"/>
                  <a:pt x="1949" y="984"/>
                  <a:pt x="1949" y="983"/>
                </a:cubicBezTo>
                <a:cubicBezTo>
                  <a:pt x="1949" y="983"/>
                  <a:pt x="1948" y="982"/>
                  <a:pt x="1947" y="982"/>
                </a:cubicBezTo>
                <a:cubicBezTo>
                  <a:pt x="1944" y="982"/>
                  <a:pt x="1941" y="981"/>
                  <a:pt x="1938" y="979"/>
                </a:cubicBezTo>
                <a:cubicBezTo>
                  <a:pt x="1938" y="978"/>
                  <a:pt x="1937" y="978"/>
                  <a:pt x="1937" y="978"/>
                </a:cubicBezTo>
                <a:cubicBezTo>
                  <a:pt x="1935" y="978"/>
                  <a:pt x="1934" y="978"/>
                  <a:pt x="1933" y="978"/>
                </a:cubicBezTo>
                <a:cubicBezTo>
                  <a:pt x="1932" y="978"/>
                  <a:pt x="1931" y="978"/>
                  <a:pt x="1931" y="977"/>
                </a:cubicBezTo>
                <a:cubicBezTo>
                  <a:pt x="1931" y="976"/>
                  <a:pt x="1931" y="976"/>
                  <a:pt x="1933" y="976"/>
                </a:cubicBezTo>
                <a:cubicBezTo>
                  <a:pt x="1933" y="975"/>
                  <a:pt x="1934" y="975"/>
                  <a:pt x="1934" y="975"/>
                </a:cubicBezTo>
                <a:cubicBezTo>
                  <a:pt x="1935" y="975"/>
                  <a:pt x="1936" y="975"/>
                  <a:pt x="1936" y="974"/>
                </a:cubicBezTo>
                <a:cubicBezTo>
                  <a:pt x="1936" y="974"/>
                  <a:pt x="1935" y="973"/>
                  <a:pt x="1934" y="973"/>
                </a:cubicBezTo>
                <a:cubicBezTo>
                  <a:pt x="1931" y="973"/>
                  <a:pt x="1927" y="972"/>
                  <a:pt x="1924" y="971"/>
                </a:cubicBezTo>
                <a:cubicBezTo>
                  <a:pt x="1922" y="971"/>
                  <a:pt x="1920" y="970"/>
                  <a:pt x="1919" y="969"/>
                </a:cubicBezTo>
                <a:cubicBezTo>
                  <a:pt x="1916" y="968"/>
                  <a:pt x="1914" y="968"/>
                  <a:pt x="1913" y="971"/>
                </a:cubicBezTo>
                <a:cubicBezTo>
                  <a:pt x="1912" y="972"/>
                  <a:pt x="1911" y="972"/>
                  <a:pt x="1910" y="972"/>
                </a:cubicBezTo>
                <a:cubicBezTo>
                  <a:pt x="1908" y="972"/>
                  <a:pt x="1907" y="972"/>
                  <a:pt x="1905" y="972"/>
                </a:cubicBezTo>
                <a:cubicBezTo>
                  <a:pt x="1903" y="971"/>
                  <a:pt x="1901" y="971"/>
                  <a:pt x="1899" y="969"/>
                </a:cubicBezTo>
                <a:cubicBezTo>
                  <a:pt x="1896" y="966"/>
                  <a:pt x="1893" y="966"/>
                  <a:pt x="1890" y="966"/>
                </a:cubicBezTo>
                <a:cubicBezTo>
                  <a:pt x="1887" y="966"/>
                  <a:pt x="1884" y="965"/>
                  <a:pt x="1880" y="965"/>
                </a:cubicBezTo>
                <a:cubicBezTo>
                  <a:pt x="1880" y="967"/>
                  <a:pt x="1879" y="969"/>
                  <a:pt x="1878" y="971"/>
                </a:cubicBezTo>
                <a:cubicBezTo>
                  <a:pt x="1877" y="971"/>
                  <a:pt x="1878" y="973"/>
                  <a:pt x="1879" y="973"/>
                </a:cubicBezTo>
                <a:cubicBezTo>
                  <a:pt x="1881" y="973"/>
                  <a:pt x="1883" y="974"/>
                  <a:pt x="1884" y="976"/>
                </a:cubicBezTo>
                <a:cubicBezTo>
                  <a:pt x="1884" y="977"/>
                  <a:pt x="1886" y="977"/>
                  <a:pt x="1887" y="977"/>
                </a:cubicBezTo>
                <a:cubicBezTo>
                  <a:pt x="1889" y="977"/>
                  <a:pt x="1891" y="978"/>
                  <a:pt x="1893" y="979"/>
                </a:cubicBezTo>
                <a:cubicBezTo>
                  <a:pt x="1895" y="980"/>
                  <a:pt x="1897" y="980"/>
                  <a:pt x="1899" y="979"/>
                </a:cubicBezTo>
                <a:cubicBezTo>
                  <a:pt x="1902" y="979"/>
                  <a:pt x="1906" y="979"/>
                  <a:pt x="1910" y="981"/>
                </a:cubicBezTo>
                <a:cubicBezTo>
                  <a:pt x="1913" y="983"/>
                  <a:pt x="1917" y="984"/>
                  <a:pt x="1920" y="984"/>
                </a:cubicBezTo>
                <a:cubicBezTo>
                  <a:pt x="1922" y="984"/>
                  <a:pt x="1924" y="984"/>
                  <a:pt x="1927" y="984"/>
                </a:cubicBezTo>
                <a:close/>
                <a:moveTo>
                  <a:pt x="1990" y="778"/>
                </a:moveTo>
                <a:cubicBezTo>
                  <a:pt x="1988" y="778"/>
                  <a:pt x="1987" y="778"/>
                  <a:pt x="1985" y="778"/>
                </a:cubicBezTo>
                <a:cubicBezTo>
                  <a:pt x="1982" y="776"/>
                  <a:pt x="1980" y="778"/>
                  <a:pt x="1979" y="781"/>
                </a:cubicBezTo>
                <a:cubicBezTo>
                  <a:pt x="1979" y="782"/>
                  <a:pt x="1978" y="783"/>
                  <a:pt x="1978" y="784"/>
                </a:cubicBezTo>
                <a:cubicBezTo>
                  <a:pt x="1978" y="787"/>
                  <a:pt x="1978" y="790"/>
                  <a:pt x="1977" y="793"/>
                </a:cubicBezTo>
                <a:cubicBezTo>
                  <a:pt x="1977" y="795"/>
                  <a:pt x="1977" y="796"/>
                  <a:pt x="1976" y="796"/>
                </a:cubicBezTo>
                <a:cubicBezTo>
                  <a:pt x="1976" y="797"/>
                  <a:pt x="1975" y="798"/>
                  <a:pt x="1975" y="798"/>
                </a:cubicBezTo>
                <a:cubicBezTo>
                  <a:pt x="1976" y="801"/>
                  <a:pt x="1977" y="804"/>
                  <a:pt x="1978" y="806"/>
                </a:cubicBezTo>
                <a:cubicBezTo>
                  <a:pt x="1978" y="808"/>
                  <a:pt x="1980" y="810"/>
                  <a:pt x="1982" y="810"/>
                </a:cubicBezTo>
                <a:cubicBezTo>
                  <a:pt x="1982" y="810"/>
                  <a:pt x="1982" y="810"/>
                  <a:pt x="1982" y="810"/>
                </a:cubicBezTo>
                <a:cubicBezTo>
                  <a:pt x="1982" y="810"/>
                  <a:pt x="1982" y="810"/>
                  <a:pt x="1982" y="810"/>
                </a:cubicBezTo>
                <a:cubicBezTo>
                  <a:pt x="1982" y="810"/>
                  <a:pt x="1982" y="810"/>
                  <a:pt x="1982" y="810"/>
                </a:cubicBezTo>
                <a:cubicBezTo>
                  <a:pt x="1982" y="810"/>
                  <a:pt x="1982" y="810"/>
                  <a:pt x="1982" y="810"/>
                </a:cubicBezTo>
                <a:cubicBezTo>
                  <a:pt x="1982" y="813"/>
                  <a:pt x="1982" y="815"/>
                  <a:pt x="1985" y="816"/>
                </a:cubicBezTo>
                <a:cubicBezTo>
                  <a:pt x="1986" y="816"/>
                  <a:pt x="1987" y="817"/>
                  <a:pt x="1987" y="817"/>
                </a:cubicBezTo>
                <a:cubicBezTo>
                  <a:pt x="1987" y="817"/>
                  <a:pt x="1987" y="817"/>
                  <a:pt x="1987" y="817"/>
                </a:cubicBezTo>
                <a:cubicBezTo>
                  <a:pt x="1987" y="817"/>
                  <a:pt x="1987" y="817"/>
                  <a:pt x="1987" y="817"/>
                </a:cubicBezTo>
                <a:cubicBezTo>
                  <a:pt x="1987" y="817"/>
                  <a:pt x="1987" y="817"/>
                  <a:pt x="1987" y="817"/>
                </a:cubicBezTo>
                <a:cubicBezTo>
                  <a:pt x="1988" y="817"/>
                  <a:pt x="1989" y="816"/>
                  <a:pt x="1991" y="815"/>
                </a:cubicBezTo>
                <a:cubicBezTo>
                  <a:pt x="1991" y="815"/>
                  <a:pt x="1992" y="815"/>
                  <a:pt x="1993" y="816"/>
                </a:cubicBezTo>
                <a:cubicBezTo>
                  <a:pt x="1993" y="816"/>
                  <a:pt x="1994" y="817"/>
                  <a:pt x="1994" y="817"/>
                </a:cubicBezTo>
                <a:cubicBezTo>
                  <a:pt x="1996" y="818"/>
                  <a:pt x="1998" y="819"/>
                  <a:pt x="2000" y="817"/>
                </a:cubicBezTo>
                <a:cubicBezTo>
                  <a:pt x="1999" y="817"/>
                  <a:pt x="1999" y="817"/>
                  <a:pt x="1999" y="817"/>
                </a:cubicBezTo>
                <a:cubicBezTo>
                  <a:pt x="2000" y="817"/>
                  <a:pt x="2000" y="817"/>
                  <a:pt x="2000" y="817"/>
                </a:cubicBezTo>
                <a:cubicBezTo>
                  <a:pt x="2000" y="817"/>
                  <a:pt x="2000" y="817"/>
                  <a:pt x="2000" y="817"/>
                </a:cubicBezTo>
                <a:cubicBezTo>
                  <a:pt x="2000" y="817"/>
                  <a:pt x="2000" y="817"/>
                  <a:pt x="2000" y="817"/>
                </a:cubicBezTo>
                <a:cubicBezTo>
                  <a:pt x="2000" y="818"/>
                  <a:pt x="2001" y="818"/>
                  <a:pt x="2002" y="819"/>
                </a:cubicBezTo>
                <a:cubicBezTo>
                  <a:pt x="2002" y="821"/>
                  <a:pt x="2003" y="822"/>
                  <a:pt x="2005" y="823"/>
                </a:cubicBezTo>
                <a:cubicBezTo>
                  <a:pt x="2006" y="823"/>
                  <a:pt x="2006" y="824"/>
                  <a:pt x="2005" y="825"/>
                </a:cubicBezTo>
                <a:cubicBezTo>
                  <a:pt x="2003" y="827"/>
                  <a:pt x="2003" y="828"/>
                  <a:pt x="2005" y="829"/>
                </a:cubicBezTo>
                <a:cubicBezTo>
                  <a:pt x="2006" y="829"/>
                  <a:pt x="2007" y="830"/>
                  <a:pt x="2008" y="830"/>
                </a:cubicBezTo>
                <a:cubicBezTo>
                  <a:pt x="2008" y="830"/>
                  <a:pt x="2009" y="830"/>
                  <a:pt x="2009" y="829"/>
                </a:cubicBezTo>
                <a:cubicBezTo>
                  <a:pt x="2009" y="827"/>
                  <a:pt x="2010" y="825"/>
                  <a:pt x="2010" y="824"/>
                </a:cubicBezTo>
                <a:cubicBezTo>
                  <a:pt x="2010" y="823"/>
                  <a:pt x="2010" y="822"/>
                  <a:pt x="2009" y="821"/>
                </a:cubicBezTo>
                <a:cubicBezTo>
                  <a:pt x="2008" y="820"/>
                  <a:pt x="2007" y="819"/>
                  <a:pt x="2006" y="818"/>
                </a:cubicBezTo>
                <a:cubicBezTo>
                  <a:pt x="2006" y="815"/>
                  <a:pt x="2005" y="814"/>
                  <a:pt x="2002" y="813"/>
                </a:cubicBezTo>
                <a:cubicBezTo>
                  <a:pt x="2001" y="813"/>
                  <a:pt x="2000" y="812"/>
                  <a:pt x="1999" y="811"/>
                </a:cubicBezTo>
                <a:cubicBezTo>
                  <a:pt x="1998" y="810"/>
                  <a:pt x="1997" y="810"/>
                  <a:pt x="1996" y="810"/>
                </a:cubicBezTo>
                <a:cubicBezTo>
                  <a:pt x="1996" y="811"/>
                  <a:pt x="1995" y="811"/>
                  <a:pt x="1994" y="811"/>
                </a:cubicBezTo>
                <a:cubicBezTo>
                  <a:pt x="1994" y="811"/>
                  <a:pt x="1994" y="811"/>
                  <a:pt x="1994" y="811"/>
                </a:cubicBezTo>
                <a:cubicBezTo>
                  <a:pt x="1993" y="811"/>
                  <a:pt x="1993" y="811"/>
                  <a:pt x="1992" y="811"/>
                </a:cubicBezTo>
                <a:cubicBezTo>
                  <a:pt x="1991" y="811"/>
                  <a:pt x="1991" y="810"/>
                  <a:pt x="1992" y="809"/>
                </a:cubicBezTo>
                <a:cubicBezTo>
                  <a:pt x="1994" y="806"/>
                  <a:pt x="1994" y="806"/>
                  <a:pt x="1991" y="806"/>
                </a:cubicBezTo>
                <a:cubicBezTo>
                  <a:pt x="1990" y="805"/>
                  <a:pt x="1989" y="805"/>
                  <a:pt x="1989" y="804"/>
                </a:cubicBezTo>
                <a:cubicBezTo>
                  <a:pt x="1989" y="802"/>
                  <a:pt x="1989" y="800"/>
                  <a:pt x="1991" y="799"/>
                </a:cubicBezTo>
                <a:cubicBezTo>
                  <a:pt x="1991" y="798"/>
                  <a:pt x="1992" y="798"/>
                  <a:pt x="1992" y="797"/>
                </a:cubicBezTo>
                <a:cubicBezTo>
                  <a:pt x="1994" y="794"/>
                  <a:pt x="1996" y="790"/>
                  <a:pt x="1994" y="786"/>
                </a:cubicBezTo>
                <a:cubicBezTo>
                  <a:pt x="1992" y="784"/>
                  <a:pt x="1992" y="782"/>
                  <a:pt x="1992" y="780"/>
                </a:cubicBezTo>
                <a:cubicBezTo>
                  <a:pt x="1992" y="779"/>
                  <a:pt x="1992" y="778"/>
                  <a:pt x="1990" y="778"/>
                </a:cubicBezTo>
                <a:close/>
                <a:moveTo>
                  <a:pt x="2135" y="1281"/>
                </a:moveTo>
                <a:cubicBezTo>
                  <a:pt x="2132" y="1281"/>
                  <a:pt x="2129" y="1281"/>
                  <a:pt x="2126" y="1282"/>
                </a:cubicBezTo>
                <a:cubicBezTo>
                  <a:pt x="2124" y="1283"/>
                  <a:pt x="2122" y="1282"/>
                  <a:pt x="2120" y="1281"/>
                </a:cubicBezTo>
                <a:cubicBezTo>
                  <a:pt x="2118" y="1280"/>
                  <a:pt x="2117" y="1279"/>
                  <a:pt x="2116" y="1278"/>
                </a:cubicBezTo>
                <a:cubicBezTo>
                  <a:pt x="2115" y="1277"/>
                  <a:pt x="2114" y="1277"/>
                  <a:pt x="2113" y="1277"/>
                </a:cubicBezTo>
                <a:cubicBezTo>
                  <a:pt x="2112" y="1277"/>
                  <a:pt x="2111" y="1278"/>
                  <a:pt x="2111" y="1280"/>
                </a:cubicBezTo>
                <a:cubicBezTo>
                  <a:pt x="2111" y="1280"/>
                  <a:pt x="2111" y="1281"/>
                  <a:pt x="2111" y="1281"/>
                </a:cubicBezTo>
                <a:cubicBezTo>
                  <a:pt x="2111" y="1287"/>
                  <a:pt x="2112" y="1292"/>
                  <a:pt x="2110" y="1297"/>
                </a:cubicBezTo>
                <a:cubicBezTo>
                  <a:pt x="2110" y="1297"/>
                  <a:pt x="2110" y="1297"/>
                  <a:pt x="2110" y="1299"/>
                </a:cubicBezTo>
                <a:cubicBezTo>
                  <a:pt x="2110" y="1301"/>
                  <a:pt x="2111" y="1303"/>
                  <a:pt x="2111" y="1306"/>
                </a:cubicBezTo>
                <a:cubicBezTo>
                  <a:pt x="2112" y="1309"/>
                  <a:pt x="2114" y="1311"/>
                  <a:pt x="2117" y="1311"/>
                </a:cubicBezTo>
                <a:cubicBezTo>
                  <a:pt x="2117" y="1311"/>
                  <a:pt x="2118" y="1311"/>
                  <a:pt x="2118" y="1311"/>
                </a:cubicBezTo>
                <a:cubicBezTo>
                  <a:pt x="2119" y="1310"/>
                  <a:pt x="2121" y="1309"/>
                  <a:pt x="2122" y="1308"/>
                </a:cubicBezTo>
                <a:cubicBezTo>
                  <a:pt x="2123" y="1307"/>
                  <a:pt x="2124" y="1306"/>
                  <a:pt x="2126" y="1307"/>
                </a:cubicBezTo>
                <a:cubicBezTo>
                  <a:pt x="2127" y="1307"/>
                  <a:pt x="2128" y="1306"/>
                  <a:pt x="2129" y="1305"/>
                </a:cubicBezTo>
                <a:cubicBezTo>
                  <a:pt x="2130" y="1301"/>
                  <a:pt x="2131" y="1298"/>
                  <a:pt x="2134" y="1295"/>
                </a:cubicBezTo>
                <a:cubicBezTo>
                  <a:pt x="2134" y="1295"/>
                  <a:pt x="2134" y="1294"/>
                  <a:pt x="2134" y="1293"/>
                </a:cubicBezTo>
                <a:cubicBezTo>
                  <a:pt x="2135" y="1291"/>
                  <a:pt x="2136" y="1288"/>
                  <a:pt x="2137" y="1285"/>
                </a:cubicBezTo>
                <a:cubicBezTo>
                  <a:pt x="2137" y="1284"/>
                  <a:pt x="2137" y="1284"/>
                  <a:pt x="2137" y="1283"/>
                </a:cubicBezTo>
                <a:cubicBezTo>
                  <a:pt x="2137" y="1282"/>
                  <a:pt x="2136" y="1280"/>
                  <a:pt x="2135" y="1281"/>
                </a:cubicBezTo>
                <a:close/>
                <a:moveTo>
                  <a:pt x="584" y="770"/>
                </a:moveTo>
                <a:cubicBezTo>
                  <a:pt x="585" y="770"/>
                  <a:pt x="585" y="768"/>
                  <a:pt x="584" y="767"/>
                </a:cubicBezTo>
                <a:cubicBezTo>
                  <a:pt x="584" y="766"/>
                  <a:pt x="583" y="765"/>
                  <a:pt x="582" y="765"/>
                </a:cubicBezTo>
                <a:cubicBezTo>
                  <a:pt x="576" y="762"/>
                  <a:pt x="570" y="759"/>
                  <a:pt x="564" y="757"/>
                </a:cubicBezTo>
                <a:cubicBezTo>
                  <a:pt x="562" y="756"/>
                  <a:pt x="561" y="755"/>
                  <a:pt x="559" y="754"/>
                </a:cubicBezTo>
                <a:cubicBezTo>
                  <a:pt x="557" y="753"/>
                  <a:pt x="555" y="752"/>
                  <a:pt x="553" y="751"/>
                </a:cubicBezTo>
                <a:cubicBezTo>
                  <a:pt x="552" y="751"/>
                  <a:pt x="550" y="750"/>
                  <a:pt x="550" y="750"/>
                </a:cubicBezTo>
                <a:cubicBezTo>
                  <a:pt x="547" y="747"/>
                  <a:pt x="544" y="746"/>
                  <a:pt x="541" y="746"/>
                </a:cubicBezTo>
                <a:cubicBezTo>
                  <a:pt x="538" y="746"/>
                  <a:pt x="536" y="746"/>
                  <a:pt x="534" y="745"/>
                </a:cubicBezTo>
                <a:cubicBezTo>
                  <a:pt x="533" y="744"/>
                  <a:pt x="531" y="744"/>
                  <a:pt x="530" y="744"/>
                </a:cubicBezTo>
                <a:cubicBezTo>
                  <a:pt x="526" y="745"/>
                  <a:pt x="522" y="745"/>
                  <a:pt x="518" y="747"/>
                </a:cubicBezTo>
                <a:cubicBezTo>
                  <a:pt x="514" y="749"/>
                  <a:pt x="513" y="752"/>
                  <a:pt x="510" y="755"/>
                </a:cubicBezTo>
                <a:cubicBezTo>
                  <a:pt x="510" y="755"/>
                  <a:pt x="511" y="756"/>
                  <a:pt x="511" y="756"/>
                </a:cubicBezTo>
                <a:cubicBezTo>
                  <a:pt x="512" y="756"/>
                  <a:pt x="513" y="756"/>
                  <a:pt x="514" y="755"/>
                </a:cubicBezTo>
                <a:cubicBezTo>
                  <a:pt x="518" y="753"/>
                  <a:pt x="523" y="752"/>
                  <a:pt x="527" y="750"/>
                </a:cubicBezTo>
                <a:cubicBezTo>
                  <a:pt x="528" y="749"/>
                  <a:pt x="529" y="750"/>
                  <a:pt x="530" y="751"/>
                </a:cubicBezTo>
                <a:cubicBezTo>
                  <a:pt x="531" y="752"/>
                  <a:pt x="532" y="753"/>
                  <a:pt x="533" y="753"/>
                </a:cubicBezTo>
                <a:cubicBezTo>
                  <a:pt x="535" y="754"/>
                  <a:pt x="537" y="754"/>
                  <a:pt x="539" y="754"/>
                </a:cubicBezTo>
                <a:cubicBezTo>
                  <a:pt x="541" y="755"/>
                  <a:pt x="542" y="755"/>
                  <a:pt x="543" y="756"/>
                </a:cubicBezTo>
                <a:cubicBezTo>
                  <a:pt x="546" y="757"/>
                  <a:pt x="549" y="758"/>
                  <a:pt x="552" y="758"/>
                </a:cubicBezTo>
                <a:cubicBezTo>
                  <a:pt x="553" y="758"/>
                  <a:pt x="554" y="759"/>
                  <a:pt x="555" y="761"/>
                </a:cubicBezTo>
                <a:cubicBezTo>
                  <a:pt x="556" y="764"/>
                  <a:pt x="559" y="765"/>
                  <a:pt x="562" y="765"/>
                </a:cubicBezTo>
                <a:cubicBezTo>
                  <a:pt x="562" y="765"/>
                  <a:pt x="562" y="766"/>
                  <a:pt x="562" y="766"/>
                </a:cubicBezTo>
                <a:cubicBezTo>
                  <a:pt x="563" y="766"/>
                  <a:pt x="564" y="767"/>
                  <a:pt x="563" y="768"/>
                </a:cubicBezTo>
                <a:cubicBezTo>
                  <a:pt x="563" y="768"/>
                  <a:pt x="562" y="769"/>
                  <a:pt x="562" y="769"/>
                </a:cubicBezTo>
                <a:cubicBezTo>
                  <a:pt x="561" y="770"/>
                  <a:pt x="562" y="772"/>
                  <a:pt x="563" y="772"/>
                </a:cubicBezTo>
                <a:cubicBezTo>
                  <a:pt x="565" y="772"/>
                  <a:pt x="567" y="772"/>
                  <a:pt x="571" y="772"/>
                </a:cubicBezTo>
                <a:cubicBezTo>
                  <a:pt x="575" y="773"/>
                  <a:pt x="579" y="771"/>
                  <a:pt x="584" y="770"/>
                </a:cubicBezTo>
                <a:close/>
                <a:moveTo>
                  <a:pt x="1583" y="72"/>
                </a:moveTo>
                <a:cubicBezTo>
                  <a:pt x="1583" y="73"/>
                  <a:pt x="1583" y="74"/>
                  <a:pt x="1583" y="73"/>
                </a:cubicBezTo>
                <a:cubicBezTo>
                  <a:pt x="1583" y="75"/>
                  <a:pt x="1582" y="76"/>
                  <a:pt x="1583" y="77"/>
                </a:cubicBezTo>
                <a:cubicBezTo>
                  <a:pt x="1583" y="80"/>
                  <a:pt x="1584" y="83"/>
                  <a:pt x="1585" y="87"/>
                </a:cubicBezTo>
                <a:cubicBezTo>
                  <a:pt x="1585" y="89"/>
                  <a:pt x="1586" y="91"/>
                  <a:pt x="1588" y="92"/>
                </a:cubicBezTo>
                <a:cubicBezTo>
                  <a:pt x="1589" y="93"/>
                  <a:pt x="1589" y="93"/>
                  <a:pt x="1590" y="93"/>
                </a:cubicBezTo>
                <a:cubicBezTo>
                  <a:pt x="1590" y="93"/>
                  <a:pt x="1591" y="92"/>
                  <a:pt x="1591" y="92"/>
                </a:cubicBezTo>
                <a:cubicBezTo>
                  <a:pt x="1595" y="87"/>
                  <a:pt x="1595" y="87"/>
                  <a:pt x="1601" y="83"/>
                </a:cubicBezTo>
                <a:cubicBezTo>
                  <a:pt x="1602" y="82"/>
                  <a:pt x="1604" y="81"/>
                  <a:pt x="1605" y="80"/>
                </a:cubicBezTo>
                <a:cubicBezTo>
                  <a:pt x="1606" y="78"/>
                  <a:pt x="1607" y="77"/>
                  <a:pt x="1608" y="76"/>
                </a:cubicBezTo>
                <a:cubicBezTo>
                  <a:pt x="1608" y="75"/>
                  <a:pt x="1608" y="74"/>
                  <a:pt x="1608" y="73"/>
                </a:cubicBezTo>
                <a:cubicBezTo>
                  <a:pt x="1607" y="72"/>
                  <a:pt x="1606" y="71"/>
                  <a:pt x="1606" y="70"/>
                </a:cubicBezTo>
                <a:cubicBezTo>
                  <a:pt x="1605" y="68"/>
                  <a:pt x="1604" y="66"/>
                  <a:pt x="1601" y="66"/>
                </a:cubicBezTo>
                <a:cubicBezTo>
                  <a:pt x="1599" y="65"/>
                  <a:pt x="1596" y="63"/>
                  <a:pt x="1594" y="62"/>
                </a:cubicBezTo>
                <a:cubicBezTo>
                  <a:pt x="1591" y="61"/>
                  <a:pt x="1588" y="60"/>
                  <a:pt x="1586" y="59"/>
                </a:cubicBezTo>
                <a:cubicBezTo>
                  <a:pt x="1585" y="58"/>
                  <a:pt x="1584" y="58"/>
                  <a:pt x="1582" y="58"/>
                </a:cubicBezTo>
                <a:cubicBezTo>
                  <a:pt x="1582" y="58"/>
                  <a:pt x="1581" y="58"/>
                  <a:pt x="1581" y="58"/>
                </a:cubicBezTo>
                <a:cubicBezTo>
                  <a:pt x="1580" y="61"/>
                  <a:pt x="1578" y="63"/>
                  <a:pt x="1580" y="66"/>
                </a:cubicBezTo>
                <a:cubicBezTo>
                  <a:pt x="1581" y="68"/>
                  <a:pt x="1582" y="70"/>
                  <a:pt x="1583" y="72"/>
                </a:cubicBezTo>
                <a:close/>
                <a:moveTo>
                  <a:pt x="2021" y="844"/>
                </a:moveTo>
                <a:cubicBezTo>
                  <a:pt x="2021" y="845"/>
                  <a:pt x="2021" y="845"/>
                  <a:pt x="2021" y="845"/>
                </a:cubicBezTo>
                <a:cubicBezTo>
                  <a:pt x="2020" y="847"/>
                  <a:pt x="2020" y="849"/>
                  <a:pt x="2019" y="850"/>
                </a:cubicBezTo>
                <a:cubicBezTo>
                  <a:pt x="2018" y="852"/>
                  <a:pt x="2017" y="852"/>
                  <a:pt x="2015" y="854"/>
                </a:cubicBezTo>
                <a:cubicBezTo>
                  <a:pt x="2015" y="854"/>
                  <a:pt x="2014" y="855"/>
                  <a:pt x="2014" y="855"/>
                </a:cubicBezTo>
                <a:cubicBezTo>
                  <a:pt x="2013" y="856"/>
                  <a:pt x="2012" y="857"/>
                  <a:pt x="2012" y="857"/>
                </a:cubicBezTo>
                <a:cubicBezTo>
                  <a:pt x="2011" y="858"/>
                  <a:pt x="2010" y="857"/>
                  <a:pt x="2010" y="857"/>
                </a:cubicBezTo>
                <a:cubicBezTo>
                  <a:pt x="2008" y="855"/>
                  <a:pt x="2006" y="854"/>
                  <a:pt x="2004" y="856"/>
                </a:cubicBezTo>
                <a:cubicBezTo>
                  <a:pt x="2002" y="858"/>
                  <a:pt x="2001" y="859"/>
                  <a:pt x="1999" y="860"/>
                </a:cubicBezTo>
                <a:cubicBezTo>
                  <a:pt x="1997" y="861"/>
                  <a:pt x="1996" y="863"/>
                  <a:pt x="1996" y="865"/>
                </a:cubicBezTo>
                <a:cubicBezTo>
                  <a:pt x="1996" y="865"/>
                  <a:pt x="1996" y="865"/>
                  <a:pt x="1996" y="866"/>
                </a:cubicBezTo>
                <a:cubicBezTo>
                  <a:pt x="1996" y="866"/>
                  <a:pt x="1996" y="867"/>
                  <a:pt x="1997" y="867"/>
                </a:cubicBezTo>
                <a:cubicBezTo>
                  <a:pt x="1997" y="867"/>
                  <a:pt x="1998" y="867"/>
                  <a:pt x="1998" y="867"/>
                </a:cubicBezTo>
                <a:cubicBezTo>
                  <a:pt x="1999" y="866"/>
                  <a:pt x="2000" y="865"/>
                  <a:pt x="2001" y="864"/>
                </a:cubicBezTo>
                <a:cubicBezTo>
                  <a:pt x="2003" y="865"/>
                  <a:pt x="2006" y="865"/>
                  <a:pt x="2008" y="864"/>
                </a:cubicBezTo>
                <a:cubicBezTo>
                  <a:pt x="2009" y="864"/>
                  <a:pt x="2011" y="865"/>
                  <a:pt x="2011" y="866"/>
                </a:cubicBezTo>
                <a:cubicBezTo>
                  <a:pt x="2011" y="867"/>
                  <a:pt x="2011" y="868"/>
                  <a:pt x="2011" y="869"/>
                </a:cubicBezTo>
                <a:cubicBezTo>
                  <a:pt x="2011" y="873"/>
                  <a:pt x="2013" y="876"/>
                  <a:pt x="2017" y="877"/>
                </a:cubicBezTo>
                <a:cubicBezTo>
                  <a:pt x="2018" y="877"/>
                  <a:pt x="2020" y="878"/>
                  <a:pt x="2021" y="878"/>
                </a:cubicBezTo>
                <a:cubicBezTo>
                  <a:pt x="2022" y="878"/>
                  <a:pt x="2023" y="877"/>
                  <a:pt x="2023" y="877"/>
                </a:cubicBezTo>
                <a:cubicBezTo>
                  <a:pt x="2024" y="876"/>
                  <a:pt x="2024" y="875"/>
                  <a:pt x="2024" y="873"/>
                </a:cubicBezTo>
                <a:cubicBezTo>
                  <a:pt x="2024" y="872"/>
                  <a:pt x="2022" y="870"/>
                  <a:pt x="2023" y="868"/>
                </a:cubicBezTo>
                <a:cubicBezTo>
                  <a:pt x="2023" y="868"/>
                  <a:pt x="2024" y="868"/>
                  <a:pt x="2024" y="868"/>
                </a:cubicBezTo>
                <a:cubicBezTo>
                  <a:pt x="2025" y="868"/>
                  <a:pt x="2025" y="868"/>
                  <a:pt x="2026" y="869"/>
                </a:cubicBezTo>
                <a:cubicBezTo>
                  <a:pt x="2027" y="870"/>
                  <a:pt x="2027" y="870"/>
                  <a:pt x="2028" y="869"/>
                </a:cubicBezTo>
                <a:cubicBezTo>
                  <a:pt x="2030" y="868"/>
                  <a:pt x="2031" y="866"/>
                  <a:pt x="2030" y="863"/>
                </a:cubicBezTo>
                <a:cubicBezTo>
                  <a:pt x="2029" y="860"/>
                  <a:pt x="2028" y="857"/>
                  <a:pt x="2028" y="855"/>
                </a:cubicBezTo>
                <a:cubicBezTo>
                  <a:pt x="2027" y="853"/>
                  <a:pt x="2027" y="851"/>
                  <a:pt x="2026" y="850"/>
                </a:cubicBezTo>
                <a:cubicBezTo>
                  <a:pt x="2024" y="849"/>
                  <a:pt x="2023" y="847"/>
                  <a:pt x="2022" y="845"/>
                </a:cubicBezTo>
                <a:cubicBezTo>
                  <a:pt x="2022" y="844"/>
                  <a:pt x="2022" y="844"/>
                  <a:pt x="2021" y="844"/>
                </a:cubicBezTo>
                <a:close/>
                <a:moveTo>
                  <a:pt x="587" y="785"/>
                </a:moveTo>
                <a:cubicBezTo>
                  <a:pt x="589" y="785"/>
                  <a:pt x="591" y="785"/>
                  <a:pt x="592" y="785"/>
                </a:cubicBezTo>
                <a:cubicBezTo>
                  <a:pt x="594" y="785"/>
                  <a:pt x="596" y="785"/>
                  <a:pt x="598" y="785"/>
                </a:cubicBezTo>
                <a:cubicBezTo>
                  <a:pt x="600" y="786"/>
                  <a:pt x="601" y="788"/>
                  <a:pt x="603" y="788"/>
                </a:cubicBezTo>
                <a:cubicBezTo>
                  <a:pt x="603" y="789"/>
                  <a:pt x="604" y="788"/>
                  <a:pt x="604" y="788"/>
                </a:cubicBezTo>
                <a:cubicBezTo>
                  <a:pt x="605" y="788"/>
                  <a:pt x="605" y="788"/>
                  <a:pt x="605" y="787"/>
                </a:cubicBezTo>
                <a:cubicBezTo>
                  <a:pt x="607" y="785"/>
                  <a:pt x="609" y="784"/>
                  <a:pt x="611" y="784"/>
                </a:cubicBezTo>
                <a:cubicBezTo>
                  <a:pt x="612" y="785"/>
                  <a:pt x="613" y="784"/>
                  <a:pt x="614" y="784"/>
                </a:cubicBezTo>
                <a:cubicBezTo>
                  <a:pt x="617" y="782"/>
                  <a:pt x="621" y="783"/>
                  <a:pt x="624" y="783"/>
                </a:cubicBezTo>
                <a:cubicBezTo>
                  <a:pt x="625" y="783"/>
                  <a:pt x="625" y="783"/>
                  <a:pt x="626" y="783"/>
                </a:cubicBezTo>
                <a:cubicBezTo>
                  <a:pt x="626" y="783"/>
                  <a:pt x="627" y="782"/>
                  <a:pt x="627" y="781"/>
                </a:cubicBezTo>
                <a:cubicBezTo>
                  <a:pt x="627" y="781"/>
                  <a:pt x="627" y="780"/>
                  <a:pt x="627" y="780"/>
                </a:cubicBezTo>
                <a:cubicBezTo>
                  <a:pt x="623" y="778"/>
                  <a:pt x="620" y="775"/>
                  <a:pt x="617" y="773"/>
                </a:cubicBezTo>
                <a:cubicBezTo>
                  <a:pt x="617" y="772"/>
                  <a:pt x="615" y="772"/>
                  <a:pt x="614" y="772"/>
                </a:cubicBezTo>
                <a:cubicBezTo>
                  <a:pt x="610" y="771"/>
                  <a:pt x="606" y="770"/>
                  <a:pt x="602" y="771"/>
                </a:cubicBezTo>
                <a:cubicBezTo>
                  <a:pt x="601" y="772"/>
                  <a:pt x="600" y="771"/>
                  <a:pt x="598" y="770"/>
                </a:cubicBezTo>
                <a:cubicBezTo>
                  <a:pt x="598" y="770"/>
                  <a:pt x="597" y="770"/>
                  <a:pt x="597" y="769"/>
                </a:cubicBezTo>
                <a:cubicBezTo>
                  <a:pt x="596" y="769"/>
                  <a:pt x="594" y="770"/>
                  <a:pt x="593" y="771"/>
                </a:cubicBezTo>
                <a:cubicBezTo>
                  <a:pt x="593" y="772"/>
                  <a:pt x="593" y="773"/>
                  <a:pt x="594" y="773"/>
                </a:cubicBezTo>
                <a:cubicBezTo>
                  <a:pt x="596" y="775"/>
                  <a:pt x="595" y="777"/>
                  <a:pt x="596" y="779"/>
                </a:cubicBezTo>
                <a:cubicBezTo>
                  <a:pt x="596" y="780"/>
                  <a:pt x="596" y="780"/>
                  <a:pt x="594" y="779"/>
                </a:cubicBezTo>
                <a:cubicBezTo>
                  <a:pt x="593" y="779"/>
                  <a:pt x="592" y="780"/>
                  <a:pt x="591" y="780"/>
                </a:cubicBezTo>
                <a:cubicBezTo>
                  <a:pt x="589" y="781"/>
                  <a:pt x="587" y="781"/>
                  <a:pt x="585" y="781"/>
                </a:cubicBezTo>
                <a:cubicBezTo>
                  <a:pt x="584" y="781"/>
                  <a:pt x="584" y="782"/>
                  <a:pt x="584" y="782"/>
                </a:cubicBezTo>
                <a:cubicBezTo>
                  <a:pt x="584" y="784"/>
                  <a:pt x="586" y="785"/>
                  <a:pt x="587" y="785"/>
                </a:cubicBezTo>
                <a:close/>
                <a:moveTo>
                  <a:pt x="678" y="202"/>
                </a:moveTo>
                <a:cubicBezTo>
                  <a:pt x="679" y="204"/>
                  <a:pt x="679" y="206"/>
                  <a:pt x="678" y="208"/>
                </a:cubicBezTo>
                <a:cubicBezTo>
                  <a:pt x="677" y="211"/>
                  <a:pt x="681" y="214"/>
                  <a:pt x="684" y="214"/>
                </a:cubicBezTo>
                <a:cubicBezTo>
                  <a:pt x="685" y="214"/>
                  <a:pt x="687" y="213"/>
                  <a:pt x="689" y="213"/>
                </a:cubicBezTo>
                <a:cubicBezTo>
                  <a:pt x="690" y="213"/>
                  <a:pt x="691" y="213"/>
                  <a:pt x="692" y="214"/>
                </a:cubicBezTo>
                <a:cubicBezTo>
                  <a:pt x="694" y="215"/>
                  <a:pt x="696" y="215"/>
                  <a:pt x="698" y="215"/>
                </a:cubicBezTo>
                <a:cubicBezTo>
                  <a:pt x="699" y="215"/>
                  <a:pt x="700" y="214"/>
                  <a:pt x="700" y="213"/>
                </a:cubicBezTo>
                <a:cubicBezTo>
                  <a:pt x="700" y="210"/>
                  <a:pt x="700" y="207"/>
                  <a:pt x="699" y="204"/>
                </a:cubicBezTo>
                <a:cubicBezTo>
                  <a:pt x="698" y="200"/>
                  <a:pt x="696" y="198"/>
                  <a:pt x="692" y="197"/>
                </a:cubicBezTo>
                <a:cubicBezTo>
                  <a:pt x="689" y="197"/>
                  <a:pt x="686" y="196"/>
                  <a:pt x="683" y="194"/>
                </a:cubicBezTo>
                <a:cubicBezTo>
                  <a:pt x="682" y="194"/>
                  <a:pt x="681" y="194"/>
                  <a:pt x="680" y="195"/>
                </a:cubicBezTo>
                <a:cubicBezTo>
                  <a:pt x="680" y="196"/>
                  <a:pt x="679" y="197"/>
                  <a:pt x="678" y="199"/>
                </a:cubicBezTo>
                <a:cubicBezTo>
                  <a:pt x="678" y="200"/>
                  <a:pt x="678" y="201"/>
                  <a:pt x="678" y="202"/>
                </a:cubicBezTo>
                <a:close/>
                <a:moveTo>
                  <a:pt x="678" y="199"/>
                </a:moveTo>
                <a:cubicBezTo>
                  <a:pt x="678" y="199"/>
                  <a:pt x="678" y="199"/>
                  <a:pt x="678" y="199"/>
                </a:cubicBezTo>
                <a:cubicBezTo>
                  <a:pt x="678" y="199"/>
                  <a:pt x="678" y="199"/>
                  <a:pt x="678" y="199"/>
                </a:cubicBezTo>
                <a:cubicBezTo>
                  <a:pt x="678" y="199"/>
                  <a:pt x="678" y="199"/>
                  <a:pt x="678" y="199"/>
                </a:cubicBezTo>
                <a:cubicBezTo>
                  <a:pt x="678" y="199"/>
                  <a:pt x="678" y="199"/>
                  <a:pt x="678" y="199"/>
                </a:cubicBezTo>
                <a:close/>
                <a:moveTo>
                  <a:pt x="1694" y="848"/>
                </a:moveTo>
                <a:cubicBezTo>
                  <a:pt x="1694" y="848"/>
                  <a:pt x="1693" y="848"/>
                  <a:pt x="1692" y="847"/>
                </a:cubicBezTo>
                <a:cubicBezTo>
                  <a:pt x="1692" y="847"/>
                  <a:pt x="1691" y="848"/>
                  <a:pt x="1691" y="848"/>
                </a:cubicBezTo>
                <a:cubicBezTo>
                  <a:pt x="1691" y="849"/>
                  <a:pt x="1692" y="850"/>
                  <a:pt x="1692" y="851"/>
                </a:cubicBezTo>
                <a:cubicBezTo>
                  <a:pt x="1689" y="854"/>
                  <a:pt x="1690" y="858"/>
                  <a:pt x="1689" y="861"/>
                </a:cubicBezTo>
                <a:cubicBezTo>
                  <a:pt x="1689" y="866"/>
                  <a:pt x="1690" y="870"/>
                  <a:pt x="1692" y="874"/>
                </a:cubicBezTo>
                <a:cubicBezTo>
                  <a:pt x="1693" y="876"/>
                  <a:pt x="1695" y="877"/>
                  <a:pt x="1697" y="877"/>
                </a:cubicBezTo>
                <a:cubicBezTo>
                  <a:pt x="1703" y="876"/>
                  <a:pt x="1707" y="870"/>
                  <a:pt x="1705" y="864"/>
                </a:cubicBezTo>
                <a:cubicBezTo>
                  <a:pt x="1703" y="858"/>
                  <a:pt x="1699" y="853"/>
                  <a:pt x="1694" y="848"/>
                </a:cubicBezTo>
                <a:close/>
                <a:moveTo>
                  <a:pt x="640" y="95"/>
                </a:moveTo>
                <a:cubicBezTo>
                  <a:pt x="640" y="97"/>
                  <a:pt x="641" y="97"/>
                  <a:pt x="642" y="97"/>
                </a:cubicBezTo>
                <a:cubicBezTo>
                  <a:pt x="645" y="98"/>
                  <a:pt x="648" y="98"/>
                  <a:pt x="652" y="98"/>
                </a:cubicBezTo>
                <a:cubicBezTo>
                  <a:pt x="652" y="98"/>
                  <a:pt x="653" y="97"/>
                  <a:pt x="654" y="96"/>
                </a:cubicBezTo>
                <a:cubicBezTo>
                  <a:pt x="654" y="95"/>
                  <a:pt x="654" y="93"/>
                  <a:pt x="656" y="92"/>
                </a:cubicBezTo>
                <a:cubicBezTo>
                  <a:pt x="656" y="92"/>
                  <a:pt x="656" y="92"/>
                  <a:pt x="656" y="92"/>
                </a:cubicBezTo>
                <a:cubicBezTo>
                  <a:pt x="656" y="92"/>
                  <a:pt x="656" y="92"/>
                  <a:pt x="656" y="92"/>
                </a:cubicBezTo>
                <a:cubicBezTo>
                  <a:pt x="655" y="92"/>
                  <a:pt x="655" y="92"/>
                  <a:pt x="655" y="92"/>
                </a:cubicBezTo>
                <a:cubicBezTo>
                  <a:pt x="657" y="90"/>
                  <a:pt x="657" y="87"/>
                  <a:pt x="656" y="85"/>
                </a:cubicBezTo>
                <a:cubicBezTo>
                  <a:pt x="654" y="83"/>
                  <a:pt x="653" y="80"/>
                  <a:pt x="651" y="78"/>
                </a:cubicBezTo>
                <a:cubicBezTo>
                  <a:pt x="651" y="77"/>
                  <a:pt x="651" y="76"/>
                  <a:pt x="650" y="75"/>
                </a:cubicBezTo>
                <a:cubicBezTo>
                  <a:pt x="649" y="74"/>
                  <a:pt x="647" y="74"/>
                  <a:pt x="646" y="75"/>
                </a:cubicBezTo>
                <a:cubicBezTo>
                  <a:pt x="643" y="78"/>
                  <a:pt x="641" y="82"/>
                  <a:pt x="641" y="86"/>
                </a:cubicBezTo>
                <a:cubicBezTo>
                  <a:pt x="641" y="88"/>
                  <a:pt x="640" y="89"/>
                  <a:pt x="639" y="91"/>
                </a:cubicBezTo>
                <a:cubicBezTo>
                  <a:pt x="639" y="92"/>
                  <a:pt x="640" y="94"/>
                  <a:pt x="640" y="95"/>
                </a:cubicBezTo>
                <a:close/>
                <a:moveTo>
                  <a:pt x="1321" y="93"/>
                </a:moveTo>
                <a:cubicBezTo>
                  <a:pt x="1319" y="93"/>
                  <a:pt x="1318" y="95"/>
                  <a:pt x="1318" y="97"/>
                </a:cubicBezTo>
                <a:cubicBezTo>
                  <a:pt x="1320" y="98"/>
                  <a:pt x="1320" y="98"/>
                  <a:pt x="1320" y="99"/>
                </a:cubicBezTo>
                <a:cubicBezTo>
                  <a:pt x="1320" y="100"/>
                  <a:pt x="1320" y="101"/>
                  <a:pt x="1320" y="102"/>
                </a:cubicBezTo>
                <a:cubicBezTo>
                  <a:pt x="1320" y="104"/>
                  <a:pt x="1321" y="106"/>
                  <a:pt x="1323" y="106"/>
                </a:cubicBezTo>
                <a:cubicBezTo>
                  <a:pt x="1324" y="106"/>
                  <a:pt x="1325" y="107"/>
                  <a:pt x="1326" y="107"/>
                </a:cubicBezTo>
                <a:cubicBezTo>
                  <a:pt x="1327" y="107"/>
                  <a:pt x="1328" y="106"/>
                  <a:pt x="1329" y="105"/>
                </a:cubicBezTo>
                <a:cubicBezTo>
                  <a:pt x="1330" y="104"/>
                  <a:pt x="1330" y="103"/>
                  <a:pt x="1331" y="101"/>
                </a:cubicBezTo>
                <a:cubicBezTo>
                  <a:pt x="1331" y="100"/>
                  <a:pt x="1331" y="99"/>
                  <a:pt x="1332" y="98"/>
                </a:cubicBezTo>
                <a:cubicBezTo>
                  <a:pt x="1334" y="97"/>
                  <a:pt x="1334" y="94"/>
                  <a:pt x="1336" y="92"/>
                </a:cubicBezTo>
                <a:cubicBezTo>
                  <a:pt x="1338" y="91"/>
                  <a:pt x="1338" y="89"/>
                  <a:pt x="1337" y="88"/>
                </a:cubicBezTo>
                <a:cubicBezTo>
                  <a:pt x="1336" y="86"/>
                  <a:pt x="1334" y="85"/>
                  <a:pt x="1333" y="83"/>
                </a:cubicBezTo>
                <a:cubicBezTo>
                  <a:pt x="1333" y="83"/>
                  <a:pt x="1332" y="83"/>
                  <a:pt x="1331" y="83"/>
                </a:cubicBezTo>
                <a:cubicBezTo>
                  <a:pt x="1329" y="84"/>
                  <a:pt x="1328" y="84"/>
                  <a:pt x="1328" y="87"/>
                </a:cubicBezTo>
                <a:cubicBezTo>
                  <a:pt x="1328" y="89"/>
                  <a:pt x="1327" y="91"/>
                  <a:pt x="1325" y="92"/>
                </a:cubicBezTo>
                <a:cubicBezTo>
                  <a:pt x="1325" y="92"/>
                  <a:pt x="1325" y="92"/>
                  <a:pt x="1325" y="92"/>
                </a:cubicBezTo>
                <a:cubicBezTo>
                  <a:pt x="1325" y="92"/>
                  <a:pt x="1325" y="92"/>
                  <a:pt x="1325" y="92"/>
                </a:cubicBezTo>
                <a:cubicBezTo>
                  <a:pt x="1325" y="92"/>
                  <a:pt x="1325" y="92"/>
                  <a:pt x="1325" y="92"/>
                </a:cubicBezTo>
                <a:cubicBezTo>
                  <a:pt x="1324" y="93"/>
                  <a:pt x="1323" y="93"/>
                  <a:pt x="1321" y="93"/>
                </a:cubicBezTo>
                <a:close/>
                <a:moveTo>
                  <a:pt x="1980" y="721"/>
                </a:moveTo>
                <a:cubicBezTo>
                  <a:pt x="1979" y="720"/>
                  <a:pt x="1979" y="720"/>
                  <a:pt x="1978" y="721"/>
                </a:cubicBezTo>
                <a:cubicBezTo>
                  <a:pt x="1977" y="722"/>
                  <a:pt x="1976" y="723"/>
                  <a:pt x="1975" y="724"/>
                </a:cubicBezTo>
                <a:cubicBezTo>
                  <a:pt x="1974" y="726"/>
                  <a:pt x="1973" y="728"/>
                  <a:pt x="1972" y="730"/>
                </a:cubicBezTo>
                <a:cubicBezTo>
                  <a:pt x="1971" y="732"/>
                  <a:pt x="1971" y="734"/>
                  <a:pt x="1971" y="737"/>
                </a:cubicBezTo>
                <a:cubicBezTo>
                  <a:pt x="1971" y="741"/>
                  <a:pt x="1971" y="744"/>
                  <a:pt x="1975" y="747"/>
                </a:cubicBezTo>
                <a:cubicBezTo>
                  <a:pt x="1976" y="748"/>
                  <a:pt x="1976" y="749"/>
                  <a:pt x="1977" y="749"/>
                </a:cubicBezTo>
                <a:cubicBezTo>
                  <a:pt x="1978" y="750"/>
                  <a:pt x="1978" y="750"/>
                  <a:pt x="1979" y="749"/>
                </a:cubicBezTo>
                <a:cubicBezTo>
                  <a:pt x="1979" y="748"/>
                  <a:pt x="1979" y="746"/>
                  <a:pt x="1980" y="745"/>
                </a:cubicBezTo>
                <a:cubicBezTo>
                  <a:pt x="1982" y="741"/>
                  <a:pt x="1982" y="738"/>
                  <a:pt x="1982" y="734"/>
                </a:cubicBezTo>
                <a:cubicBezTo>
                  <a:pt x="1982" y="731"/>
                  <a:pt x="1983" y="728"/>
                  <a:pt x="1983" y="725"/>
                </a:cubicBezTo>
                <a:cubicBezTo>
                  <a:pt x="1983" y="723"/>
                  <a:pt x="1982" y="721"/>
                  <a:pt x="1980" y="721"/>
                </a:cubicBezTo>
                <a:close/>
                <a:moveTo>
                  <a:pt x="1351" y="80"/>
                </a:moveTo>
                <a:cubicBezTo>
                  <a:pt x="1352" y="80"/>
                  <a:pt x="1352" y="81"/>
                  <a:pt x="1353" y="81"/>
                </a:cubicBezTo>
                <a:cubicBezTo>
                  <a:pt x="1353" y="81"/>
                  <a:pt x="1353" y="81"/>
                  <a:pt x="1353" y="81"/>
                </a:cubicBezTo>
                <a:cubicBezTo>
                  <a:pt x="1353" y="81"/>
                  <a:pt x="1353" y="81"/>
                  <a:pt x="1353" y="81"/>
                </a:cubicBezTo>
                <a:cubicBezTo>
                  <a:pt x="1353" y="81"/>
                  <a:pt x="1353" y="81"/>
                  <a:pt x="1353" y="81"/>
                </a:cubicBezTo>
                <a:cubicBezTo>
                  <a:pt x="1353" y="81"/>
                  <a:pt x="1353" y="81"/>
                  <a:pt x="1353" y="81"/>
                </a:cubicBezTo>
                <a:cubicBezTo>
                  <a:pt x="1352" y="81"/>
                  <a:pt x="1351" y="82"/>
                  <a:pt x="1350" y="82"/>
                </a:cubicBezTo>
                <a:cubicBezTo>
                  <a:pt x="1349" y="82"/>
                  <a:pt x="1349" y="83"/>
                  <a:pt x="1349" y="84"/>
                </a:cubicBezTo>
                <a:cubicBezTo>
                  <a:pt x="1349" y="84"/>
                  <a:pt x="1349" y="85"/>
                  <a:pt x="1350" y="85"/>
                </a:cubicBezTo>
                <a:cubicBezTo>
                  <a:pt x="1352" y="86"/>
                  <a:pt x="1355" y="86"/>
                  <a:pt x="1357" y="87"/>
                </a:cubicBezTo>
                <a:cubicBezTo>
                  <a:pt x="1358" y="88"/>
                  <a:pt x="1359" y="87"/>
                  <a:pt x="1360" y="87"/>
                </a:cubicBezTo>
                <a:cubicBezTo>
                  <a:pt x="1360" y="87"/>
                  <a:pt x="1361" y="87"/>
                  <a:pt x="1361" y="86"/>
                </a:cubicBezTo>
                <a:cubicBezTo>
                  <a:pt x="1362" y="83"/>
                  <a:pt x="1364" y="82"/>
                  <a:pt x="1366" y="80"/>
                </a:cubicBezTo>
                <a:cubicBezTo>
                  <a:pt x="1367" y="79"/>
                  <a:pt x="1367" y="78"/>
                  <a:pt x="1366" y="77"/>
                </a:cubicBezTo>
                <a:cubicBezTo>
                  <a:pt x="1366" y="77"/>
                  <a:pt x="1365" y="76"/>
                  <a:pt x="1365" y="76"/>
                </a:cubicBezTo>
                <a:cubicBezTo>
                  <a:pt x="1365" y="76"/>
                  <a:pt x="1365" y="76"/>
                  <a:pt x="1365" y="76"/>
                </a:cubicBezTo>
                <a:cubicBezTo>
                  <a:pt x="1365" y="76"/>
                  <a:pt x="1365" y="76"/>
                  <a:pt x="1365" y="76"/>
                </a:cubicBezTo>
                <a:cubicBezTo>
                  <a:pt x="1365" y="76"/>
                  <a:pt x="1365" y="76"/>
                  <a:pt x="1365" y="76"/>
                </a:cubicBezTo>
                <a:cubicBezTo>
                  <a:pt x="1365" y="77"/>
                  <a:pt x="1364" y="76"/>
                  <a:pt x="1364" y="76"/>
                </a:cubicBezTo>
                <a:cubicBezTo>
                  <a:pt x="1364" y="76"/>
                  <a:pt x="1363" y="76"/>
                  <a:pt x="1363" y="76"/>
                </a:cubicBezTo>
                <a:cubicBezTo>
                  <a:pt x="1363" y="76"/>
                  <a:pt x="1363" y="76"/>
                  <a:pt x="1363" y="76"/>
                </a:cubicBezTo>
                <a:cubicBezTo>
                  <a:pt x="1364" y="76"/>
                  <a:pt x="1364" y="76"/>
                  <a:pt x="1364" y="76"/>
                </a:cubicBezTo>
                <a:cubicBezTo>
                  <a:pt x="1363" y="76"/>
                  <a:pt x="1361" y="75"/>
                  <a:pt x="1360" y="75"/>
                </a:cubicBezTo>
                <a:cubicBezTo>
                  <a:pt x="1360" y="74"/>
                  <a:pt x="1359" y="74"/>
                  <a:pt x="1360" y="73"/>
                </a:cubicBezTo>
                <a:cubicBezTo>
                  <a:pt x="1360" y="70"/>
                  <a:pt x="1357" y="67"/>
                  <a:pt x="1359" y="63"/>
                </a:cubicBezTo>
                <a:cubicBezTo>
                  <a:pt x="1359" y="63"/>
                  <a:pt x="1359" y="62"/>
                  <a:pt x="1358" y="62"/>
                </a:cubicBezTo>
                <a:cubicBezTo>
                  <a:pt x="1356" y="60"/>
                  <a:pt x="1353" y="61"/>
                  <a:pt x="1353" y="64"/>
                </a:cubicBezTo>
                <a:cubicBezTo>
                  <a:pt x="1353" y="67"/>
                  <a:pt x="1353" y="70"/>
                  <a:pt x="1351" y="72"/>
                </a:cubicBezTo>
                <a:cubicBezTo>
                  <a:pt x="1350" y="73"/>
                  <a:pt x="1351" y="74"/>
                  <a:pt x="1352" y="74"/>
                </a:cubicBezTo>
                <a:cubicBezTo>
                  <a:pt x="1352" y="75"/>
                  <a:pt x="1352" y="75"/>
                  <a:pt x="1353" y="75"/>
                </a:cubicBezTo>
                <a:cubicBezTo>
                  <a:pt x="1353" y="75"/>
                  <a:pt x="1352" y="76"/>
                  <a:pt x="1352" y="76"/>
                </a:cubicBezTo>
                <a:cubicBezTo>
                  <a:pt x="1350" y="76"/>
                  <a:pt x="1348" y="76"/>
                  <a:pt x="1348" y="77"/>
                </a:cubicBezTo>
                <a:cubicBezTo>
                  <a:pt x="1348" y="80"/>
                  <a:pt x="1350" y="80"/>
                  <a:pt x="1351" y="80"/>
                </a:cubicBezTo>
                <a:close/>
                <a:moveTo>
                  <a:pt x="1358" y="78"/>
                </a:moveTo>
                <a:cubicBezTo>
                  <a:pt x="1358" y="78"/>
                  <a:pt x="1358" y="78"/>
                  <a:pt x="1358" y="78"/>
                </a:cubicBezTo>
                <a:cubicBezTo>
                  <a:pt x="1358" y="78"/>
                  <a:pt x="1358" y="78"/>
                  <a:pt x="1358" y="78"/>
                </a:cubicBezTo>
                <a:cubicBezTo>
                  <a:pt x="1358" y="77"/>
                  <a:pt x="1358" y="77"/>
                  <a:pt x="1358" y="77"/>
                </a:cubicBezTo>
                <a:lnTo>
                  <a:pt x="1358" y="78"/>
                </a:lnTo>
                <a:close/>
                <a:moveTo>
                  <a:pt x="611" y="149"/>
                </a:moveTo>
                <a:cubicBezTo>
                  <a:pt x="610" y="151"/>
                  <a:pt x="609" y="153"/>
                  <a:pt x="611" y="155"/>
                </a:cubicBezTo>
                <a:cubicBezTo>
                  <a:pt x="613" y="157"/>
                  <a:pt x="615" y="159"/>
                  <a:pt x="618" y="160"/>
                </a:cubicBezTo>
                <a:cubicBezTo>
                  <a:pt x="618" y="161"/>
                  <a:pt x="619" y="161"/>
                  <a:pt x="619" y="161"/>
                </a:cubicBezTo>
                <a:cubicBezTo>
                  <a:pt x="621" y="162"/>
                  <a:pt x="623" y="161"/>
                  <a:pt x="624" y="160"/>
                </a:cubicBezTo>
                <a:cubicBezTo>
                  <a:pt x="624" y="157"/>
                  <a:pt x="625" y="155"/>
                  <a:pt x="626" y="153"/>
                </a:cubicBezTo>
                <a:cubicBezTo>
                  <a:pt x="626" y="152"/>
                  <a:pt x="626" y="151"/>
                  <a:pt x="626" y="150"/>
                </a:cubicBezTo>
                <a:cubicBezTo>
                  <a:pt x="626" y="147"/>
                  <a:pt x="625" y="145"/>
                  <a:pt x="624" y="143"/>
                </a:cubicBezTo>
                <a:cubicBezTo>
                  <a:pt x="623" y="142"/>
                  <a:pt x="621" y="142"/>
                  <a:pt x="620" y="143"/>
                </a:cubicBezTo>
                <a:cubicBezTo>
                  <a:pt x="619" y="143"/>
                  <a:pt x="618" y="143"/>
                  <a:pt x="617" y="143"/>
                </a:cubicBezTo>
                <a:cubicBezTo>
                  <a:pt x="616" y="145"/>
                  <a:pt x="613" y="147"/>
                  <a:pt x="611" y="149"/>
                </a:cubicBezTo>
                <a:close/>
                <a:moveTo>
                  <a:pt x="617" y="143"/>
                </a:moveTo>
                <a:cubicBezTo>
                  <a:pt x="617" y="143"/>
                  <a:pt x="617" y="142"/>
                  <a:pt x="617" y="142"/>
                </a:cubicBezTo>
                <a:cubicBezTo>
                  <a:pt x="617" y="142"/>
                  <a:pt x="617" y="142"/>
                  <a:pt x="617" y="142"/>
                </a:cubicBezTo>
                <a:cubicBezTo>
                  <a:pt x="617" y="143"/>
                  <a:pt x="617" y="143"/>
                  <a:pt x="617" y="143"/>
                </a:cubicBezTo>
                <a:cubicBezTo>
                  <a:pt x="617" y="143"/>
                  <a:pt x="617" y="143"/>
                  <a:pt x="617" y="143"/>
                </a:cubicBezTo>
                <a:close/>
                <a:moveTo>
                  <a:pt x="1860" y="64"/>
                </a:moveTo>
                <a:cubicBezTo>
                  <a:pt x="1865" y="66"/>
                  <a:pt x="1869" y="67"/>
                  <a:pt x="1874" y="67"/>
                </a:cubicBezTo>
                <a:cubicBezTo>
                  <a:pt x="1875" y="67"/>
                  <a:pt x="1876" y="67"/>
                  <a:pt x="1877" y="67"/>
                </a:cubicBezTo>
                <a:cubicBezTo>
                  <a:pt x="1880" y="66"/>
                  <a:pt x="1881" y="65"/>
                  <a:pt x="1882" y="62"/>
                </a:cubicBezTo>
                <a:cubicBezTo>
                  <a:pt x="1882" y="61"/>
                  <a:pt x="1882" y="60"/>
                  <a:pt x="1882" y="60"/>
                </a:cubicBezTo>
                <a:cubicBezTo>
                  <a:pt x="1881" y="57"/>
                  <a:pt x="1879" y="56"/>
                  <a:pt x="1876" y="56"/>
                </a:cubicBezTo>
                <a:cubicBezTo>
                  <a:pt x="1874" y="56"/>
                  <a:pt x="1872" y="57"/>
                  <a:pt x="1870" y="57"/>
                </a:cubicBezTo>
                <a:cubicBezTo>
                  <a:pt x="1868" y="57"/>
                  <a:pt x="1865" y="57"/>
                  <a:pt x="1863" y="57"/>
                </a:cubicBezTo>
                <a:cubicBezTo>
                  <a:pt x="1863" y="57"/>
                  <a:pt x="1862" y="57"/>
                  <a:pt x="1861" y="57"/>
                </a:cubicBezTo>
                <a:cubicBezTo>
                  <a:pt x="1860" y="58"/>
                  <a:pt x="1859" y="58"/>
                  <a:pt x="1857" y="58"/>
                </a:cubicBezTo>
                <a:cubicBezTo>
                  <a:pt x="1857" y="58"/>
                  <a:pt x="1856" y="59"/>
                  <a:pt x="1856" y="60"/>
                </a:cubicBezTo>
                <a:cubicBezTo>
                  <a:pt x="1857" y="61"/>
                  <a:pt x="1859" y="63"/>
                  <a:pt x="1860" y="64"/>
                </a:cubicBezTo>
                <a:close/>
                <a:moveTo>
                  <a:pt x="2216" y="952"/>
                </a:moveTo>
                <a:cubicBezTo>
                  <a:pt x="2214" y="952"/>
                  <a:pt x="2212" y="952"/>
                  <a:pt x="2212" y="955"/>
                </a:cubicBezTo>
                <a:cubicBezTo>
                  <a:pt x="2211" y="958"/>
                  <a:pt x="2208" y="960"/>
                  <a:pt x="2206" y="961"/>
                </a:cubicBezTo>
                <a:cubicBezTo>
                  <a:pt x="2204" y="961"/>
                  <a:pt x="2202" y="961"/>
                  <a:pt x="2201" y="960"/>
                </a:cubicBezTo>
                <a:cubicBezTo>
                  <a:pt x="2201" y="959"/>
                  <a:pt x="2201" y="959"/>
                  <a:pt x="2201" y="959"/>
                </a:cubicBezTo>
                <a:cubicBezTo>
                  <a:pt x="2201" y="959"/>
                  <a:pt x="2201" y="959"/>
                  <a:pt x="2201" y="959"/>
                </a:cubicBezTo>
                <a:cubicBezTo>
                  <a:pt x="2201" y="960"/>
                  <a:pt x="2201" y="960"/>
                  <a:pt x="2201" y="960"/>
                </a:cubicBezTo>
                <a:cubicBezTo>
                  <a:pt x="2198" y="960"/>
                  <a:pt x="2196" y="961"/>
                  <a:pt x="2193" y="961"/>
                </a:cubicBezTo>
                <a:cubicBezTo>
                  <a:pt x="2192" y="961"/>
                  <a:pt x="2192" y="961"/>
                  <a:pt x="2191" y="961"/>
                </a:cubicBezTo>
                <a:cubicBezTo>
                  <a:pt x="2190" y="961"/>
                  <a:pt x="2190" y="961"/>
                  <a:pt x="2189" y="961"/>
                </a:cubicBezTo>
                <a:cubicBezTo>
                  <a:pt x="2189" y="961"/>
                  <a:pt x="2188" y="962"/>
                  <a:pt x="2188" y="962"/>
                </a:cubicBezTo>
                <a:cubicBezTo>
                  <a:pt x="2188" y="963"/>
                  <a:pt x="2188" y="964"/>
                  <a:pt x="2188" y="964"/>
                </a:cubicBezTo>
                <a:cubicBezTo>
                  <a:pt x="2194" y="968"/>
                  <a:pt x="2200" y="969"/>
                  <a:pt x="2206" y="968"/>
                </a:cubicBezTo>
                <a:cubicBezTo>
                  <a:pt x="2207" y="968"/>
                  <a:pt x="2207" y="967"/>
                  <a:pt x="2208" y="967"/>
                </a:cubicBezTo>
                <a:cubicBezTo>
                  <a:pt x="2211" y="966"/>
                  <a:pt x="2212" y="963"/>
                  <a:pt x="2215" y="962"/>
                </a:cubicBezTo>
                <a:cubicBezTo>
                  <a:pt x="2215" y="962"/>
                  <a:pt x="2216" y="961"/>
                  <a:pt x="2216" y="961"/>
                </a:cubicBezTo>
                <a:cubicBezTo>
                  <a:pt x="2216" y="959"/>
                  <a:pt x="2217" y="958"/>
                  <a:pt x="2218" y="956"/>
                </a:cubicBezTo>
                <a:cubicBezTo>
                  <a:pt x="2219" y="954"/>
                  <a:pt x="2218" y="952"/>
                  <a:pt x="2216" y="952"/>
                </a:cubicBezTo>
                <a:close/>
                <a:moveTo>
                  <a:pt x="570" y="61"/>
                </a:moveTo>
                <a:cubicBezTo>
                  <a:pt x="572" y="62"/>
                  <a:pt x="574" y="63"/>
                  <a:pt x="576" y="65"/>
                </a:cubicBezTo>
                <a:cubicBezTo>
                  <a:pt x="578" y="65"/>
                  <a:pt x="579" y="67"/>
                  <a:pt x="581" y="68"/>
                </a:cubicBezTo>
                <a:cubicBezTo>
                  <a:pt x="584" y="70"/>
                  <a:pt x="589" y="68"/>
                  <a:pt x="589" y="64"/>
                </a:cubicBezTo>
                <a:cubicBezTo>
                  <a:pt x="589" y="63"/>
                  <a:pt x="589" y="62"/>
                  <a:pt x="590" y="61"/>
                </a:cubicBezTo>
                <a:cubicBezTo>
                  <a:pt x="590" y="61"/>
                  <a:pt x="590" y="60"/>
                  <a:pt x="590" y="60"/>
                </a:cubicBezTo>
                <a:cubicBezTo>
                  <a:pt x="590" y="57"/>
                  <a:pt x="588" y="55"/>
                  <a:pt x="586" y="56"/>
                </a:cubicBezTo>
                <a:cubicBezTo>
                  <a:pt x="583" y="56"/>
                  <a:pt x="581" y="57"/>
                  <a:pt x="578" y="57"/>
                </a:cubicBezTo>
                <a:cubicBezTo>
                  <a:pt x="576" y="56"/>
                  <a:pt x="574" y="57"/>
                  <a:pt x="572" y="57"/>
                </a:cubicBezTo>
                <a:cubicBezTo>
                  <a:pt x="571" y="57"/>
                  <a:pt x="570" y="58"/>
                  <a:pt x="570" y="59"/>
                </a:cubicBezTo>
                <a:cubicBezTo>
                  <a:pt x="569" y="59"/>
                  <a:pt x="569" y="60"/>
                  <a:pt x="569" y="60"/>
                </a:cubicBezTo>
                <a:cubicBezTo>
                  <a:pt x="569" y="61"/>
                  <a:pt x="570" y="61"/>
                  <a:pt x="570" y="61"/>
                </a:cubicBezTo>
                <a:close/>
                <a:moveTo>
                  <a:pt x="1850" y="112"/>
                </a:moveTo>
                <a:cubicBezTo>
                  <a:pt x="1851" y="112"/>
                  <a:pt x="1851" y="112"/>
                  <a:pt x="1851" y="112"/>
                </a:cubicBezTo>
                <a:cubicBezTo>
                  <a:pt x="1854" y="110"/>
                  <a:pt x="1856" y="110"/>
                  <a:pt x="1859" y="110"/>
                </a:cubicBezTo>
                <a:cubicBezTo>
                  <a:pt x="1863" y="110"/>
                  <a:pt x="1866" y="109"/>
                  <a:pt x="1869" y="109"/>
                </a:cubicBezTo>
                <a:cubicBezTo>
                  <a:pt x="1870" y="109"/>
                  <a:pt x="1871" y="107"/>
                  <a:pt x="1870" y="106"/>
                </a:cubicBezTo>
                <a:cubicBezTo>
                  <a:pt x="1869" y="103"/>
                  <a:pt x="1867" y="101"/>
                  <a:pt x="1864" y="100"/>
                </a:cubicBezTo>
                <a:cubicBezTo>
                  <a:pt x="1862" y="100"/>
                  <a:pt x="1861" y="99"/>
                  <a:pt x="1860" y="99"/>
                </a:cubicBezTo>
                <a:cubicBezTo>
                  <a:pt x="1858" y="98"/>
                  <a:pt x="1857" y="99"/>
                  <a:pt x="1855" y="99"/>
                </a:cubicBezTo>
                <a:cubicBezTo>
                  <a:pt x="1854" y="99"/>
                  <a:pt x="1852" y="100"/>
                  <a:pt x="1852" y="101"/>
                </a:cubicBezTo>
                <a:cubicBezTo>
                  <a:pt x="1852" y="103"/>
                  <a:pt x="1851" y="105"/>
                  <a:pt x="1851" y="108"/>
                </a:cubicBezTo>
                <a:cubicBezTo>
                  <a:pt x="1851" y="108"/>
                  <a:pt x="1850" y="110"/>
                  <a:pt x="1850" y="111"/>
                </a:cubicBezTo>
                <a:cubicBezTo>
                  <a:pt x="1850" y="112"/>
                  <a:pt x="1850" y="112"/>
                  <a:pt x="1850" y="112"/>
                </a:cubicBezTo>
                <a:close/>
                <a:moveTo>
                  <a:pt x="1909" y="769"/>
                </a:moveTo>
                <a:cubicBezTo>
                  <a:pt x="1910" y="768"/>
                  <a:pt x="1909" y="767"/>
                  <a:pt x="1908" y="767"/>
                </a:cubicBezTo>
                <a:cubicBezTo>
                  <a:pt x="1907" y="766"/>
                  <a:pt x="1906" y="766"/>
                  <a:pt x="1905" y="766"/>
                </a:cubicBezTo>
                <a:cubicBezTo>
                  <a:pt x="1905" y="766"/>
                  <a:pt x="1904" y="766"/>
                  <a:pt x="1904" y="766"/>
                </a:cubicBezTo>
                <a:cubicBezTo>
                  <a:pt x="1900" y="766"/>
                  <a:pt x="1896" y="768"/>
                  <a:pt x="1894" y="771"/>
                </a:cubicBezTo>
                <a:cubicBezTo>
                  <a:pt x="1893" y="771"/>
                  <a:pt x="1893" y="772"/>
                  <a:pt x="1893" y="773"/>
                </a:cubicBezTo>
                <a:cubicBezTo>
                  <a:pt x="1892" y="776"/>
                  <a:pt x="1894" y="779"/>
                  <a:pt x="1897" y="780"/>
                </a:cubicBezTo>
                <a:cubicBezTo>
                  <a:pt x="1900" y="781"/>
                  <a:pt x="1904" y="780"/>
                  <a:pt x="1906" y="777"/>
                </a:cubicBezTo>
                <a:cubicBezTo>
                  <a:pt x="1908" y="775"/>
                  <a:pt x="1909" y="772"/>
                  <a:pt x="1909" y="769"/>
                </a:cubicBezTo>
                <a:close/>
                <a:moveTo>
                  <a:pt x="1166" y="607"/>
                </a:moveTo>
                <a:cubicBezTo>
                  <a:pt x="1167" y="610"/>
                  <a:pt x="1167" y="614"/>
                  <a:pt x="1167" y="617"/>
                </a:cubicBezTo>
                <a:cubicBezTo>
                  <a:pt x="1167" y="622"/>
                  <a:pt x="1170" y="623"/>
                  <a:pt x="1174" y="620"/>
                </a:cubicBezTo>
                <a:cubicBezTo>
                  <a:pt x="1175" y="620"/>
                  <a:pt x="1176" y="619"/>
                  <a:pt x="1176" y="618"/>
                </a:cubicBezTo>
                <a:cubicBezTo>
                  <a:pt x="1176" y="616"/>
                  <a:pt x="1176" y="614"/>
                  <a:pt x="1176" y="612"/>
                </a:cubicBezTo>
                <a:cubicBezTo>
                  <a:pt x="1176" y="612"/>
                  <a:pt x="1176" y="612"/>
                  <a:pt x="1176" y="612"/>
                </a:cubicBezTo>
                <a:cubicBezTo>
                  <a:pt x="1176" y="611"/>
                  <a:pt x="1176" y="610"/>
                  <a:pt x="1176" y="609"/>
                </a:cubicBezTo>
                <a:cubicBezTo>
                  <a:pt x="1176" y="608"/>
                  <a:pt x="1176" y="607"/>
                  <a:pt x="1176" y="606"/>
                </a:cubicBezTo>
                <a:cubicBezTo>
                  <a:pt x="1176" y="604"/>
                  <a:pt x="1173" y="600"/>
                  <a:pt x="1169" y="603"/>
                </a:cubicBezTo>
                <a:cubicBezTo>
                  <a:pt x="1168" y="603"/>
                  <a:pt x="1167" y="604"/>
                  <a:pt x="1166" y="605"/>
                </a:cubicBezTo>
                <a:cubicBezTo>
                  <a:pt x="1166" y="605"/>
                  <a:pt x="1165" y="606"/>
                  <a:pt x="1166" y="607"/>
                </a:cubicBezTo>
                <a:close/>
                <a:moveTo>
                  <a:pt x="663" y="294"/>
                </a:moveTo>
                <a:cubicBezTo>
                  <a:pt x="662" y="297"/>
                  <a:pt x="664" y="299"/>
                  <a:pt x="666" y="299"/>
                </a:cubicBezTo>
                <a:cubicBezTo>
                  <a:pt x="671" y="299"/>
                  <a:pt x="675" y="297"/>
                  <a:pt x="677" y="293"/>
                </a:cubicBezTo>
                <a:cubicBezTo>
                  <a:pt x="677" y="292"/>
                  <a:pt x="678" y="290"/>
                  <a:pt x="678" y="289"/>
                </a:cubicBezTo>
                <a:cubicBezTo>
                  <a:pt x="679" y="288"/>
                  <a:pt x="678" y="286"/>
                  <a:pt x="676" y="285"/>
                </a:cubicBezTo>
                <a:cubicBezTo>
                  <a:pt x="674" y="284"/>
                  <a:pt x="672" y="284"/>
                  <a:pt x="670" y="285"/>
                </a:cubicBezTo>
                <a:cubicBezTo>
                  <a:pt x="667" y="287"/>
                  <a:pt x="664" y="290"/>
                  <a:pt x="663" y="294"/>
                </a:cubicBezTo>
                <a:cubicBezTo>
                  <a:pt x="663" y="294"/>
                  <a:pt x="663" y="294"/>
                  <a:pt x="663" y="294"/>
                </a:cubicBezTo>
                <a:close/>
                <a:moveTo>
                  <a:pt x="247" y="418"/>
                </a:moveTo>
                <a:cubicBezTo>
                  <a:pt x="246" y="417"/>
                  <a:pt x="244" y="418"/>
                  <a:pt x="244" y="419"/>
                </a:cubicBezTo>
                <a:cubicBezTo>
                  <a:pt x="243" y="420"/>
                  <a:pt x="242" y="422"/>
                  <a:pt x="242" y="423"/>
                </a:cubicBezTo>
                <a:cubicBezTo>
                  <a:pt x="242" y="425"/>
                  <a:pt x="242" y="426"/>
                  <a:pt x="243" y="428"/>
                </a:cubicBezTo>
                <a:cubicBezTo>
                  <a:pt x="243" y="428"/>
                  <a:pt x="242" y="428"/>
                  <a:pt x="242" y="428"/>
                </a:cubicBezTo>
                <a:cubicBezTo>
                  <a:pt x="243" y="430"/>
                  <a:pt x="243" y="431"/>
                  <a:pt x="243" y="432"/>
                </a:cubicBezTo>
                <a:cubicBezTo>
                  <a:pt x="243" y="436"/>
                  <a:pt x="244" y="439"/>
                  <a:pt x="246" y="442"/>
                </a:cubicBezTo>
                <a:cubicBezTo>
                  <a:pt x="246" y="443"/>
                  <a:pt x="246" y="443"/>
                  <a:pt x="247" y="443"/>
                </a:cubicBezTo>
                <a:cubicBezTo>
                  <a:pt x="247" y="443"/>
                  <a:pt x="248" y="443"/>
                  <a:pt x="248" y="443"/>
                </a:cubicBezTo>
                <a:cubicBezTo>
                  <a:pt x="248" y="443"/>
                  <a:pt x="248" y="443"/>
                  <a:pt x="248" y="443"/>
                </a:cubicBezTo>
                <a:cubicBezTo>
                  <a:pt x="247" y="438"/>
                  <a:pt x="248" y="434"/>
                  <a:pt x="249" y="429"/>
                </a:cubicBezTo>
                <a:cubicBezTo>
                  <a:pt x="250" y="427"/>
                  <a:pt x="251" y="424"/>
                  <a:pt x="252" y="422"/>
                </a:cubicBezTo>
                <a:cubicBezTo>
                  <a:pt x="252" y="421"/>
                  <a:pt x="252" y="421"/>
                  <a:pt x="251" y="420"/>
                </a:cubicBezTo>
                <a:cubicBezTo>
                  <a:pt x="250" y="419"/>
                  <a:pt x="248" y="419"/>
                  <a:pt x="247" y="418"/>
                </a:cubicBezTo>
                <a:close/>
                <a:moveTo>
                  <a:pt x="2007" y="1000"/>
                </a:moveTo>
                <a:cubicBezTo>
                  <a:pt x="2010" y="999"/>
                  <a:pt x="2013" y="998"/>
                  <a:pt x="2016" y="995"/>
                </a:cubicBezTo>
                <a:cubicBezTo>
                  <a:pt x="2018" y="993"/>
                  <a:pt x="2021" y="991"/>
                  <a:pt x="2025" y="990"/>
                </a:cubicBezTo>
                <a:cubicBezTo>
                  <a:pt x="2026" y="990"/>
                  <a:pt x="2028" y="989"/>
                  <a:pt x="2029" y="989"/>
                </a:cubicBezTo>
                <a:cubicBezTo>
                  <a:pt x="2030" y="988"/>
                  <a:pt x="2031" y="988"/>
                  <a:pt x="2031" y="986"/>
                </a:cubicBezTo>
                <a:cubicBezTo>
                  <a:pt x="2031" y="986"/>
                  <a:pt x="2030" y="985"/>
                  <a:pt x="2028" y="985"/>
                </a:cubicBezTo>
                <a:cubicBezTo>
                  <a:pt x="2024" y="985"/>
                  <a:pt x="2019" y="985"/>
                  <a:pt x="2015" y="988"/>
                </a:cubicBezTo>
                <a:cubicBezTo>
                  <a:pt x="2014" y="989"/>
                  <a:pt x="2012" y="989"/>
                  <a:pt x="2011" y="990"/>
                </a:cubicBezTo>
                <a:cubicBezTo>
                  <a:pt x="2010" y="990"/>
                  <a:pt x="2009" y="991"/>
                  <a:pt x="2008" y="992"/>
                </a:cubicBezTo>
                <a:cubicBezTo>
                  <a:pt x="2006" y="994"/>
                  <a:pt x="2005" y="997"/>
                  <a:pt x="2005" y="999"/>
                </a:cubicBezTo>
                <a:cubicBezTo>
                  <a:pt x="2006" y="1000"/>
                  <a:pt x="2007" y="1000"/>
                  <a:pt x="2007" y="1000"/>
                </a:cubicBezTo>
                <a:close/>
                <a:moveTo>
                  <a:pt x="64" y="228"/>
                </a:moveTo>
                <a:cubicBezTo>
                  <a:pt x="65" y="228"/>
                  <a:pt x="66" y="228"/>
                  <a:pt x="67" y="228"/>
                </a:cubicBezTo>
                <a:cubicBezTo>
                  <a:pt x="69" y="229"/>
                  <a:pt x="70" y="229"/>
                  <a:pt x="71" y="231"/>
                </a:cubicBezTo>
                <a:cubicBezTo>
                  <a:pt x="71" y="233"/>
                  <a:pt x="72" y="234"/>
                  <a:pt x="72" y="236"/>
                </a:cubicBezTo>
                <a:cubicBezTo>
                  <a:pt x="73" y="237"/>
                  <a:pt x="74" y="237"/>
                  <a:pt x="75" y="237"/>
                </a:cubicBezTo>
                <a:cubicBezTo>
                  <a:pt x="76" y="236"/>
                  <a:pt x="78" y="236"/>
                  <a:pt x="80" y="235"/>
                </a:cubicBezTo>
                <a:cubicBezTo>
                  <a:pt x="80" y="235"/>
                  <a:pt x="80" y="235"/>
                  <a:pt x="80" y="235"/>
                </a:cubicBezTo>
                <a:cubicBezTo>
                  <a:pt x="80" y="234"/>
                  <a:pt x="80" y="234"/>
                  <a:pt x="80" y="234"/>
                </a:cubicBezTo>
                <a:cubicBezTo>
                  <a:pt x="79" y="232"/>
                  <a:pt x="78" y="230"/>
                  <a:pt x="77" y="228"/>
                </a:cubicBezTo>
                <a:cubicBezTo>
                  <a:pt x="76" y="225"/>
                  <a:pt x="75" y="224"/>
                  <a:pt x="72" y="223"/>
                </a:cubicBezTo>
                <a:cubicBezTo>
                  <a:pt x="71" y="223"/>
                  <a:pt x="69" y="222"/>
                  <a:pt x="68" y="221"/>
                </a:cubicBezTo>
                <a:cubicBezTo>
                  <a:pt x="68" y="221"/>
                  <a:pt x="67" y="221"/>
                  <a:pt x="67" y="221"/>
                </a:cubicBezTo>
                <a:cubicBezTo>
                  <a:pt x="66" y="222"/>
                  <a:pt x="64" y="223"/>
                  <a:pt x="64" y="225"/>
                </a:cubicBezTo>
                <a:cubicBezTo>
                  <a:pt x="63" y="226"/>
                  <a:pt x="64" y="227"/>
                  <a:pt x="64" y="228"/>
                </a:cubicBezTo>
                <a:close/>
                <a:moveTo>
                  <a:pt x="651" y="111"/>
                </a:moveTo>
                <a:cubicBezTo>
                  <a:pt x="653" y="111"/>
                  <a:pt x="654" y="110"/>
                  <a:pt x="655" y="109"/>
                </a:cubicBezTo>
                <a:cubicBezTo>
                  <a:pt x="655" y="109"/>
                  <a:pt x="656" y="107"/>
                  <a:pt x="655" y="107"/>
                </a:cubicBezTo>
                <a:cubicBezTo>
                  <a:pt x="652" y="104"/>
                  <a:pt x="648" y="101"/>
                  <a:pt x="643" y="101"/>
                </a:cubicBezTo>
                <a:cubicBezTo>
                  <a:pt x="641" y="100"/>
                  <a:pt x="639" y="102"/>
                  <a:pt x="639" y="104"/>
                </a:cubicBezTo>
                <a:cubicBezTo>
                  <a:pt x="638" y="105"/>
                  <a:pt x="639" y="106"/>
                  <a:pt x="639" y="107"/>
                </a:cubicBezTo>
                <a:cubicBezTo>
                  <a:pt x="643" y="109"/>
                  <a:pt x="647" y="110"/>
                  <a:pt x="650" y="111"/>
                </a:cubicBezTo>
                <a:cubicBezTo>
                  <a:pt x="651" y="111"/>
                  <a:pt x="651" y="111"/>
                  <a:pt x="651" y="111"/>
                </a:cubicBezTo>
                <a:close/>
                <a:moveTo>
                  <a:pt x="2013" y="825"/>
                </a:moveTo>
                <a:cubicBezTo>
                  <a:pt x="2012" y="825"/>
                  <a:pt x="2011" y="826"/>
                  <a:pt x="2012" y="827"/>
                </a:cubicBezTo>
                <a:cubicBezTo>
                  <a:pt x="2012" y="829"/>
                  <a:pt x="2013" y="830"/>
                  <a:pt x="2014" y="831"/>
                </a:cubicBezTo>
                <a:cubicBezTo>
                  <a:pt x="2014" y="831"/>
                  <a:pt x="2014" y="831"/>
                  <a:pt x="2014" y="831"/>
                </a:cubicBezTo>
                <a:cubicBezTo>
                  <a:pt x="2014" y="831"/>
                  <a:pt x="2014" y="831"/>
                  <a:pt x="2014" y="831"/>
                </a:cubicBezTo>
                <a:cubicBezTo>
                  <a:pt x="2014" y="831"/>
                  <a:pt x="2014" y="831"/>
                  <a:pt x="2014" y="831"/>
                </a:cubicBezTo>
                <a:cubicBezTo>
                  <a:pt x="2014" y="832"/>
                  <a:pt x="2014" y="832"/>
                  <a:pt x="2015" y="832"/>
                </a:cubicBezTo>
                <a:cubicBezTo>
                  <a:pt x="2015" y="832"/>
                  <a:pt x="2015" y="833"/>
                  <a:pt x="2015" y="833"/>
                </a:cubicBezTo>
                <a:cubicBezTo>
                  <a:pt x="2014" y="833"/>
                  <a:pt x="2014" y="833"/>
                  <a:pt x="2014" y="833"/>
                </a:cubicBezTo>
                <a:cubicBezTo>
                  <a:pt x="2014" y="832"/>
                  <a:pt x="2014" y="832"/>
                  <a:pt x="2014" y="831"/>
                </a:cubicBezTo>
                <a:cubicBezTo>
                  <a:pt x="2014" y="831"/>
                  <a:pt x="2014" y="831"/>
                  <a:pt x="2014" y="831"/>
                </a:cubicBezTo>
                <a:cubicBezTo>
                  <a:pt x="2013" y="831"/>
                  <a:pt x="2013" y="832"/>
                  <a:pt x="2013" y="832"/>
                </a:cubicBezTo>
                <a:cubicBezTo>
                  <a:pt x="2012" y="834"/>
                  <a:pt x="2011" y="836"/>
                  <a:pt x="2013" y="838"/>
                </a:cubicBezTo>
                <a:cubicBezTo>
                  <a:pt x="2014" y="840"/>
                  <a:pt x="2015" y="841"/>
                  <a:pt x="2016" y="843"/>
                </a:cubicBezTo>
                <a:cubicBezTo>
                  <a:pt x="2016" y="843"/>
                  <a:pt x="2017" y="843"/>
                  <a:pt x="2017" y="843"/>
                </a:cubicBezTo>
                <a:cubicBezTo>
                  <a:pt x="2018" y="843"/>
                  <a:pt x="2019" y="842"/>
                  <a:pt x="2019" y="841"/>
                </a:cubicBezTo>
                <a:cubicBezTo>
                  <a:pt x="2018" y="840"/>
                  <a:pt x="2018" y="840"/>
                  <a:pt x="2018" y="839"/>
                </a:cubicBezTo>
                <a:cubicBezTo>
                  <a:pt x="2018" y="838"/>
                  <a:pt x="2018" y="837"/>
                  <a:pt x="2018" y="837"/>
                </a:cubicBezTo>
                <a:cubicBezTo>
                  <a:pt x="2021" y="836"/>
                  <a:pt x="2021" y="834"/>
                  <a:pt x="2021" y="832"/>
                </a:cubicBezTo>
                <a:cubicBezTo>
                  <a:pt x="2020" y="830"/>
                  <a:pt x="2020" y="828"/>
                  <a:pt x="2019" y="827"/>
                </a:cubicBezTo>
                <a:cubicBezTo>
                  <a:pt x="2018" y="825"/>
                  <a:pt x="2016" y="824"/>
                  <a:pt x="2013" y="825"/>
                </a:cubicBezTo>
                <a:close/>
                <a:moveTo>
                  <a:pt x="1374" y="78"/>
                </a:moveTo>
                <a:cubicBezTo>
                  <a:pt x="1374" y="78"/>
                  <a:pt x="1373" y="78"/>
                  <a:pt x="1373" y="79"/>
                </a:cubicBezTo>
                <a:cubicBezTo>
                  <a:pt x="1373" y="81"/>
                  <a:pt x="1373" y="84"/>
                  <a:pt x="1374" y="87"/>
                </a:cubicBezTo>
                <a:cubicBezTo>
                  <a:pt x="1375" y="87"/>
                  <a:pt x="1376" y="89"/>
                  <a:pt x="1377" y="89"/>
                </a:cubicBezTo>
                <a:cubicBezTo>
                  <a:pt x="1379" y="89"/>
                  <a:pt x="1382" y="89"/>
                  <a:pt x="1384" y="87"/>
                </a:cubicBezTo>
                <a:cubicBezTo>
                  <a:pt x="1384" y="86"/>
                  <a:pt x="1385" y="85"/>
                  <a:pt x="1384" y="84"/>
                </a:cubicBezTo>
                <a:cubicBezTo>
                  <a:pt x="1384" y="84"/>
                  <a:pt x="1384" y="84"/>
                  <a:pt x="1384" y="84"/>
                </a:cubicBezTo>
                <a:cubicBezTo>
                  <a:pt x="1383" y="83"/>
                  <a:pt x="1383" y="83"/>
                  <a:pt x="1383" y="82"/>
                </a:cubicBezTo>
                <a:cubicBezTo>
                  <a:pt x="1382" y="81"/>
                  <a:pt x="1382" y="81"/>
                  <a:pt x="1383" y="79"/>
                </a:cubicBezTo>
                <a:cubicBezTo>
                  <a:pt x="1384" y="78"/>
                  <a:pt x="1385" y="77"/>
                  <a:pt x="1384" y="76"/>
                </a:cubicBezTo>
                <a:cubicBezTo>
                  <a:pt x="1383" y="74"/>
                  <a:pt x="1381" y="75"/>
                  <a:pt x="1380" y="75"/>
                </a:cubicBezTo>
                <a:cubicBezTo>
                  <a:pt x="1379" y="76"/>
                  <a:pt x="1378" y="76"/>
                  <a:pt x="1377" y="76"/>
                </a:cubicBezTo>
                <a:cubicBezTo>
                  <a:pt x="1377" y="76"/>
                  <a:pt x="1377" y="76"/>
                  <a:pt x="1377" y="76"/>
                </a:cubicBezTo>
                <a:cubicBezTo>
                  <a:pt x="1377" y="76"/>
                  <a:pt x="1377" y="76"/>
                  <a:pt x="1377" y="76"/>
                </a:cubicBezTo>
                <a:cubicBezTo>
                  <a:pt x="1377" y="76"/>
                  <a:pt x="1377" y="76"/>
                  <a:pt x="1377" y="76"/>
                </a:cubicBezTo>
                <a:cubicBezTo>
                  <a:pt x="1376" y="77"/>
                  <a:pt x="1375" y="77"/>
                  <a:pt x="1374" y="78"/>
                </a:cubicBezTo>
                <a:close/>
                <a:moveTo>
                  <a:pt x="1309" y="98"/>
                </a:moveTo>
                <a:cubicBezTo>
                  <a:pt x="1311" y="99"/>
                  <a:pt x="1314" y="99"/>
                  <a:pt x="1316" y="99"/>
                </a:cubicBezTo>
                <a:cubicBezTo>
                  <a:pt x="1318" y="100"/>
                  <a:pt x="1317" y="98"/>
                  <a:pt x="1318" y="97"/>
                </a:cubicBezTo>
                <a:cubicBezTo>
                  <a:pt x="1317" y="97"/>
                  <a:pt x="1317" y="96"/>
                  <a:pt x="1317" y="96"/>
                </a:cubicBezTo>
                <a:cubicBezTo>
                  <a:pt x="1316" y="94"/>
                  <a:pt x="1316" y="93"/>
                  <a:pt x="1317" y="92"/>
                </a:cubicBezTo>
                <a:cubicBezTo>
                  <a:pt x="1318" y="91"/>
                  <a:pt x="1319" y="91"/>
                  <a:pt x="1321" y="91"/>
                </a:cubicBezTo>
                <a:cubicBezTo>
                  <a:pt x="1322" y="92"/>
                  <a:pt x="1323" y="92"/>
                  <a:pt x="1325" y="92"/>
                </a:cubicBezTo>
                <a:cubicBezTo>
                  <a:pt x="1325" y="91"/>
                  <a:pt x="1325" y="91"/>
                  <a:pt x="1324" y="90"/>
                </a:cubicBezTo>
                <a:cubicBezTo>
                  <a:pt x="1323" y="88"/>
                  <a:pt x="1320" y="87"/>
                  <a:pt x="1318" y="87"/>
                </a:cubicBezTo>
                <a:cubicBezTo>
                  <a:pt x="1317" y="87"/>
                  <a:pt x="1315" y="87"/>
                  <a:pt x="1314" y="87"/>
                </a:cubicBezTo>
                <a:cubicBezTo>
                  <a:pt x="1312" y="89"/>
                  <a:pt x="1309" y="91"/>
                  <a:pt x="1307" y="94"/>
                </a:cubicBezTo>
                <a:cubicBezTo>
                  <a:pt x="1306" y="95"/>
                  <a:pt x="1307" y="98"/>
                  <a:pt x="1309" y="98"/>
                </a:cubicBezTo>
                <a:close/>
                <a:moveTo>
                  <a:pt x="1318" y="97"/>
                </a:moveTo>
                <a:cubicBezTo>
                  <a:pt x="1318" y="97"/>
                  <a:pt x="1318" y="97"/>
                  <a:pt x="1318" y="97"/>
                </a:cubicBezTo>
                <a:cubicBezTo>
                  <a:pt x="1318" y="97"/>
                  <a:pt x="1318" y="97"/>
                  <a:pt x="1318" y="97"/>
                </a:cubicBezTo>
                <a:cubicBezTo>
                  <a:pt x="1318" y="97"/>
                  <a:pt x="1318" y="97"/>
                  <a:pt x="1318" y="97"/>
                </a:cubicBezTo>
                <a:close/>
                <a:moveTo>
                  <a:pt x="1360" y="92"/>
                </a:moveTo>
                <a:cubicBezTo>
                  <a:pt x="1360" y="93"/>
                  <a:pt x="1359" y="93"/>
                  <a:pt x="1359" y="94"/>
                </a:cubicBezTo>
                <a:cubicBezTo>
                  <a:pt x="1359" y="96"/>
                  <a:pt x="1360" y="98"/>
                  <a:pt x="1362" y="99"/>
                </a:cubicBezTo>
                <a:cubicBezTo>
                  <a:pt x="1362" y="100"/>
                  <a:pt x="1364" y="101"/>
                  <a:pt x="1365" y="100"/>
                </a:cubicBezTo>
                <a:cubicBezTo>
                  <a:pt x="1366" y="100"/>
                  <a:pt x="1367" y="99"/>
                  <a:pt x="1368" y="99"/>
                </a:cubicBezTo>
                <a:cubicBezTo>
                  <a:pt x="1370" y="98"/>
                  <a:pt x="1370" y="97"/>
                  <a:pt x="1371" y="96"/>
                </a:cubicBezTo>
                <a:cubicBezTo>
                  <a:pt x="1371" y="95"/>
                  <a:pt x="1372" y="94"/>
                  <a:pt x="1372" y="93"/>
                </a:cubicBezTo>
                <a:cubicBezTo>
                  <a:pt x="1373" y="92"/>
                  <a:pt x="1373" y="91"/>
                  <a:pt x="1372" y="90"/>
                </a:cubicBezTo>
                <a:cubicBezTo>
                  <a:pt x="1371" y="89"/>
                  <a:pt x="1370" y="89"/>
                  <a:pt x="1368" y="89"/>
                </a:cubicBezTo>
                <a:cubicBezTo>
                  <a:pt x="1368" y="88"/>
                  <a:pt x="1367" y="88"/>
                  <a:pt x="1367" y="89"/>
                </a:cubicBezTo>
                <a:cubicBezTo>
                  <a:pt x="1365" y="91"/>
                  <a:pt x="1363" y="92"/>
                  <a:pt x="1360" y="92"/>
                </a:cubicBezTo>
                <a:close/>
                <a:moveTo>
                  <a:pt x="1387" y="75"/>
                </a:moveTo>
                <a:cubicBezTo>
                  <a:pt x="1388" y="75"/>
                  <a:pt x="1389" y="75"/>
                  <a:pt x="1389" y="75"/>
                </a:cubicBezTo>
                <a:cubicBezTo>
                  <a:pt x="1390" y="73"/>
                  <a:pt x="1391" y="70"/>
                  <a:pt x="1393" y="69"/>
                </a:cubicBezTo>
                <a:cubicBezTo>
                  <a:pt x="1393" y="69"/>
                  <a:pt x="1393" y="68"/>
                  <a:pt x="1393" y="67"/>
                </a:cubicBezTo>
                <a:cubicBezTo>
                  <a:pt x="1391" y="65"/>
                  <a:pt x="1391" y="62"/>
                  <a:pt x="1389" y="60"/>
                </a:cubicBezTo>
                <a:cubicBezTo>
                  <a:pt x="1388" y="60"/>
                  <a:pt x="1387" y="60"/>
                  <a:pt x="1386" y="60"/>
                </a:cubicBezTo>
                <a:cubicBezTo>
                  <a:pt x="1385" y="62"/>
                  <a:pt x="1384" y="63"/>
                  <a:pt x="1383" y="64"/>
                </a:cubicBezTo>
                <a:cubicBezTo>
                  <a:pt x="1383" y="65"/>
                  <a:pt x="1383" y="66"/>
                  <a:pt x="1383" y="66"/>
                </a:cubicBezTo>
                <a:cubicBezTo>
                  <a:pt x="1382" y="71"/>
                  <a:pt x="1384" y="73"/>
                  <a:pt x="1387" y="75"/>
                </a:cubicBezTo>
                <a:close/>
                <a:moveTo>
                  <a:pt x="2042" y="948"/>
                </a:moveTo>
                <a:cubicBezTo>
                  <a:pt x="2047" y="947"/>
                  <a:pt x="2053" y="947"/>
                  <a:pt x="2058" y="949"/>
                </a:cubicBezTo>
                <a:cubicBezTo>
                  <a:pt x="2058" y="950"/>
                  <a:pt x="2059" y="950"/>
                  <a:pt x="2059" y="950"/>
                </a:cubicBezTo>
                <a:cubicBezTo>
                  <a:pt x="2060" y="950"/>
                  <a:pt x="2061" y="949"/>
                  <a:pt x="2061" y="948"/>
                </a:cubicBezTo>
                <a:cubicBezTo>
                  <a:pt x="2061" y="948"/>
                  <a:pt x="2061" y="947"/>
                  <a:pt x="2060" y="946"/>
                </a:cubicBezTo>
                <a:cubicBezTo>
                  <a:pt x="2060" y="945"/>
                  <a:pt x="2059" y="945"/>
                  <a:pt x="2058" y="944"/>
                </a:cubicBezTo>
                <a:cubicBezTo>
                  <a:pt x="2053" y="942"/>
                  <a:pt x="2048" y="941"/>
                  <a:pt x="2043" y="942"/>
                </a:cubicBezTo>
                <a:cubicBezTo>
                  <a:pt x="2041" y="943"/>
                  <a:pt x="2040" y="944"/>
                  <a:pt x="2040" y="945"/>
                </a:cubicBezTo>
                <a:cubicBezTo>
                  <a:pt x="2040" y="947"/>
                  <a:pt x="2041" y="948"/>
                  <a:pt x="2042" y="948"/>
                </a:cubicBezTo>
                <a:close/>
                <a:moveTo>
                  <a:pt x="2308" y="1101"/>
                </a:moveTo>
                <a:cubicBezTo>
                  <a:pt x="2308" y="1101"/>
                  <a:pt x="2309" y="1101"/>
                  <a:pt x="2310" y="1100"/>
                </a:cubicBezTo>
                <a:cubicBezTo>
                  <a:pt x="2310" y="1100"/>
                  <a:pt x="2310" y="1100"/>
                  <a:pt x="2310" y="1100"/>
                </a:cubicBezTo>
                <a:cubicBezTo>
                  <a:pt x="2310" y="1099"/>
                  <a:pt x="2310" y="1099"/>
                  <a:pt x="2310" y="1098"/>
                </a:cubicBezTo>
                <a:cubicBezTo>
                  <a:pt x="2307" y="1094"/>
                  <a:pt x="2303" y="1091"/>
                  <a:pt x="2300" y="1087"/>
                </a:cubicBezTo>
                <a:cubicBezTo>
                  <a:pt x="2299" y="1086"/>
                  <a:pt x="2298" y="1085"/>
                  <a:pt x="2296" y="1083"/>
                </a:cubicBezTo>
                <a:cubicBezTo>
                  <a:pt x="2296" y="1083"/>
                  <a:pt x="2295" y="1083"/>
                  <a:pt x="2295" y="1083"/>
                </a:cubicBezTo>
                <a:cubicBezTo>
                  <a:pt x="2294" y="1082"/>
                  <a:pt x="2294" y="1082"/>
                  <a:pt x="2293" y="1083"/>
                </a:cubicBezTo>
                <a:cubicBezTo>
                  <a:pt x="2293" y="1083"/>
                  <a:pt x="2293" y="1084"/>
                  <a:pt x="2293" y="1084"/>
                </a:cubicBezTo>
                <a:cubicBezTo>
                  <a:pt x="2294" y="1088"/>
                  <a:pt x="2296" y="1091"/>
                  <a:pt x="2299" y="1093"/>
                </a:cubicBezTo>
                <a:cubicBezTo>
                  <a:pt x="2302" y="1096"/>
                  <a:pt x="2304" y="1099"/>
                  <a:pt x="2308" y="1101"/>
                </a:cubicBezTo>
                <a:close/>
                <a:moveTo>
                  <a:pt x="1952" y="987"/>
                </a:moveTo>
                <a:cubicBezTo>
                  <a:pt x="1954" y="988"/>
                  <a:pt x="1955" y="988"/>
                  <a:pt x="1957" y="989"/>
                </a:cubicBezTo>
                <a:cubicBezTo>
                  <a:pt x="1958" y="989"/>
                  <a:pt x="1959" y="989"/>
                  <a:pt x="1960" y="990"/>
                </a:cubicBezTo>
                <a:cubicBezTo>
                  <a:pt x="1965" y="989"/>
                  <a:pt x="1970" y="988"/>
                  <a:pt x="1974" y="987"/>
                </a:cubicBezTo>
                <a:cubicBezTo>
                  <a:pt x="1975" y="987"/>
                  <a:pt x="1975" y="986"/>
                  <a:pt x="1974" y="985"/>
                </a:cubicBezTo>
                <a:cubicBezTo>
                  <a:pt x="1972" y="983"/>
                  <a:pt x="1969" y="982"/>
                  <a:pt x="1966" y="982"/>
                </a:cubicBezTo>
                <a:cubicBezTo>
                  <a:pt x="1965" y="982"/>
                  <a:pt x="1965" y="983"/>
                  <a:pt x="1965" y="983"/>
                </a:cubicBezTo>
                <a:cubicBezTo>
                  <a:pt x="1964" y="984"/>
                  <a:pt x="1964" y="984"/>
                  <a:pt x="1964" y="985"/>
                </a:cubicBezTo>
                <a:cubicBezTo>
                  <a:pt x="1961" y="983"/>
                  <a:pt x="1958" y="985"/>
                  <a:pt x="1955" y="984"/>
                </a:cubicBezTo>
                <a:cubicBezTo>
                  <a:pt x="1953" y="983"/>
                  <a:pt x="1952" y="984"/>
                  <a:pt x="1952" y="985"/>
                </a:cubicBezTo>
                <a:cubicBezTo>
                  <a:pt x="1951" y="986"/>
                  <a:pt x="1951" y="987"/>
                  <a:pt x="1952" y="987"/>
                </a:cubicBezTo>
                <a:close/>
                <a:moveTo>
                  <a:pt x="1999" y="987"/>
                </a:moveTo>
                <a:cubicBezTo>
                  <a:pt x="2000" y="987"/>
                  <a:pt x="2001" y="986"/>
                  <a:pt x="2001" y="985"/>
                </a:cubicBezTo>
                <a:cubicBezTo>
                  <a:pt x="2002" y="985"/>
                  <a:pt x="2002" y="985"/>
                  <a:pt x="2002" y="984"/>
                </a:cubicBezTo>
                <a:cubicBezTo>
                  <a:pt x="2003" y="984"/>
                  <a:pt x="2003" y="983"/>
                  <a:pt x="2002" y="983"/>
                </a:cubicBezTo>
                <a:cubicBezTo>
                  <a:pt x="2002" y="983"/>
                  <a:pt x="2001" y="982"/>
                  <a:pt x="2001" y="982"/>
                </a:cubicBezTo>
                <a:cubicBezTo>
                  <a:pt x="1999" y="983"/>
                  <a:pt x="1996" y="984"/>
                  <a:pt x="1994" y="984"/>
                </a:cubicBezTo>
                <a:cubicBezTo>
                  <a:pt x="1991" y="983"/>
                  <a:pt x="1989" y="983"/>
                  <a:pt x="1986" y="983"/>
                </a:cubicBezTo>
                <a:cubicBezTo>
                  <a:pt x="1986" y="983"/>
                  <a:pt x="1985" y="982"/>
                  <a:pt x="1985" y="982"/>
                </a:cubicBezTo>
                <a:cubicBezTo>
                  <a:pt x="1983" y="982"/>
                  <a:pt x="1981" y="983"/>
                  <a:pt x="1980" y="984"/>
                </a:cubicBezTo>
                <a:cubicBezTo>
                  <a:pt x="1979" y="985"/>
                  <a:pt x="1979" y="985"/>
                  <a:pt x="1979" y="986"/>
                </a:cubicBezTo>
                <a:cubicBezTo>
                  <a:pt x="1979" y="986"/>
                  <a:pt x="1980" y="987"/>
                  <a:pt x="1980" y="987"/>
                </a:cubicBezTo>
                <a:cubicBezTo>
                  <a:pt x="1982" y="988"/>
                  <a:pt x="1985" y="988"/>
                  <a:pt x="1987" y="988"/>
                </a:cubicBezTo>
                <a:cubicBezTo>
                  <a:pt x="1991" y="988"/>
                  <a:pt x="1995" y="987"/>
                  <a:pt x="1999" y="987"/>
                </a:cubicBezTo>
                <a:close/>
                <a:moveTo>
                  <a:pt x="1383" y="292"/>
                </a:moveTo>
                <a:cubicBezTo>
                  <a:pt x="1382" y="293"/>
                  <a:pt x="1382" y="294"/>
                  <a:pt x="1382" y="295"/>
                </a:cubicBezTo>
                <a:cubicBezTo>
                  <a:pt x="1382" y="296"/>
                  <a:pt x="1383" y="298"/>
                  <a:pt x="1383" y="299"/>
                </a:cubicBezTo>
                <a:cubicBezTo>
                  <a:pt x="1384" y="301"/>
                  <a:pt x="1386" y="301"/>
                  <a:pt x="1387" y="301"/>
                </a:cubicBezTo>
                <a:cubicBezTo>
                  <a:pt x="1391" y="300"/>
                  <a:pt x="1392" y="297"/>
                  <a:pt x="1393" y="294"/>
                </a:cubicBezTo>
                <a:cubicBezTo>
                  <a:pt x="1393" y="293"/>
                  <a:pt x="1393" y="293"/>
                  <a:pt x="1393" y="292"/>
                </a:cubicBezTo>
                <a:cubicBezTo>
                  <a:pt x="1391" y="290"/>
                  <a:pt x="1388" y="289"/>
                  <a:pt x="1386" y="290"/>
                </a:cubicBezTo>
                <a:cubicBezTo>
                  <a:pt x="1384" y="290"/>
                  <a:pt x="1383" y="291"/>
                  <a:pt x="1383" y="292"/>
                </a:cubicBezTo>
                <a:close/>
                <a:moveTo>
                  <a:pt x="612" y="356"/>
                </a:moveTo>
                <a:cubicBezTo>
                  <a:pt x="612" y="356"/>
                  <a:pt x="612" y="355"/>
                  <a:pt x="612" y="354"/>
                </a:cubicBezTo>
                <a:cubicBezTo>
                  <a:pt x="612" y="354"/>
                  <a:pt x="611" y="353"/>
                  <a:pt x="611" y="353"/>
                </a:cubicBezTo>
                <a:cubicBezTo>
                  <a:pt x="610" y="353"/>
                  <a:pt x="609" y="353"/>
                  <a:pt x="609" y="353"/>
                </a:cubicBezTo>
                <a:cubicBezTo>
                  <a:pt x="607" y="353"/>
                  <a:pt x="606" y="353"/>
                  <a:pt x="605" y="353"/>
                </a:cubicBezTo>
                <a:cubicBezTo>
                  <a:pt x="604" y="353"/>
                  <a:pt x="603" y="354"/>
                  <a:pt x="603" y="354"/>
                </a:cubicBezTo>
                <a:cubicBezTo>
                  <a:pt x="601" y="355"/>
                  <a:pt x="600" y="356"/>
                  <a:pt x="599" y="358"/>
                </a:cubicBezTo>
                <a:cubicBezTo>
                  <a:pt x="598" y="358"/>
                  <a:pt x="598" y="359"/>
                  <a:pt x="599" y="360"/>
                </a:cubicBezTo>
                <a:cubicBezTo>
                  <a:pt x="599" y="361"/>
                  <a:pt x="599" y="362"/>
                  <a:pt x="600" y="362"/>
                </a:cubicBezTo>
                <a:cubicBezTo>
                  <a:pt x="601" y="362"/>
                  <a:pt x="603" y="362"/>
                  <a:pt x="604" y="362"/>
                </a:cubicBezTo>
                <a:cubicBezTo>
                  <a:pt x="607" y="361"/>
                  <a:pt x="610" y="359"/>
                  <a:pt x="612" y="356"/>
                </a:cubicBezTo>
                <a:close/>
                <a:moveTo>
                  <a:pt x="1694" y="142"/>
                </a:moveTo>
                <a:cubicBezTo>
                  <a:pt x="1694" y="144"/>
                  <a:pt x="1695" y="145"/>
                  <a:pt x="1697" y="146"/>
                </a:cubicBezTo>
                <a:cubicBezTo>
                  <a:pt x="1697" y="146"/>
                  <a:pt x="1698" y="146"/>
                  <a:pt x="1699" y="146"/>
                </a:cubicBezTo>
                <a:cubicBezTo>
                  <a:pt x="1699" y="146"/>
                  <a:pt x="1700" y="146"/>
                  <a:pt x="1700" y="146"/>
                </a:cubicBezTo>
                <a:cubicBezTo>
                  <a:pt x="1702" y="146"/>
                  <a:pt x="1704" y="145"/>
                  <a:pt x="1704" y="143"/>
                </a:cubicBezTo>
                <a:cubicBezTo>
                  <a:pt x="1703" y="141"/>
                  <a:pt x="1703" y="139"/>
                  <a:pt x="1702" y="138"/>
                </a:cubicBezTo>
                <a:cubicBezTo>
                  <a:pt x="1701" y="137"/>
                  <a:pt x="1700" y="136"/>
                  <a:pt x="1699" y="137"/>
                </a:cubicBezTo>
                <a:cubicBezTo>
                  <a:pt x="1697" y="137"/>
                  <a:pt x="1696" y="138"/>
                  <a:pt x="1695" y="138"/>
                </a:cubicBezTo>
                <a:cubicBezTo>
                  <a:pt x="1694" y="139"/>
                  <a:pt x="1693" y="140"/>
                  <a:pt x="1694" y="141"/>
                </a:cubicBezTo>
                <a:cubicBezTo>
                  <a:pt x="1694" y="142"/>
                  <a:pt x="1694" y="142"/>
                  <a:pt x="1694" y="142"/>
                </a:cubicBezTo>
                <a:close/>
                <a:moveTo>
                  <a:pt x="690" y="511"/>
                </a:moveTo>
                <a:cubicBezTo>
                  <a:pt x="689" y="511"/>
                  <a:pt x="689" y="511"/>
                  <a:pt x="688" y="512"/>
                </a:cubicBezTo>
                <a:cubicBezTo>
                  <a:pt x="688" y="512"/>
                  <a:pt x="688" y="513"/>
                  <a:pt x="688" y="514"/>
                </a:cubicBezTo>
                <a:cubicBezTo>
                  <a:pt x="689" y="514"/>
                  <a:pt x="689" y="515"/>
                  <a:pt x="690" y="515"/>
                </a:cubicBezTo>
                <a:cubicBezTo>
                  <a:pt x="691" y="517"/>
                  <a:pt x="693" y="518"/>
                  <a:pt x="695" y="519"/>
                </a:cubicBezTo>
                <a:cubicBezTo>
                  <a:pt x="697" y="520"/>
                  <a:pt x="699" y="521"/>
                  <a:pt x="702" y="521"/>
                </a:cubicBezTo>
                <a:cubicBezTo>
                  <a:pt x="702" y="521"/>
                  <a:pt x="702" y="521"/>
                  <a:pt x="702" y="521"/>
                </a:cubicBezTo>
                <a:cubicBezTo>
                  <a:pt x="703" y="521"/>
                  <a:pt x="703" y="520"/>
                  <a:pt x="704" y="520"/>
                </a:cubicBezTo>
                <a:cubicBezTo>
                  <a:pt x="704" y="520"/>
                  <a:pt x="704" y="519"/>
                  <a:pt x="703" y="519"/>
                </a:cubicBezTo>
                <a:cubicBezTo>
                  <a:pt x="700" y="514"/>
                  <a:pt x="695" y="512"/>
                  <a:pt x="690" y="511"/>
                </a:cubicBezTo>
                <a:close/>
                <a:moveTo>
                  <a:pt x="1341" y="658"/>
                </a:moveTo>
                <a:cubicBezTo>
                  <a:pt x="1343" y="657"/>
                  <a:pt x="1344" y="657"/>
                  <a:pt x="1346" y="656"/>
                </a:cubicBezTo>
                <a:cubicBezTo>
                  <a:pt x="1348" y="655"/>
                  <a:pt x="1349" y="652"/>
                  <a:pt x="1350" y="650"/>
                </a:cubicBezTo>
                <a:cubicBezTo>
                  <a:pt x="1349" y="650"/>
                  <a:pt x="1349" y="650"/>
                  <a:pt x="1349" y="650"/>
                </a:cubicBezTo>
                <a:cubicBezTo>
                  <a:pt x="1347" y="650"/>
                  <a:pt x="1344" y="650"/>
                  <a:pt x="1342" y="651"/>
                </a:cubicBezTo>
                <a:cubicBezTo>
                  <a:pt x="1340" y="651"/>
                  <a:pt x="1338" y="652"/>
                  <a:pt x="1337" y="653"/>
                </a:cubicBezTo>
                <a:cubicBezTo>
                  <a:pt x="1336" y="654"/>
                  <a:pt x="1336" y="655"/>
                  <a:pt x="1336" y="656"/>
                </a:cubicBezTo>
                <a:cubicBezTo>
                  <a:pt x="1337" y="658"/>
                  <a:pt x="1339" y="658"/>
                  <a:pt x="1341" y="658"/>
                </a:cubicBezTo>
                <a:close/>
                <a:moveTo>
                  <a:pt x="514" y="100"/>
                </a:moveTo>
                <a:cubicBezTo>
                  <a:pt x="514" y="100"/>
                  <a:pt x="514" y="99"/>
                  <a:pt x="514" y="99"/>
                </a:cubicBezTo>
                <a:cubicBezTo>
                  <a:pt x="513" y="99"/>
                  <a:pt x="513" y="99"/>
                  <a:pt x="512" y="99"/>
                </a:cubicBezTo>
                <a:cubicBezTo>
                  <a:pt x="508" y="100"/>
                  <a:pt x="504" y="102"/>
                  <a:pt x="500" y="105"/>
                </a:cubicBezTo>
                <a:cubicBezTo>
                  <a:pt x="499" y="106"/>
                  <a:pt x="499" y="107"/>
                  <a:pt x="501" y="108"/>
                </a:cubicBezTo>
                <a:cubicBezTo>
                  <a:pt x="502" y="109"/>
                  <a:pt x="503" y="109"/>
                  <a:pt x="504" y="109"/>
                </a:cubicBezTo>
                <a:cubicBezTo>
                  <a:pt x="507" y="106"/>
                  <a:pt x="510" y="103"/>
                  <a:pt x="514" y="101"/>
                </a:cubicBezTo>
                <a:cubicBezTo>
                  <a:pt x="514" y="101"/>
                  <a:pt x="514" y="100"/>
                  <a:pt x="514" y="100"/>
                </a:cubicBezTo>
                <a:close/>
                <a:moveTo>
                  <a:pt x="1173" y="599"/>
                </a:moveTo>
                <a:cubicBezTo>
                  <a:pt x="1173" y="598"/>
                  <a:pt x="1174" y="598"/>
                  <a:pt x="1174" y="597"/>
                </a:cubicBezTo>
                <a:cubicBezTo>
                  <a:pt x="1174" y="595"/>
                  <a:pt x="1174" y="593"/>
                  <a:pt x="1175" y="592"/>
                </a:cubicBezTo>
                <a:cubicBezTo>
                  <a:pt x="1174" y="591"/>
                  <a:pt x="1174" y="590"/>
                  <a:pt x="1174" y="590"/>
                </a:cubicBezTo>
                <a:cubicBezTo>
                  <a:pt x="1174" y="590"/>
                  <a:pt x="1174" y="589"/>
                  <a:pt x="1174" y="589"/>
                </a:cubicBezTo>
                <a:cubicBezTo>
                  <a:pt x="1174" y="588"/>
                  <a:pt x="1173" y="587"/>
                  <a:pt x="1172" y="587"/>
                </a:cubicBezTo>
                <a:cubicBezTo>
                  <a:pt x="1171" y="588"/>
                  <a:pt x="1170" y="588"/>
                  <a:pt x="1169" y="589"/>
                </a:cubicBezTo>
                <a:cubicBezTo>
                  <a:pt x="1167" y="590"/>
                  <a:pt x="1167" y="591"/>
                  <a:pt x="1167" y="593"/>
                </a:cubicBezTo>
                <a:cubicBezTo>
                  <a:pt x="1167" y="595"/>
                  <a:pt x="1168" y="597"/>
                  <a:pt x="1170" y="599"/>
                </a:cubicBezTo>
                <a:cubicBezTo>
                  <a:pt x="1170" y="600"/>
                  <a:pt x="1172" y="600"/>
                  <a:pt x="1173" y="599"/>
                </a:cubicBezTo>
                <a:close/>
                <a:moveTo>
                  <a:pt x="1962" y="854"/>
                </a:moveTo>
                <a:cubicBezTo>
                  <a:pt x="1962" y="854"/>
                  <a:pt x="1962" y="855"/>
                  <a:pt x="1962" y="855"/>
                </a:cubicBezTo>
                <a:cubicBezTo>
                  <a:pt x="1962" y="855"/>
                  <a:pt x="1963" y="855"/>
                  <a:pt x="1963" y="855"/>
                </a:cubicBezTo>
                <a:cubicBezTo>
                  <a:pt x="1963" y="855"/>
                  <a:pt x="1963" y="855"/>
                  <a:pt x="1964" y="855"/>
                </a:cubicBezTo>
                <a:cubicBezTo>
                  <a:pt x="1966" y="854"/>
                  <a:pt x="1969" y="852"/>
                  <a:pt x="1971" y="849"/>
                </a:cubicBezTo>
                <a:cubicBezTo>
                  <a:pt x="1973" y="846"/>
                  <a:pt x="1975" y="843"/>
                  <a:pt x="1978" y="842"/>
                </a:cubicBezTo>
                <a:cubicBezTo>
                  <a:pt x="1979" y="841"/>
                  <a:pt x="1979" y="841"/>
                  <a:pt x="1978" y="840"/>
                </a:cubicBezTo>
                <a:cubicBezTo>
                  <a:pt x="1976" y="837"/>
                  <a:pt x="1975" y="838"/>
                  <a:pt x="1974" y="839"/>
                </a:cubicBezTo>
                <a:cubicBezTo>
                  <a:pt x="1970" y="844"/>
                  <a:pt x="1967" y="849"/>
                  <a:pt x="1963" y="853"/>
                </a:cubicBezTo>
                <a:cubicBezTo>
                  <a:pt x="1962" y="853"/>
                  <a:pt x="1962" y="854"/>
                  <a:pt x="1962" y="854"/>
                </a:cubicBezTo>
                <a:close/>
                <a:moveTo>
                  <a:pt x="2006" y="840"/>
                </a:moveTo>
                <a:cubicBezTo>
                  <a:pt x="2006" y="838"/>
                  <a:pt x="2004" y="838"/>
                  <a:pt x="2003" y="837"/>
                </a:cubicBezTo>
                <a:cubicBezTo>
                  <a:pt x="2003" y="836"/>
                  <a:pt x="2003" y="836"/>
                  <a:pt x="2003" y="836"/>
                </a:cubicBezTo>
                <a:cubicBezTo>
                  <a:pt x="2003" y="836"/>
                  <a:pt x="2003" y="837"/>
                  <a:pt x="2003" y="837"/>
                </a:cubicBezTo>
                <a:cubicBezTo>
                  <a:pt x="2003" y="837"/>
                  <a:pt x="2003" y="837"/>
                  <a:pt x="2003" y="837"/>
                </a:cubicBezTo>
                <a:cubicBezTo>
                  <a:pt x="2002" y="837"/>
                  <a:pt x="2002" y="838"/>
                  <a:pt x="2001" y="838"/>
                </a:cubicBezTo>
                <a:cubicBezTo>
                  <a:pt x="2001" y="840"/>
                  <a:pt x="2001" y="843"/>
                  <a:pt x="1999" y="845"/>
                </a:cubicBezTo>
                <a:cubicBezTo>
                  <a:pt x="1998" y="847"/>
                  <a:pt x="1998" y="848"/>
                  <a:pt x="2000" y="849"/>
                </a:cubicBezTo>
                <a:cubicBezTo>
                  <a:pt x="2001" y="850"/>
                  <a:pt x="2002" y="850"/>
                  <a:pt x="2003" y="851"/>
                </a:cubicBezTo>
                <a:cubicBezTo>
                  <a:pt x="2004" y="851"/>
                  <a:pt x="2005" y="851"/>
                  <a:pt x="2005" y="850"/>
                </a:cubicBezTo>
                <a:cubicBezTo>
                  <a:pt x="2006" y="849"/>
                  <a:pt x="2007" y="847"/>
                  <a:pt x="2006" y="845"/>
                </a:cubicBezTo>
                <a:cubicBezTo>
                  <a:pt x="2007" y="845"/>
                  <a:pt x="2007" y="845"/>
                  <a:pt x="2007" y="845"/>
                </a:cubicBezTo>
                <a:cubicBezTo>
                  <a:pt x="2007" y="845"/>
                  <a:pt x="2007" y="845"/>
                  <a:pt x="2007" y="845"/>
                </a:cubicBezTo>
                <a:cubicBezTo>
                  <a:pt x="2007" y="845"/>
                  <a:pt x="2006" y="845"/>
                  <a:pt x="2006" y="845"/>
                </a:cubicBezTo>
                <a:cubicBezTo>
                  <a:pt x="2005" y="844"/>
                  <a:pt x="2005" y="842"/>
                  <a:pt x="2006" y="840"/>
                </a:cubicBezTo>
                <a:close/>
                <a:moveTo>
                  <a:pt x="561" y="781"/>
                </a:moveTo>
                <a:cubicBezTo>
                  <a:pt x="559" y="782"/>
                  <a:pt x="558" y="782"/>
                  <a:pt x="556" y="782"/>
                </a:cubicBezTo>
                <a:cubicBezTo>
                  <a:pt x="555" y="782"/>
                  <a:pt x="555" y="783"/>
                  <a:pt x="556" y="784"/>
                </a:cubicBezTo>
                <a:cubicBezTo>
                  <a:pt x="558" y="787"/>
                  <a:pt x="561" y="789"/>
                  <a:pt x="566" y="788"/>
                </a:cubicBezTo>
                <a:cubicBezTo>
                  <a:pt x="567" y="787"/>
                  <a:pt x="568" y="787"/>
                  <a:pt x="568" y="787"/>
                </a:cubicBezTo>
                <a:cubicBezTo>
                  <a:pt x="569" y="786"/>
                  <a:pt x="569" y="785"/>
                  <a:pt x="569" y="784"/>
                </a:cubicBezTo>
                <a:cubicBezTo>
                  <a:pt x="567" y="782"/>
                  <a:pt x="564" y="781"/>
                  <a:pt x="561" y="781"/>
                </a:cubicBezTo>
                <a:close/>
                <a:moveTo>
                  <a:pt x="2003" y="837"/>
                </a:moveTo>
                <a:cubicBezTo>
                  <a:pt x="2003" y="836"/>
                  <a:pt x="2003" y="835"/>
                  <a:pt x="2003" y="835"/>
                </a:cubicBezTo>
                <a:cubicBezTo>
                  <a:pt x="2003" y="834"/>
                  <a:pt x="2003" y="834"/>
                  <a:pt x="2002" y="833"/>
                </a:cubicBezTo>
                <a:cubicBezTo>
                  <a:pt x="2000" y="832"/>
                  <a:pt x="1997" y="831"/>
                  <a:pt x="1995" y="830"/>
                </a:cubicBezTo>
                <a:cubicBezTo>
                  <a:pt x="1995" y="830"/>
                  <a:pt x="1994" y="830"/>
                  <a:pt x="1994" y="831"/>
                </a:cubicBezTo>
                <a:cubicBezTo>
                  <a:pt x="1994" y="833"/>
                  <a:pt x="1994" y="836"/>
                  <a:pt x="1995" y="839"/>
                </a:cubicBezTo>
                <a:cubicBezTo>
                  <a:pt x="1995" y="840"/>
                  <a:pt x="1996" y="840"/>
                  <a:pt x="1997" y="840"/>
                </a:cubicBezTo>
                <a:cubicBezTo>
                  <a:pt x="1998" y="841"/>
                  <a:pt x="1999" y="841"/>
                  <a:pt x="2000" y="840"/>
                </a:cubicBezTo>
                <a:cubicBezTo>
                  <a:pt x="2000" y="839"/>
                  <a:pt x="2001" y="839"/>
                  <a:pt x="2001" y="838"/>
                </a:cubicBezTo>
                <a:cubicBezTo>
                  <a:pt x="2001" y="838"/>
                  <a:pt x="2001" y="838"/>
                  <a:pt x="2001" y="838"/>
                </a:cubicBezTo>
                <a:cubicBezTo>
                  <a:pt x="2001" y="838"/>
                  <a:pt x="2001" y="838"/>
                  <a:pt x="2001" y="838"/>
                </a:cubicBezTo>
                <a:cubicBezTo>
                  <a:pt x="2001" y="838"/>
                  <a:pt x="2001" y="838"/>
                  <a:pt x="2001" y="838"/>
                </a:cubicBezTo>
                <a:cubicBezTo>
                  <a:pt x="2002" y="838"/>
                  <a:pt x="2002" y="837"/>
                  <a:pt x="2003" y="837"/>
                </a:cubicBezTo>
                <a:close/>
                <a:moveTo>
                  <a:pt x="71" y="292"/>
                </a:moveTo>
                <a:cubicBezTo>
                  <a:pt x="72" y="292"/>
                  <a:pt x="74" y="289"/>
                  <a:pt x="73" y="288"/>
                </a:cubicBezTo>
                <a:cubicBezTo>
                  <a:pt x="73" y="287"/>
                  <a:pt x="72" y="285"/>
                  <a:pt x="70" y="285"/>
                </a:cubicBezTo>
                <a:cubicBezTo>
                  <a:pt x="68" y="286"/>
                  <a:pt x="66" y="286"/>
                  <a:pt x="63" y="287"/>
                </a:cubicBezTo>
                <a:cubicBezTo>
                  <a:pt x="63" y="287"/>
                  <a:pt x="63" y="288"/>
                  <a:pt x="63" y="288"/>
                </a:cubicBezTo>
                <a:cubicBezTo>
                  <a:pt x="63" y="289"/>
                  <a:pt x="63" y="290"/>
                  <a:pt x="64" y="291"/>
                </a:cubicBezTo>
                <a:cubicBezTo>
                  <a:pt x="66" y="293"/>
                  <a:pt x="68" y="293"/>
                  <a:pt x="71" y="292"/>
                </a:cubicBezTo>
                <a:close/>
                <a:moveTo>
                  <a:pt x="1484" y="218"/>
                </a:moveTo>
                <a:cubicBezTo>
                  <a:pt x="1486" y="219"/>
                  <a:pt x="1490" y="218"/>
                  <a:pt x="1491" y="215"/>
                </a:cubicBezTo>
                <a:cubicBezTo>
                  <a:pt x="1491" y="215"/>
                  <a:pt x="1491" y="215"/>
                  <a:pt x="1491" y="214"/>
                </a:cubicBezTo>
                <a:cubicBezTo>
                  <a:pt x="1490" y="212"/>
                  <a:pt x="1489" y="211"/>
                  <a:pt x="1487" y="210"/>
                </a:cubicBezTo>
                <a:cubicBezTo>
                  <a:pt x="1487" y="209"/>
                  <a:pt x="1486" y="209"/>
                  <a:pt x="1486" y="209"/>
                </a:cubicBezTo>
                <a:cubicBezTo>
                  <a:pt x="1482" y="210"/>
                  <a:pt x="1481" y="212"/>
                  <a:pt x="1482" y="216"/>
                </a:cubicBezTo>
                <a:cubicBezTo>
                  <a:pt x="1482" y="217"/>
                  <a:pt x="1483" y="217"/>
                  <a:pt x="1484" y="218"/>
                </a:cubicBezTo>
                <a:close/>
                <a:moveTo>
                  <a:pt x="1277" y="650"/>
                </a:moveTo>
                <a:cubicBezTo>
                  <a:pt x="1277" y="650"/>
                  <a:pt x="1276" y="650"/>
                  <a:pt x="1275" y="651"/>
                </a:cubicBezTo>
                <a:cubicBezTo>
                  <a:pt x="1275" y="651"/>
                  <a:pt x="1275" y="651"/>
                  <a:pt x="1275" y="652"/>
                </a:cubicBezTo>
                <a:cubicBezTo>
                  <a:pt x="1274" y="652"/>
                  <a:pt x="1275" y="653"/>
                  <a:pt x="1275" y="653"/>
                </a:cubicBezTo>
                <a:cubicBezTo>
                  <a:pt x="1278" y="654"/>
                  <a:pt x="1281" y="655"/>
                  <a:pt x="1283" y="655"/>
                </a:cubicBezTo>
                <a:cubicBezTo>
                  <a:pt x="1284" y="655"/>
                  <a:pt x="1284" y="655"/>
                  <a:pt x="1284" y="655"/>
                </a:cubicBezTo>
                <a:cubicBezTo>
                  <a:pt x="1287" y="655"/>
                  <a:pt x="1289" y="655"/>
                  <a:pt x="1291" y="654"/>
                </a:cubicBezTo>
                <a:cubicBezTo>
                  <a:pt x="1291" y="654"/>
                  <a:pt x="1292" y="654"/>
                  <a:pt x="1292" y="654"/>
                </a:cubicBezTo>
                <a:cubicBezTo>
                  <a:pt x="1292" y="653"/>
                  <a:pt x="1292" y="653"/>
                  <a:pt x="1291" y="652"/>
                </a:cubicBezTo>
                <a:cubicBezTo>
                  <a:pt x="1289" y="651"/>
                  <a:pt x="1287" y="650"/>
                  <a:pt x="1285" y="650"/>
                </a:cubicBezTo>
                <a:cubicBezTo>
                  <a:pt x="1282" y="651"/>
                  <a:pt x="1280" y="651"/>
                  <a:pt x="1277" y="650"/>
                </a:cubicBezTo>
                <a:close/>
                <a:moveTo>
                  <a:pt x="645" y="782"/>
                </a:moveTo>
                <a:cubicBezTo>
                  <a:pt x="644" y="782"/>
                  <a:pt x="642" y="782"/>
                  <a:pt x="641" y="782"/>
                </a:cubicBezTo>
                <a:cubicBezTo>
                  <a:pt x="639" y="782"/>
                  <a:pt x="638" y="782"/>
                  <a:pt x="636" y="782"/>
                </a:cubicBezTo>
                <a:cubicBezTo>
                  <a:pt x="636" y="783"/>
                  <a:pt x="635" y="784"/>
                  <a:pt x="635" y="784"/>
                </a:cubicBezTo>
                <a:cubicBezTo>
                  <a:pt x="634" y="785"/>
                  <a:pt x="635" y="786"/>
                  <a:pt x="636" y="786"/>
                </a:cubicBezTo>
                <a:cubicBezTo>
                  <a:pt x="636" y="787"/>
                  <a:pt x="637" y="787"/>
                  <a:pt x="637" y="787"/>
                </a:cubicBezTo>
                <a:cubicBezTo>
                  <a:pt x="641" y="788"/>
                  <a:pt x="644" y="787"/>
                  <a:pt x="646" y="785"/>
                </a:cubicBezTo>
                <a:cubicBezTo>
                  <a:pt x="647" y="785"/>
                  <a:pt x="647" y="784"/>
                  <a:pt x="646" y="784"/>
                </a:cubicBezTo>
                <a:cubicBezTo>
                  <a:pt x="646" y="783"/>
                  <a:pt x="645" y="782"/>
                  <a:pt x="645" y="782"/>
                </a:cubicBezTo>
                <a:close/>
                <a:moveTo>
                  <a:pt x="1983" y="818"/>
                </a:moveTo>
                <a:cubicBezTo>
                  <a:pt x="1983" y="818"/>
                  <a:pt x="1982" y="819"/>
                  <a:pt x="1982" y="819"/>
                </a:cubicBezTo>
                <a:cubicBezTo>
                  <a:pt x="1983" y="822"/>
                  <a:pt x="1984" y="824"/>
                  <a:pt x="1986" y="827"/>
                </a:cubicBezTo>
                <a:cubicBezTo>
                  <a:pt x="1987" y="828"/>
                  <a:pt x="1989" y="828"/>
                  <a:pt x="1990" y="826"/>
                </a:cubicBezTo>
                <a:cubicBezTo>
                  <a:pt x="1991" y="824"/>
                  <a:pt x="1991" y="822"/>
                  <a:pt x="1990" y="821"/>
                </a:cubicBezTo>
                <a:cubicBezTo>
                  <a:pt x="1989" y="819"/>
                  <a:pt x="1988" y="818"/>
                  <a:pt x="1987" y="817"/>
                </a:cubicBezTo>
                <a:cubicBezTo>
                  <a:pt x="1986" y="817"/>
                  <a:pt x="1984" y="817"/>
                  <a:pt x="1983" y="818"/>
                </a:cubicBezTo>
                <a:close/>
                <a:moveTo>
                  <a:pt x="1974" y="994"/>
                </a:moveTo>
                <a:cubicBezTo>
                  <a:pt x="1976" y="995"/>
                  <a:pt x="1979" y="997"/>
                  <a:pt x="1981" y="998"/>
                </a:cubicBezTo>
                <a:cubicBezTo>
                  <a:pt x="1982" y="998"/>
                  <a:pt x="1983" y="998"/>
                  <a:pt x="1984" y="998"/>
                </a:cubicBezTo>
                <a:cubicBezTo>
                  <a:pt x="1985" y="998"/>
                  <a:pt x="1986" y="996"/>
                  <a:pt x="1985" y="995"/>
                </a:cubicBezTo>
                <a:cubicBezTo>
                  <a:pt x="1985" y="995"/>
                  <a:pt x="1985" y="994"/>
                  <a:pt x="1984" y="994"/>
                </a:cubicBezTo>
                <a:cubicBezTo>
                  <a:pt x="1982" y="991"/>
                  <a:pt x="1979" y="991"/>
                  <a:pt x="1976" y="991"/>
                </a:cubicBezTo>
                <a:cubicBezTo>
                  <a:pt x="1976" y="991"/>
                  <a:pt x="1975" y="991"/>
                  <a:pt x="1974" y="991"/>
                </a:cubicBezTo>
                <a:cubicBezTo>
                  <a:pt x="1973" y="991"/>
                  <a:pt x="1973" y="992"/>
                  <a:pt x="1973" y="993"/>
                </a:cubicBezTo>
                <a:cubicBezTo>
                  <a:pt x="1973" y="993"/>
                  <a:pt x="1973" y="994"/>
                  <a:pt x="1974" y="994"/>
                </a:cubicBezTo>
                <a:close/>
                <a:moveTo>
                  <a:pt x="594" y="99"/>
                </a:moveTo>
                <a:cubicBezTo>
                  <a:pt x="594" y="100"/>
                  <a:pt x="596" y="99"/>
                  <a:pt x="596" y="99"/>
                </a:cubicBezTo>
                <a:cubicBezTo>
                  <a:pt x="598" y="96"/>
                  <a:pt x="598" y="93"/>
                  <a:pt x="598" y="89"/>
                </a:cubicBezTo>
                <a:cubicBezTo>
                  <a:pt x="598" y="89"/>
                  <a:pt x="598" y="88"/>
                  <a:pt x="598" y="87"/>
                </a:cubicBezTo>
                <a:cubicBezTo>
                  <a:pt x="598" y="87"/>
                  <a:pt x="597" y="86"/>
                  <a:pt x="597" y="86"/>
                </a:cubicBezTo>
                <a:cubicBezTo>
                  <a:pt x="596" y="86"/>
                  <a:pt x="596" y="86"/>
                  <a:pt x="595" y="87"/>
                </a:cubicBezTo>
                <a:cubicBezTo>
                  <a:pt x="594" y="89"/>
                  <a:pt x="593" y="91"/>
                  <a:pt x="592" y="94"/>
                </a:cubicBezTo>
                <a:cubicBezTo>
                  <a:pt x="592" y="95"/>
                  <a:pt x="592" y="96"/>
                  <a:pt x="592" y="97"/>
                </a:cubicBezTo>
                <a:cubicBezTo>
                  <a:pt x="592" y="98"/>
                  <a:pt x="593" y="99"/>
                  <a:pt x="594" y="99"/>
                </a:cubicBezTo>
                <a:close/>
                <a:moveTo>
                  <a:pt x="2236" y="962"/>
                </a:moveTo>
                <a:cubicBezTo>
                  <a:pt x="2236" y="962"/>
                  <a:pt x="2235" y="962"/>
                  <a:pt x="2235" y="962"/>
                </a:cubicBezTo>
                <a:cubicBezTo>
                  <a:pt x="2235" y="963"/>
                  <a:pt x="2234" y="963"/>
                  <a:pt x="2234" y="964"/>
                </a:cubicBezTo>
                <a:cubicBezTo>
                  <a:pt x="2235" y="967"/>
                  <a:pt x="2236" y="969"/>
                  <a:pt x="2238" y="971"/>
                </a:cubicBezTo>
                <a:cubicBezTo>
                  <a:pt x="2238" y="972"/>
                  <a:pt x="2241" y="972"/>
                  <a:pt x="2242" y="971"/>
                </a:cubicBezTo>
                <a:cubicBezTo>
                  <a:pt x="2243" y="970"/>
                  <a:pt x="2243" y="968"/>
                  <a:pt x="2242" y="967"/>
                </a:cubicBezTo>
                <a:cubicBezTo>
                  <a:pt x="2241" y="965"/>
                  <a:pt x="2238" y="963"/>
                  <a:pt x="2236" y="962"/>
                </a:cubicBezTo>
                <a:close/>
                <a:moveTo>
                  <a:pt x="622" y="361"/>
                </a:moveTo>
                <a:cubicBezTo>
                  <a:pt x="619" y="363"/>
                  <a:pt x="618" y="366"/>
                  <a:pt x="619" y="369"/>
                </a:cubicBezTo>
                <a:cubicBezTo>
                  <a:pt x="619" y="370"/>
                  <a:pt x="620" y="371"/>
                  <a:pt x="620" y="371"/>
                </a:cubicBezTo>
                <a:cubicBezTo>
                  <a:pt x="621" y="371"/>
                  <a:pt x="622" y="371"/>
                  <a:pt x="622" y="370"/>
                </a:cubicBezTo>
                <a:cubicBezTo>
                  <a:pt x="623" y="369"/>
                  <a:pt x="624" y="368"/>
                  <a:pt x="625" y="366"/>
                </a:cubicBezTo>
                <a:cubicBezTo>
                  <a:pt x="625" y="366"/>
                  <a:pt x="626" y="365"/>
                  <a:pt x="626" y="365"/>
                </a:cubicBezTo>
                <a:cubicBezTo>
                  <a:pt x="626" y="364"/>
                  <a:pt x="626" y="362"/>
                  <a:pt x="625" y="362"/>
                </a:cubicBezTo>
                <a:cubicBezTo>
                  <a:pt x="624" y="361"/>
                  <a:pt x="623" y="361"/>
                  <a:pt x="622" y="361"/>
                </a:cubicBezTo>
                <a:close/>
                <a:moveTo>
                  <a:pt x="2150" y="306"/>
                </a:moveTo>
                <a:cubicBezTo>
                  <a:pt x="2150" y="307"/>
                  <a:pt x="2149" y="307"/>
                  <a:pt x="2148" y="308"/>
                </a:cubicBezTo>
                <a:cubicBezTo>
                  <a:pt x="2147" y="309"/>
                  <a:pt x="2147" y="310"/>
                  <a:pt x="2147" y="312"/>
                </a:cubicBezTo>
                <a:cubicBezTo>
                  <a:pt x="2148" y="314"/>
                  <a:pt x="2148" y="316"/>
                  <a:pt x="2149" y="317"/>
                </a:cubicBezTo>
                <a:cubicBezTo>
                  <a:pt x="2149" y="318"/>
                  <a:pt x="2149" y="318"/>
                  <a:pt x="2150" y="318"/>
                </a:cubicBezTo>
                <a:cubicBezTo>
                  <a:pt x="2150" y="318"/>
                  <a:pt x="2150" y="317"/>
                  <a:pt x="2150" y="317"/>
                </a:cubicBezTo>
                <a:cubicBezTo>
                  <a:pt x="2151" y="315"/>
                  <a:pt x="2152" y="313"/>
                  <a:pt x="2154" y="311"/>
                </a:cubicBezTo>
                <a:cubicBezTo>
                  <a:pt x="2154" y="310"/>
                  <a:pt x="2154" y="308"/>
                  <a:pt x="2153" y="307"/>
                </a:cubicBezTo>
                <a:cubicBezTo>
                  <a:pt x="2152" y="306"/>
                  <a:pt x="2151" y="306"/>
                  <a:pt x="2150" y="306"/>
                </a:cubicBezTo>
                <a:close/>
                <a:moveTo>
                  <a:pt x="685" y="547"/>
                </a:moveTo>
                <a:cubicBezTo>
                  <a:pt x="685" y="547"/>
                  <a:pt x="685" y="547"/>
                  <a:pt x="685" y="547"/>
                </a:cubicBezTo>
                <a:cubicBezTo>
                  <a:pt x="685" y="547"/>
                  <a:pt x="685" y="547"/>
                  <a:pt x="685" y="547"/>
                </a:cubicBezTo>
                <a:cubicBezTo>
                  <a:pt x="685" y="547"/>
                  <a:pt x="685" y="548"/>
                  <a:pt x="686" y="548"/>
                </a:cubicBezTo>
                <a:cubicBezTo>
                  <a:pt x="685" y="547"/>
                  <a:pt x="685" y="547"/>
                  <a:pt x="685" y="547"/>
                </a:cubicBezTo>
                <a:close/>
                <a:moveTo>
                  <a:pt x="691" y="551"/>
                </a:moveTo>
                <a:cubicBezTo>
                  <a:pt x="692" y="551"/>
                  <a:pt x="693" y="551"/>
                  <a:pt x="694" y="551"/>
                </a:cubicBezTo>
                <a:cubicBezTo>
                  <a:pt x="694" y="546"/>
                  <a:pt x="695" y="547"/>
                  <a:pt x="691" y="545"/>
                </a:cubicBezTo>
                <a:cubicBezTo>
                  <a:pt x="688" y="544"/>
                  <a:pt x="686" y="543"/>
                  <a:pt x="684" y="541"/>
                </a:cubicBezTo>
                <a:cubicBezTo>
                  <a:pt x="684" y="541"/>
                  <a:pt x="683" y="541"/>
                  <a:pt x="683" y="542"/>
                </a:cubicBezTo>
                <a:cubicBezTo>
                  <a:pt x="682" y="542"/>
                  <a:pt x="682" y="542"/>
                  <a:pt x="683" y="542"/>
                </a:cubicBezTo>
                <a:cubicBezTo>
                  <a:pt x="683" y="544"/>
                  <a:pt x="684" y="546"/>
                  <a:pt x="685" y="547"/>
                </a:cubicBezTo>
                <a:cubicBezTo>
                  <a:pt x="686" y="548"/>
                  <a:pt x="687" y="548"/>
                  <a:pt x="688" y="548"/>
                </a:cubicBezTo>
                <a:cubicBezTo>
                  <a:pt x="689" y="549"/>
                  <a:pt x="690" y="550"/>
                  <a:pt x="691" y="551"/>
                </a:cubicBezTo>
                <a:close/>
                <a:moveTo>
                  <a:pt x="691" y="551"/>
                </a:moveTo>
                <a:cubicBezTo>
                  <a:pt x="691" y="551"/>
                  <a:pt x="690" y="551"/>
                  <a:pt x="690" y="551"/>
                </a:cubicBezTo>
                <a:cubicBezTo>
                  <a:pt x="690" y="551"/>
                  <a:pt x="691" y="551"/>
                  <a:pt x="691" y="551"/>
                </a:cubicBezTo>
                <a:cubicBezTo>
                  <a:pt x="691" y="551"/>
                  <a:pt x="691" y="551"/>
                  <a:pt x="691" y="551"/>
                </a:cubicBezTo>
                <a:cubicBezTo>
                  <a:pt x="691" y="551"/>
                  <a:pt x="691" y="551"/>
                  <a:pt x="691" y="551"/>
                </a:cubicBezTo>
                <a:close/>
                <a:moveTo>
                  <a:pt x="2115" y="518"/>
                </a:moveTo>
                <a:cubicBezTo>
                  <a:pt x="2118" y="514"/>
                  <a:pt x="2121" y="511"/>
                  <a:pt x="2124" y="508"/>
                </a:cubicBezTo>
                <a:cubicBezTo>
                  <a:pt x="2124" y="508"/>
                  <a:pt x="2124" y="507"/>
                  <a:pt x="2124" y="507"/>
                </a:cubicBezTo>
                <a:cubicBezTo>
                  <a:pt x="2123" y="506"/>
                  <a:pt x="2123" y="506"/>
                  <a:pt x="2123" y="506"/>
                </a:cubicBezTo>
                <a:cubicBezTo>
                  <a:pt x="2122" y="506"/>
                  <a:pt x="2121" y="507"/>
                  <a:pt x="2120" y="507"/>
                </a:cubicBezTo>
                <a:cubicBezTo>
                  <a:pt x="2118" y="508"/>
                  <a:pt x="2117" y="509"/>
                  <a:pt x="2116" y="511"/>
                </a:cubicBezTo>
                <a:cubicBezTo>
                  <a:pt x="2116" y="512"/>
                  <a:pt x="2115" y="514"/>
                  <a:pt x="2114" y="515"/>
                </a:cubicBezTo>
                <a:cubicBezTo>
                  <a:pt x="2114" y="516"/>
                  <a:pt x="2114" y="516"/>
                  <a:pt x="2114" y="517"/>
                </a:cubicBezTo>
                <a:cubicBezTo>
                  <a:pt x="2114" y="517"/>
                  <a:pt x="2114" y="518"/>
                  <a:pt x="2115" y="518"/>
                </a:cubicBezTo>
                <a:cubicBezTo>
                  <a:pt x="2115" y="518"/>
                  <a:pt x="2115" y="518"/>
                  <a:pt x="2115" y="518"/>
                </a:cubicBezTo>
                <a:close/>
                <a:moveTo>
                  <a:pt x="2034" y="949"/>
                </a:moveTo>
                <a:cubicBezTo>
                  <a:pt x="2034" y="948"/>
                  <a:pt x="2034" y="948"/>
                  <a:pt x="2034" y="947"/>
                </a:cubicBezTo>
                <a:cubicBezTo>
                  <a:pt x="2034" y="947"/>
                  <a:pt x="2034" y="946"/>
                  <a:pt x="2034" y="946"/>
                </a:cubicBezTo>
                <a:cubicBezTo>
                  <a:pt x="2032" y="943"/>
                  <a:pt x="2028" y="943"/>
                  <a:pt x="2026" y="946"/>
                </a:cubicBezTo>
                <a:cubicBezTo>
                  <a:pt x="2025" y="946"/>
                  <a:pt x="2025" y="948"/>
                  <a:pt x="2026" y="948"/>
                </a:cubicBezTo>
                <a:cubicBezTo>
                  <a:pt x="2027" y="950"/>
                  <a:pt x="2029" y="951"/>
                  <a:pt x="2032" y="950"/>
                </a:cubicBezTo>
                <a:cubicBezTo>
                  <a:pt x="2032" y="950"/>
                  <a:pt x="2033" y="949"/>
                  <a:pt x="2034" y="949"/>
                </a:cubicBezTo>
                <a:close/>
                <a:moveTo>
                  <a:pt x="1013" y="209"/>
                </a:moveTo>
                <a:cubicBezTo>
                  <a:pt x="1013" y="210"/>
                  <a:pt x="1013" y="211"/>
                  <a:pt x="1013" y="212"/>
                </a:cubicBezTo>
                <a:cubicBezTo>
                  <a:pt x="1012" y="213"/>
                  <a:pt x="1013" y="215"/>
                  <a:pt x="1014" y="215"/>
                </a:cubicBezTo>
                <a:cubicBezTo>
                  <a:pt x="1016" y="216"/>
                  <a:pt x="1017" y="216"/>
                  <a:pt x="1019" y="215"/>
                </a:cubicBezTo>
                <a:cubicBezTo>
                  <a:pt x="1019" y="215"/>
                  <a:pt x="1019" y="215"/>
                  <a:pt x="1020" y="215"/>
                </a:cubicBezTo>
                <a:cubicBezTo>
                  <a:pt x="1020" y="214"/>
                  <a:pt x="1020" y="214"/>
                  <a:pt x="1020" y="214"/>
                </a:cubicBezTo>
                <a:cubicBezTo>
                  <a:pt x="1019" y="212"/>
                  <a:pt x="1018" y="211"/>
                  <a:pt x="1018" y="209"/>
                </a:cubicBezTo>
                <a:cubicBezTo>
                  <a:pt x="1017" y="208"/>
                  <a:pt x="1014" y="208"/>
                  <a:pt x="1013" y="209"/>
                </a:cubicBezTo>
                <a:close/>
                <a:moveTo>
                  <a:pt x="22" y="380"/>
                </a:moveTo>
                <a:cubicBezTo>
                  <a:pt x="21" y="380"/>
                  <a:pt x="20" y="380"/>
                  <a:pt x="20" y="380"/>
                </a:cubicBezTo>
                <a:cubicBezTo>
                  <a:pt x="18" y="382"/>
                  <a:pt x="16" y="385"/>
                  <a:pt x="14" y="387"/>
                </a:cubicBezTo>
                <a:cubicBezTo>
                  <a:pt x="14" y="387"/>
                  <a:pt x="14" y="387"/>
                  <a:pt x="14" y="388"/>
                </a:cubicBezTo>
                <a:cubicBezTo>
                  <a:pt x="14" y="388"/>
                  <a:pt x="14" y="388"/>
                  <a:pt x="15" y="388"/>
                </a:cubicBezTo>
                <a:cubicBezTo>
                  <a:pt x="18" y="388"/>
                  <a:pt x="21" y="386"/>
                  <a:pt x="23" y="384"/>
                </a:cubicBezTo>
                <a:cubicBezTo>
                  <a:pt x="24" y="384"/>
                  <a:pt x="24" y="383"/>
                  <a:pt x="24" y="382"/>
                </a:cubicBezTo>
                <a:cubicBezTo>
                  <a:pt x="24" y="381"/>
                  <a:pt x="23" y="380"/>
                  <a:pt x="22" y="380"/>
                </a:cubicBezTo>
                <a:close/>
                <a:moveTo>
                  <a:pt x="658" y="52"/>
                </a:moveTo>
                <a:cubicBezTo>
                  <a:pt x="658" y="53"/>
                  <a:pt x="660" y="53"/>
                  <a:pt x="660" y="53"/>
                </a:cubicBezTo>
                <a:cubicBezTo>
                  <a:pt x="661" y="51"/>
                  <a:pt x="663" y="50"/>
                  <a:pt x="663" y="47"/>
                </a:cubicBezTo>
                <a:cubicBezTo>
                  <a:pt x="663" y="47"/>
                  <a:pt x="663" y="46"/>
                  <a:pt x="663" y="46"/>
                </a:cubicBezTo>
                <a:cubicBezTo>
                  <a:pt x="662" y="45"/>
                  <a:pt x="661" y="45"/>
                  <a:pt x="660" y="44"/>
                </a:cubicBezTo>
                <a:cubicBezTo>
                  <a:pt x="657" y="45"/>
                  <a:pt x="655" y="47"/>
                  <a:pt x="657" y="50"/>
                </a:cubicBezTo>
                <a:cubicBezTo>
                  <a:pt x="657" y="51"/>
                  <a:pt x="657" y="52"/>
                  <a:pt x="658" y="52"/>
                </a:cubicBezTo>
                <a:close/>
                <a:moveTo>
                  <a:pt x="661" y="119"/>
                </a:moveTo>
                <a:cubicBezTo>
                  <a:pt x="661" y="119"/>
                  <a:pt x="661" y="119"/>
                  <a:pt x="661" y="119"/>
                </a:cubicBezTo>
                <a:cubicBezTo>
                  <a:pt x="662" y="120"/>
                  <a:pt x="664" y="120"/>
                  <a:pt x="665" y="119"/>
                </a:cubicBezTo>
                <a:cubicBezTo>
                  <a:pt x="667" y="119"/>
                  <a:pt x="667" y="118"/>
                  <a:pt x="668" y="116"/>
                </a:cubicBezTo>
                <a:cubicBezTo>
                  <a:pt x="668" y="114"/>
                  <a:pt x="666" y="112"/>
                  <a:pt x="664" y="112"/>
                </a:cubicBezTo>
                <a:cubicBezTo>
                  <a:pt x="663" y="112"/>
                  <a:pt x="663" y="113"/>
                  <a:pt x="662" y="113"/>
                </a:cubicBezTo>
                <a:cubicBezTo>
                  <a:pt x="661" y="115"/>
                  <a:pt x="661" y="116"/>
                  <a:pt x="661" y="119"/>
                </a:cubicBezTo>
                <a:close/>
                <a:moveTo>
                  <a:pt x="9" y="385"/>
                </a:moveTo>
                <a:cubicBezTo>
                  <a:pt x="8" y="385"/>
                  <a:pt x="7" y="385"/>
                  <a:pt x="7" y="385"/>
                </a:cubicBezTo>
                <a:cubicBezTo>
                  <a:pt x="4" y="387"/>
                  <a:pt x="2" y="389"/>
                  <a:pt x="0" y="391"/>
                </a:cubicBezTo>
                <a:cubicBezTo>
                  <a:pt x="0" y="392"/>
                  <a:pt x="0" y="392"/>
                  <a:pt x="1" y="393"/>
                </a:cubicBezTo>
                <a:cubicBezTo>
                  <a:pt x="1" y="393"/>
                  <a:pt x="1" y="393"/>
                  <a:pt x="1" y="393"/>
                </a:cubicBezTo>
                <a:cubicBezTo>
                  <a:pt x="5" y="391"/>
                  <a:pt x="8" y="390"/>
                  <a:pt x="10" y="387"/>
                </a:cubicBezTo>
                <a:cubicBezTo>
                  <a:pt x="10" y="387"/>
                  <a:pt x="10" y="386"/>
                  <a:pt x="10" y="386"/>
                </a:cubicBezTo>
                <a:cubicBezTo>
                  <a:pt x="10" y="386"/>
                  <a:pt x="9" y="385"/>
                  <a:pt x="9" y="385"/>
                </a:cubicBezTo>
                <a:close/>
                <a:moveTo>
                  <a:pt x="1844" y="94"/>
                </a:moveTo>
                <a:cubicBezTo>
                  <a:pt x="1844" y="93"/>
                  <a:pt x="1843" y="94"/>
                  <a:pt x="1842" y="94"/>
                </a:cubicBezTo>
                <a:cubicBezTo>
                  <a:pt x="1841" y="94"/>
                  <a:pt x="1841" y="95"/>
                  <a:pt x="1841" y="96"/>
                </a:cubicBezTo>
                <a:cubicBezTo>
                  <a:pt x="1841" y="99"/>
                  <a:pt x="1843" y="100"/>
                  <a:pt x="1845" y="101"/>
                </a:cubicBezTo>
                <a:cubicBezTo>
                  <a:pt x="1846" y="102"/>
                  <a:pt x="1847" y="101"/>
                  <a:pt x="1847" y="101"/>
                </a:cubicBezTo>
                <a:cubicBezTo>
                  <a:pt x="1847" y="100"/>
                  <a:pt x="1848" y="99"/>
                  <a:pt x="1848" y="98"/>
                </a:cubicBezTo>
                <a:cubicBezTo>
                  <a:pt x="1848" y="96"/>
                  <a:pt x="1846" y="94"/>
                  <a:pt x="1844" y="94"/>
                </a:cubicBezTo>
                <a:close/>
                <a:moveTo>
                  <a:pt x="612" y="90"/>
                </a:moveTo>
                <a:cubicBezTo>
                  <a:pt x="613" y="92"/>
                  <a:pt x="614" y="93"/>
                  <a:pt x="616" y="94"/>
                </a:cubicBezTo>
                <a:cubicBezTo>
                  <a:pt x="618" y="94"/>
                  <a:pt x="619" y="92"/>
                  <a:pt x="619" y="91"/>
                </a:cubicBezTo>
                <a:cubicBezTo>
                  <a:pt x="619" y="88"/>
                  <a:pt x="617" y="87"/>
                  <a:pt x="614" y="87"/>
                </a:cubicBezTo>
                <a:cubicBezTo>
                  <a:pt x="613" y="87"/>
                  <a:pt x="611" y="89"/>
                  <a:pt x="612" y="90"/>
                </a:cubicBezTo>
                <a:close/>
                <a:moveTo>
                  <a:pt x="557" y="73"/>
                </a:moveTo>
                <a:cubicBezTo>
                  <a:pt x="557" y="73"/>
                  <a:pt x="557" y="73"/>
                  <a:pt x="557" y="73"/>
                </a:cubicBezTo>
                <a:cubicBezTo>
                  <a:pt x="557" y="73"/>
                  <a:pt x="557" y="73"/>
                  <a:pt x="557" y="73"/>
                </a:cubicBezTo>
                <a:cubicBezTo>
                  <a:pt x="557" y="74"/>
                  <a:pt x="557" y="75"/>
                  <a:pt x="556" y="76"/>
                </a:cubicBezTo>
                <a:cubicBezTo>
                  <a:pt x="556" y="77"/>
                  <a:pt x="556" y="79"/>
                  <a:pt x="557" y="80"/>
                </a:cubicBezTo>
                <a:cubicBezTo>
                  <a:pt x="558" y="81"/>
                  <a:pt x="559" y="82"/>
                  <a:pt x="559" y="83"/>
                </a:cubicBezTo>
                <a:cubicBezTo>
                  <a:pt x="560" y="84"/>
                  <a:pt x="561" y="85"/>
                  <a:pt x="562" y="85"/>
                </a:cubicBezTo>
                <a:cubicBezTo>
                  <a:pt x="564" y="85"/>
                  <a:pt x="565" y="85"/>
                  <a:pt x="566" y="85"/>
                </a:cubicBezTo>
                <a:cubicBezTo>
                  <a:pt x="568" y="85"/>
                  <a:pt x="570" y="85"/>
                  <a:pt x="571" y="83"/>
                </a:cubicBezTo>
                <a:cubicBezTo>
                  <a:pt x="572" y="82"/>
                  <a:pt x="573" y="80"/>
                  <a:pt x="574" y="79"/>
                </a:cubicBezTo>
                <a:cubicBezTo>
                  <a:pt x="574" y="77"/>
                  <a:pt x="575" y="77"/>
                  <a:pt x="576" y="76"/>
                </a:cubicBezTo>
                <a:cubicBezTo>
                  <a:pt x="577" y="75"/>
                  <a:pt x="578" y="75"/>
                  <a:pt x="579" y="74"/>
                </a:cubicBezTo>
                <a:cubicBezTo>
                  <a:pt x="580" y="74"/>
                  <a:pt x="580" y="73"/>
                  <a:pt x="580" y="72"/>
                </a:cubicBezTo>
                <a:cubicBezTo>
                  <a:pt x="579" y="72"/>
                  <a:pt x="579" y="71"/>
                  <a:pt x="578" y="71"/>
                </a:cubicBezTo>
                <a:cubicBezTo>
                  <a:pt x="575" y="70"/>
                  <a:pt x="571" y="69"/>
                  <a:pt x="567" y="69"/>
                </a:cubicBezTo>
                <a:cubicBezTo>
                  <a:pt x="564" y="69"/>
                  <a:pt x="562" y="69"/>
                  <a:pt x="559" y="71"/>
                </a:cubicBezTo>
                <a:cubicBezTo>
                  <a:pt x="559" y="71"/>
                  <a:pt x="559" y="71"/>
                  <a:pt x="559" y="71"/>
                </a:cubicBezTo>
                <a:cubicBezTo>
                  <a:pt x="559" y="71"/>
                  <a:pt x="559" y="71"/>
                  <a:pt x="559" y="71"/>
                </a:cubicBezTo>
                <a:cubicBezTo>
                  <a:pt x="559" y="71"/>
                  <a:pt x="559" y="71"/>
                  <a:pt x="559" y="71"/>
                </a:cubicBezTo>
                <a:cubicBezTo>
                  <a:pt x="559" y="71"/>
                  <a:pt x="559" y="71"/>
                  <a:pt x="558" y="72"/>
                </a:cubicBezTo>
                <a:cubicBezTo>
                  <a:pt x="559" y="71"/>
                  <a:pt x="559" y="71"/>
                  <a:pt x="559" y="71"/>
                </a:cubicBezTo>
                <a:cubicBezTo>
                  <a:pt x="559" y="69"/>
                  <a:pt x="559" y="68"/>
                  <a:pt x="559" y="66"/>
                </a:cubicBezTo>
                <a:cubicBezTo>
                  <a:pt x="559" y="65"/>
                  <a:pt x="557" y="64"/>
                  <a:pt x="556" y="64"/>
                </a:cubicBezTo>
                <a:cubicBezTo>
                  <a:pt x="555" y="65"/>
                  <a:pt x="554" y="66"/>
                  <a:pt x="554" y="67"/>
                </a:cubicBezTo>
                <a:cubicBezTo>
                  <a:pt x="553" y="68"/>
                  <a:pt x="553" y="69"/>
                  <a:pt x="554" y="71"/>
                </a:cubicBezTo>
                <a:cubicBezTo>
                  <a:pt x="555" y="72"/>
                  <a:pt x="556" y="72"/>
                  <a:pt x="557" y="73"/>
                </a:cubicBezTo>
                <a:close/>
                <a:moveTo>
                  <a:pt x="2149" y="445"/>
                </a:moveTo>
                <a:cubicBezTo>
                  <a:pt x="2151" y="442"/>
                  <a:pt x="2152" y="439"/>
                  <a:pt x="2152" y="436"/>
                </a:cubicBezTo>
                <a:cubicBezTo>
                  <a:pt x="2152" y="436"/>
                  <a:pt x="2151" y="435"/>
                  <a:pt x="2151" y="435"/>
                </a:cubicBezTo>
                <a:cubicBezTo>
                  <a:pt x="2151" y="435"/>
                  <a:pt x="2150" y="435"/>
                  <a:pt x="2150" y="435"/>
                </a:cubicBezTo>
                <a:cubicBezTo>
                  <a:pt x="2150" y="436"/>
                  <a:pt x="2149" y="436"/>
                  <a:pt x="2149" y="436"/>
                </a:cubicBezTo>
                <a:cubicBezTo>
                  <a:pt x="2148" y="438"/>
                  <a:pt x="2147" y="441"/>
                  <a:pt x="2146" y="443"/>
                </a:cubicBezTo>
                <a:cubicBezTo>
                  <a:pt x="2146" y="444"/>
                  <a:pt x="2147" y="444"/>
                  <a:pt x="2147" y="445"/>
                </a:cubicBezTo>
                <a:cubicBezTo>
                  <a:pt x="2147" y="445"/>
                  <a:pt x="2147" y="445"/>
                  <a:pt x="2148" y="445"/>
                </a:cubicBezTo>
                <a:cubicBezTo>
                  <a:pt x="2148" y="445"/>
                  <a:pt x="2149" y="445"/>
                  <a:pt x="2149" y="445"/>
                </a:cubicBezTo>
                <a:close/>
                <a:moveTo>
                  <a:pt x="603" y="441"/>
                </a:moveTo>
                <a:cubicBezTo>
                  <a:pt x="605" y="440"/>
                  <a:pt x="606" y="439"/>
                  <a:pt x="608" y="437"/>
                </a:cubicBezTo>
                <a:cubicBezTo>
                  <a:pt x="608" y="437"/>
                  <a:pt x="608" y="436"/>
                  <a:pt x="607" y="436"/>
                </a:cubicBezTo>
                <a:cubicBezTo>
                  <a:pt x="607" y="434"/>
                  <a:pt x="606" y="434"/>
                  <a:pt x="605" y="434"/>
                </a:cubicBezTo>
                <a:cubicBezTo>
                  <a:pt x="604" y="435"/>
                  <a:pt x="603" y="435"/>
                  <a:pt x="601" y="435"/>
                </a:cubicBezTo>
                <a:cubicBezTo>
                  <a:pt x="600" y="436"/>
                  <a:pt x="600" y="437"/>
                  <a:pt x="600" y="438"/>
                </a:cubicBezTo>
                <a:cubicBezTo>
                  <a:pt x="600" y="438"/>
                  <a:pt x="600" y="439"/>
                  <a:pt x="600" y="439"/>
                </a:cubicBezTo>
                <a:cubicBezTo>
                  <a:pt x="600" y="440"/>
                  <a:pt x="602" y="441"/>
                  <a:pt x="603" y="441"/>
                </a:cubicBezTo>
                <a:close/>
                <a:moveTo>
                  <a:pt x="1798" y="82"/>
                </a:moveTo>
                <a:cubicBezTo>
                  <a:pt x="1798" y="82"/>
                  <a:pt x="1799" y="82"/>
                  <a:pt x="1799" y="82"/>
                </a:cubicBezTo>
                <a:cubicBezTo>
                  <a:pt x="1799" y="82"/>
                  <a:pt x="1799" y="81"/>
                  <a:pt x="1800" y="81"/>
                </a:cubicBezTo>
                <a:cubicBezTo>
                  <a:pt x="1800" y="80"/>
                  <a:pt x="1799" y="79"/>
                  <a:pt x="1799" y="78"/>
                </a:cubicBezTo>
                <a:cubicBezTo>
                  <a:pt x="1798" y="76"/>
                  <a:pt x="1797" y="74"/>
                  <a:pt x="1795" y="74"/>
                </a:cubicBezTo>
                <a:cubicBezTo>
                  <a:pt x="1794" y="73"/>
                  <a:pt x="1794" y="73"/>
                  <a:pt x="1793" y="73"/>
                </a:cubicBezTo>
                <a:cubicBezTo>
                  <a:pt x="1793" y="72"/>
                  <a:pt x="1792" y="72"/>
                  <a:pt x="1792" y="73"/>
                </a:cubicBezTo>
                <a:cubicBezTo>
                  <a:pt x="1792" y="73"/>
                  <a:pt x="1792" y="74"/>
                  <a:pt x="1792" y="74"/>
                </a:cubicBezTo>
                <a:cubicBezTo>
                  <a:pt x="1794" y="77"/>
                  <a:pt x="1796" y="79"/>
                  <a:pt x="1798" y="82"/>
                </a:cubicBezTo>
                <a:close/>
                <a:moveTo>
                  <a:pt x="591" y="169"/>
                </a:moveTo>
                <a:cubicBezTo>
                  <a:pt x="592" y="169"/>
                  <a:pt x="593" y="168"/>
                  <a:pt x="594" y="168"/>
                </a:cubicBezTo>
                <a:cubicBezTo>
                  <a:pt x="594" y="168"/>
                  <a:pt x="594" y="167"/>
                  <a:pt x="595" y="166"/>
                </a:cubicBezTo>
                <a:cubicBezTo>
                  <a:pt x="595" y="166"/>
                  <a:pt x="594" y="166"/>
                  <a:pt x="594" y="166"/>
                </a:cubicBezTo>
                <a:cubicBezTo>
                  <a:pt x="592" y="165"/>
                  <a:pt x="589" y="165"/>
                  <a:pt x="587" y="166"/>
                </a:cubicBezTo>
                <a:cubicBezTo>
                  <a:pt x="585" y="166"/>
                  <a:pt x="584" y="167"/>
                  <a:pt x="584" y="169"/>
                </a:cubicBezTo>
                <a:cubicBezTo>
                  <a:pt x="586" y="169"/>
                  <a:pt x="589" y="170"/>
                  <a:pt x="591" y="169"/>
                </a:cubicBezTo>
                <a:close/>
                <a:moveTo>
                  <a:pt x="571" y="139"/>
                </a:moveTo>
                <a:cubicBezTo>
                  <a:pt x="572" y="139"/>
                  <a:pt x="574" y="139"/>
                  <a:pt x="575" y="137"/>
                </a:cubicBezTo>
                <a:cubicBezTo>
                  <a:pt x="575" y="136"/>
                  <a:pt x="575" y="135"/>
                  <a:pt x="575" y="133"/>
                </a:cubicBezTo>
                <a:cubicBezTo>
                  <a:pt x="574" y="133"/>
                  <a:pt x="574" y="133"/>
                  <a:pt x="573" y="133"/>
                </a:cubicBezTo>
                <a:cubicBezTo>
                  <a:pt x="571" y="133"/>
                  <a:pt x="570" y="135"/>
                  <a:pt x="569" y="136"/>
                </a:cubicBezTo>
                <a:cubicBezTo>
                  <a:pt x="569" y="137"/>
                  <a:pt x="570" y="139"/>
                  <a:pt x="571" y="139"/>
                </a:cubicBezTo>
                <a:close/>
                <a:moveTo>
                  <a:pt x="1159" y="147"/>
                </a:moveTo>
                <a:cubicBezTo>
                  <a:pt x="1159" y="147"/>
                  <a:pt x="1159" y="148"/>
                  <a:pt x="1159" y="148"/>
                </a:cubicBezTo>
                <a:cubicBezTo>
                  <a:pt x="1159" y="152"/>
                  <a:pt x="1161" y="155"/>
                  <a:pt x="1164" y="157"/>
                </a:cubicBezTo>
                <a:cubicBezTo>
                  <a:pt x="1165" y="157"/>
                  <a:pt x="1165" y="157"/>
                  <a:pt x="1165" y="157"/>
                </a:cubicBezTo>
                <a:cubicBezTo>
                  <a:pt x="1165" y="157"/>
                  <a:pt x="1165" y="156"/>
                  <a:pt x="1165" y="156"/>
                </a:cubicBezTo>
                <a:cubicBezTo>
                  <a:pt x="1164" y="153"/>
                  <a:pt x="1162" y="150"/>
                  <a:pt x="1160" y="147"/>
                </a:cubicBezTo>
                <a:cubicBezTo>
                  <a:pt x="1160" y="147"/>
                  <a:pt x="1160" y="147"/>
                  <a:pt x="1159" y="147"/>
                </a:cubicBezTo>
                <a:close/>
                <a:moveTo>
                  <a:pt x="636" y="349"/>
                </a:moveTo>
                <a:cubicBezTo>
                  <a:pt x="635" y="350"/>
                  <a:pt x="635" y="351"/>
                  <a:pt x="636" y="353"/>
                </a:cubicBezTo>
                <a:cubicBezTo>
                  <a:pt x="637" y="353"/>
                  <a:pt x="637" y="354"/>
                  <a:pt x="637" y="354"/>
                </a:cubicBezTo>
                <a:cubicBezTo>
                  <a:pt x="638" y="355"/>
                  <a:pt x="639" y="355"/>
                  <a:pt x="640" y="354"/>
                </a:cubicBezTo>
                <a:cubicBezTo>
                  <a:pt x="640" y="354"/>
                  <a:pt x="641" y="353"/>
                  <a:pt x="641" y="353"/>
                </a:cubicBezTo>
                <a:cubicBezTo>
                  <a:pt x="641" y="351"/>
                  <a:pt x="641" y="350"/>
                  <a:pt x="640" y="350"/>
                </a:cubicBezTo>
                <a:cubicBezTo>
                  <a:pt x="638" y="349"/>
                  <a:pt x="637" y="348"/>
                  <a:pt x="636" y="349"/>
                </a:cubicBezTo>
                <a:close/>
                <a:moveTo>
                  <a:pt x="580" y="470"/>
                </a:moveTo>
                <a:cubicBezTo>
                  <a:pt x="580" y="470"/>
                  <a:pt x="579" y="471"/>
                  <a:pt x="579" y="472"/>
                </a:cubicBezTo>
                <a:cubicBezTo>
                  <a:pt x="579" y="472"/>
                  <a:pt x="579" y="473"/>
                  <a:pt x="579" y="473"/>
                </a:cubicBezTo>
                <a:cubicBezTo>
                  <a:pt x="581" y="474"/>
                  <a:pt x="582" y="474"/>
                  <a:pt x="583" y="474"/>
                </a:cubicBezTo>
                <a:cubicBezTo>
                  <a:pt x="584" y="474"/>
                  <a:pt x="584" y="475"/>
                  <a:pt x="584" y="474"/>
                </a:cubicBezTo>
                <a:cubicBezTo>
                  <a:pt x="585" y="474"/>
                  <a:pt x="585" y="474"/>
                  <a:pt x="586" y="474"/>
                </a:cubicBezTo>
                <a:cubicBezTo>
                  <a:pt x="586" y="473"/>
                  <a:pt x="586" y="472"/>
                  <a:pt x="586" y="471"/>
                </a:cubicBezTo>
                <a:cubicBezTo>
                  <a:pt x="584" y="470"/>
                  <a:pt x="582" y="469"/>
                  <a:pt x="580" y="470"/>
                </a:cubicBezTo>
                <a:close/>
                <a:moveTo>
                  <a:pt x="2006" y="400"/>
                </a:moveTo>
                <a:cubicBezTo>
                  <a:pt x="2004" y="399"/>
                  <a:pt x="2003" y="400"/>
                  <a:pt x="2002" y="401"/>
                </a:cubicBezTo>
                <a:cubicBezTo>
                  <a:pt x="2001" y="403"/>
                  <a:pt x="2002" y="404"/>
                  <a:pt x="2004" y="404"/>
                </a:cubicBezTo>
                <a:cubicBezTo>
                  <a:pt x="2004" y="405"/>
                  <a:pt x="2005" y="405"/>
                  <a:pt x="2005" y="405"/>
                </a:cubicBezTo>
                <a:cubicBezTo>
                  <a:pt x="2006" y="405"/>
                  <a:pt x="2007" y="404"/>
                  <a:pt x="2007" y="404"/>
                </a:cubicBezTo>
                <a:cubicBezTo>
                  <a:pt x="2008" y="402"/>
                  <a:pt x="2007" y="400"/>
                  <a:pt x="2006" y="400"/>
                </a:cubicBezTo>
                <a:close/>
                <a:moveTo>
                  <a:pt x="2071" y="1220"/>
                </a:moveTo>
                <a:cubicBezTo>
                  <a:pt x="2070" y="1220"/>
                  <a:pt x="2070" y="1221"/>
                  <a:pt x="2070" y="1221"/>
                </a:cubicBezTo>
                <a:cubicBezTo>
                  <a:pt x="2070" y="1221"/>
                  <a:pt x="2071" y="1222"/>
                  <a:pt x="2071" y="1222"/>
                </a:cubicBezTo>
                <a:cubicBezTo>
                  <a:pt x="2072" y="1222"/>
                  <a:pt x="2073" y="1222"/>
                  <a:pt x="2074" y="1222"/>
                </a:cubicBezTo>
                <a:cubicBezTo>
                  <a:pt x="2075" y="1222"/>
                  <a:pt x="2075" y="1222"/>
                  <a:pt x="2076" y="1222"/>
                </a:cubicBezTo>
                <a:cubicBezTo>
                  <a:pt x="2076" y="1222"/>
                  <a:pt x="2077" y="1222"/>
                  <a:pt x="2077" y="1222"/>
                </a:cubicBezTo>
                <a:cubicBezTo>
                  <a:pt x="2077" y="1222"/>
                  <a:pt x="2078" y="1221"/>
                  <a:pt x="2078" y="1221"/>
                </a:cubicBezTo>
                <a:cubicBezTo>
                  <a:pt x="2078" y="1220"/>
                  <a:pt x="2078" y="1220"/>
                  <a:pt x="2077" y="1219"/>
                </a:cubicBezTo>
                <a:cubicBezTo>
                  <a:pt x="2075" y="1218"/>
                  <a:pt x="2073" y="1218"/>
                  <a:pt x="2071" y="1220"/>
                </a:cubicBezTo>
                <a:close/>
                <a:moveTo>
                  <a:pt x="1534" y="208"/>
                </a:moveTo>
                <a:cubicBezTo>
                  <a:pt x="1534" y="208"/>
                  <a:pt x="1533" y="208"/>
                  <a:pt x="1533" y="208"/>
                </a:cubicBezTo>
                <a:cubicBezTo>
                  <a:pt x="1531" y="209"/>
                  <a:pt x="1530" y="212"/>
                  <a:pt x="1532" y="213"/>
                </a:cubicBezTo>
                <a:cubicBezTo>
                  <a:pt x="1533" y="214"/>
                  <a:pt x="1534" y="215"/>
                  <a:pt x="1535" y="214"/>
                </a:cubicBezTo>
                <a:cubicBezTo>
                  <a:pt x="1536" y="214"/>
                  <a:pt x="1536" y="214"/>
                  <a:pt x="1537" y="213"/>
                </a:cubicBezTo>
                <a:cubicBezTo>
                  <a:pt x="1537" y="211"/>
                  <a:pt x="1536" y="209"/>
                  <a:pt x="1534" y="208"/>
                </a:cubicBezTo>
                <a:close/>
                <a:moveTo>
                  <a:pt x="2087" y="963"/>
                </a:moveTo>
                <a:cubicBezTo>
                  <a:pt x="2087" y="963"/>
                  <a:pt x="2086" y="963"/>
                  <a:pt x="2086" y="963"/>
                </a:cubicBezTo>
                <a:cubicBezTo>
                  <a:pt x="2085" y="965"/>
                  <a:pt x="2084" y="967"/>
                  <a:pt x="2084" y="970"/>
                </a:cubicBezTo>
                <a:cubicBezTo>
                  <a:pt x="2084" y="970"/>
                  <a:pt x="2085" y="971"/>
                  <a:pt x="2085" y="971"/>
                </a:cubicBezTo>
                <a:cubicBezTo>
                  <a:pt x="2085" y="971"/>
                  <a:pt x="2085" y="971"/>
                  <a:pt x="2086" y="971"/>
                </a:cubicBezTo>
                <a:cubicBezTo>
                  <a:pt x="2088" y="970"/>
                  <a:pt x="2089" y="967"/>
                  <a:pt x="2088" y="964"/>
                </a:cubicBezTo>
                <a:cubicBezTo>
                  <a:pt x="2088" y="963"/>
                  <a:pt x="2088" y="963"/>
                  <a:pt x="2087" y="963"/>
                </a:cubicBezTo>
                <a:close/>
                <a:moveTo>
                  <a:pt x="2059" y="1011"/>
                </a:moveTo>
                <a:cubicBezTo>
                  <a:pt x="2060" y="1011"/>
                  <a:pt x="2061" y="1010"/>
                  <a:pt x="2062" y="1009"/>
                </a:cubicBezTo>
                <a:cubicBezTo>
                  <a:pt x="2063" y="1008"/>
                  <a:pt x="2062" y="1007"/>
                  <a:pt x="2061" y="1007"/>
                </a:cubicBezTo>
                <a:cubicBezTo>
                  <a:pt x="2061" y="1006"/>
                  <a:pt x="2060" y="1006"/>
                  <a:pt x="2059" y="1006"/>
                </a:cubicBezTo>
                <a:cubicBezTo>
                  <a:pt x="2058" y="1006"/>
                  <a:pt x="2057" y="1006"/>
                  <a:pt x="2056" y="1007"/>
                </a:cubicBezTo>
                <a:cubicBezTo>
                  <a:pt x="2055" y="1007"/>
                  <a:pt x="2055" y="1007"/>
                  <a:pt x="2055" y="1008"/>
                </a:cubicBezTo>
                <a:cubicBezTo>
                  <a:pt x="2055" y="1008"/>
                  <a:pt x="2055" y="1009"/>
                  <a:pt x="2055" y="1009"/>
                </a:cubicBezTo>
                <a:cubicBezTo>
                  <a:pt x="2056" y="1010"/>
                  <a:pt x="2058" y="1010"/>
                  <a:pt x="2059" y="1011"/>
                </a:cubicBezTo>
                <a:close/>
                <a:moveTo>
                  <a:pt x="141" y="334"/>
                </a:moveTo>
                <a:cubicBezTo>
                  <a:pt x="139" y="336"/>
                  <a:pt x="137" y="337"/>
                  <a:pt x="137" y="339"/>
                </a:cubicBezTo>
                <a:cubicBezTo>
                  <a:pt x="139" y="339"/>
                  <a:pt x="141" y="340"/>
                  <a:pt x="143" y="339"/>
                </a:cubicBezTo>
                <a:cubicBezTo>
                  <a:pt x="143" y="339"/>
                  <a:pt x="144" y="338"/>
                  <a:pt x="144" y="338"/>
                </a:cubicBezTo>
                <a:cubicBezTo>
                  <a:pt x="145" y="337"/>
                  <a:pt x="144" y="336"/>
                  <a:pt x="144" y="335"/>
                </a:cubicBezTo>
                <a:cubicBezTo>
                  <a:pt x="143" y="334"/>
                  <a:pt x="141" y="334"/>
                  <a:pt x="141" y="334"/>
                </a:cubicBezTo>
                <a:close/>
                <a:moveTo>
                  <a:pt x="137" y="339"/>
                </a:moveTo>
                <a:cubicBezTo>
                  <a:pt x="136" y="340"/>
                  <a:pt x="134" y="341"/>
                  <a:pt x="133" y="340"/>
                </a:cubicBezTo>
                <a:cubicBezTo>
                  <a:pt x="131" y="340"/>
                  <a:pt x="130" y="340"/>
                  <a:pt x="129" y="342"/>
                </a:cubicBezTo>
                <a:cubicBezTo>
                  <a:pt x="129" y="342"/>
                  <a:pt x="129" y="343"/>
                  <a:pt x="128" y="343"/>
                </a:cubicBezTo>
                <a:cubicBezTo>
                  <a:pt x="128" y="343"/>
                  <a:pt x="128" y="343"/>
                  <a:pt x="127" y="343"/>
                </a:cubicBezTo>
                <a:cubicBezTo>
                  <a:pt x="121" y="344"/>
                  <a:pt x="120" y="345"/>
                  <a:pt x="120" y="351"/>
                </a:cubicBezTo>
                <a:cubicBezTo>
                  <a:pt x="120" y="352"/>
                  <a:pt x="120" y="353"/>
                  <a:pt x="121" y="353"/>
                </a:cubicBezTo>
                <a:cubicBezTo>
                  <a:pt x="122" y="354"/>
                  <a:pt x="122" y="355"/>
                  <a:pt x="122" y="355"/>
                </a:cubicBezTo>
                <a:cubicBezTo>
                  <a:pt x="123" y="356"/>
                  <a:pt x="124" y="356"/>
                  <a:pt x="124" y="356"/>
                </a:cubicBezTo>
                <a:cubicBezTo>
                  <a:pt x="127" y="353"/>
                  <a:pt x="130" y="351"/>
                  <a:pt x="134" y="349"/>
                </a:cubicBezTo>
                <a:cubicBezTo>
                  <a:pt x="136" y="349"/>
                  <a:pt x="137" y="347"/>
                  <a:pt x="139" y="346"/>
                </a:cubicBezTo>
                <a:cubicBezTo>
                  <a:pt x="140" y="345"/>
                  <a:pt x="140" y="344"/>
                  <a:pt x="140" y="342"/>
                </a:cubicBezTo>
                <a:cubicBezTo>
                  <a:pt x="140" y="341"/>
                  <a:pt x="139" y="341"/>
                  <a:pt x="138" y="340"/>
                </a:cubicBezTo>
                <a:cubicBezTo>
                  <a:pt x="138" y="340"/>
                  <a:pt x="137" y="339"/>
                  <a:pt x="137" y="339"/>
                </a:cubicBezTo>
                <a:cubicBezTo>
                  <a:pt x="137" y="339"/>
                  <a:pt x="137" y="339"/>
                  <a:pt x="137" y="339"/>
                </a:cubicBezTo>
                <a:cubicBezTo>
                  <a:pt x="137" y="339"/>
                  <a:pt x="137" y="339"/>
                  <a:pt x="137" y="339"/>
                </a:cubicBezTo>
                <a:close/>
                <a:moveTo>
                  <a:pt x="2249" y="1366"/>
                </a:moveTo>
                <a:cubicBezTo>
                  <a:pt x="2248" y="1368"/>
                  <a:pt x="2247" y="1369"/>
                  <a:pt x="2247" y="1372"/>
                </a:cubicBezTo>
                <a:cubicBezTo>
                  <a:pt x="2247" y="1372"/>
                  <a:pt x="2247" y="1372"/>
                  <a:pt x="2247" y="1372"/>
                </a:cubicBezTo>
                <a:cubicBezTo>
                  <a:pt x="2248" y="1372"/>
                  <a:pt x="2250" y="1372"/>
                  <a:pt x="2251" y="1371"/>
                </a:cubicBezTo>
                <a:cubicBezTo>
                  <a:pt x="2252" y="1371"/>
                  <a:pt x="2252" y="1369"/>
                  <a:pt x="2251" y="1367"/>
                </a:cubicBezTo>
                <a:cubicBezTo>
                  <a:pt x="2251" y="1366"/>
                  <a:pt x="2250" y="1366"/>
                  <a:pt x="2249" y="1366"/>
                </a:cubicBezTo>
                <a:close/>
                <a:moveTo>
                  <a:pt x="673" y="843"/>
                </a:moveTo>
                <a:cubicBezTo>
                  <a:pt x="673" y="845"/>
                  <a:pt x="673" y="846"/>
                  <a:pt x="675" y="846"/>
                </a:cubicBezTo>
                <a:cubicBezTo>
                  <a:pt x="676" y="846"/>
                  <a:pt x="677" y="845"/>
                  <a:pt x="678" y="843"/>
                </a:cubicBezTo>
                <a:cubicBezTo>
                  <a:pt x="678" y="842"/>
                  <a:pt x="677" y="840"/>
                  <a:pt x="675" y="840"/>
                </a:cubicBezTo>
                <a:cubicBezTo>
                  <a:pt x="674" y="840"/>
                  <a:pt x="673" y="841"/>
                  <a:pt x="673" y="842"/>
                </a:cubicBezTo>
                <a:cubicBezTo>
                  <a:pt x="673" y="842"/>
                  <a:pt x="673" y="843"/>
                  <a:pt x="673" y="843"/>
                </a:cubicBezTo>
                <a:close/>
                <a:moveTo>
                  <a:pt x="1377" y="76"/>
                </a:moveTo>
                <a:cubicBezTo>
                  <a:pt x="1378" y="75"/>
                  <a:pt x="1379" y="75"/>
                  <a:pt x="1379" y="74"/>
                </a:cubicBezTo>
                <a:cubicBezTo>
                  <a:pt x="1379" y="73"/>
                  <a:pt x="1379" y="71"/>
                  <a:pt x="1377" y="71"/>
                </a:cubicBezTo>
                <a:cubicBezTo>
                  <a:pt x="1376" y="70"/>
                  <a:pt x="1375" y="71"/>
                  <a:pt x="1374" y="71"/>
                </a:cubicBezTo>
                <a:cubicBezTo>
                  <a:pt x="1372" y="72"/>
                  <a:pt x="1372" y="74"/>
                  <a:pt x="1374" y="75"/>
                </a:cubicBezTo>
                <a:cubicBezTo>
                  <a:pt x="1375" y="76"/>
                  <a:pt x="1376" y="76"/>
                  <a:pt x="1377" y="76"/>
                </a:cubicBezTo>
                <a:close/>
                <a:moveTo>
                  <a:pt x="1501" y="826"/>
                </a:moveTo>
                <a:cubicBezTo>
                  <a:pt x="1500" y="826"/>
                  <a:pt x="1500" y="826"/>
                  <a:pt x="1500" y="826"/>
                </a:cubicBezTo>
                <a:cubicBezTo>
                  <a:pt x="1499" y="826"/>
                  <a:pt x="1498" y="827"/>
                  <a:pt x="1498" y="827"/>
                </a:cubicBezTo>
                <a:cubicBezTo>
                  <a:pt x="1497" y="828"/>
                  <a:pt x="1499" y="830"/>
                  <a:pt x="1500" y="830"/>
                </a:cubicBezTo>
                <a:cubicBezTo>
                  <a:pt x="1501" y="830"/>
                  <a:pt x="1503" y="830"/>
                  <a:pt x="1504" y="828"/>
                </a:cubicBezTo>
                <a:cubicBezTo>
                  <a:pt x="1504" y="827"/>
                  <a:pt x="1504" y="827"/>
                  <a:pt x="1504" y="826"/>
                </a:cubicBezTo>
                <a:cubicBezTo>
                  <a:pt x="1503" y="826"/>
                  <a:pt x="1501" y="826"/>
                  <a:pt x="1501" y="826"/>
                </a:cubicBezTo>
                <a:close/>
                <a:moveTo>
                  <a:pt x="664" y="268"/>
                </a:moveTo>
                <a:cubicBezTo>
                  <a:pt x="664" y="269"/>
                  <a:pt x="663" y="269"/>
                  <a:pt x="663" y="269"/>
                </a:cubicBezTo>
                <a:cubicBezTo>
                  <a:pt x="661" y="270"/>
                  <a:pt x="659" y="270"/>
                  <a:pt x="658" y="272"/>
                </a:cubicBezTo>
                <a:cubicBezTo>
                  <a:pt x="658" y="272"/>
                  <a:pt x="658" y="273"/>
                  <a:pt x="658" y="274"/>
                </a:cubicBezTo>
                <a:cubicBezTo>
                  <a:pt x="658" y="274"/>
                  <a:pt x="658" y="274"/>
                  <a:pt x="659" y="274"/>
                </a:cubicBezTo>
                <a:cubicBezTo>
                  <a:pt x="660" y="274"/>
                  <a:pt x="661" y="274"/>
                  <a:pt x="661" y="274"/>
                </a:cubicBezTo>
                <a:cubicBezTo>
                  <a:pt x="663" y="273"/>
                  <a:pt x="664" y="272"/>
                  <a:pt x="665" y="271"/>
                </a:cubicBezTo>
                <a:cubicBezTo>
                  <a:pt x="666" y="270"/>
                  <a:pt x="666" y="269"/>
                  <a:pt x="666" y="269"/>
                </a:cubicBezTo>
                <a:cubicBezTo>
                  <a:pt x="665" y="268"/>
                  <a:pt x="665" y="268"/>
                  <a:pt x="664" y="268"/>
                </a:cubicBezTo>
                <a:close/>
                <a:moveTo>
                  <a:pt x="2319" y="1039"/>
                </a:moveTo>
                <a:cubicBezTo>
                  <a:pt x="2318" y="1038"/>
                  <a:pt x="2317" y="1037"/>
                  <a:pt x="2316" y="1036"/>
                </a:cubicBezTo>
                <a:cubicBezTo>
                  <a:pt x="2315" y="1036"/>
                  <a:pt x="2315" y="1036"/>
                  <a:pt x="2315" y="1037"/>
                </a:cubicBezTo>
                <a:cubicBezTo>
                  <a:pt x="2314" y="1038"/>
                  <a:pt x="2315" y="1040"/>
                  <a:pt x="2315" y="1041"/>
                </a:cubicBezTo>
                <a:cubicBezTo>
                  <a:pt x="2315" y="1042"/>
                  <a:pt x="2316" y="1042"/>
                  <a:pt x="2318" y="1042"/>
                </a:cubicBezTo>
                <a:cubicBezTo>
                  <a:pt x="2319" y="1041"/>
                  <a:pt x="2319" y="1040"/>
                  <a:pt x="2319" y="1039"/>
                </a:cubicBezTo>
                <a:close/>
                <a:moveTo>
                  <a:pt x="685" y="294"/>
                </a:moveTo>
                <a:cubicBezTo>
                  <a:pt x="685" y="294"/>
                  <a:pt x="686" y="293"/>
                  <a:pt x="686" y="293"/>
                </a:cubicBezTo>
                <a:cubicBezTo>
                  <a:pt x="686" y="292"/>
                  <a:pt x="686" y="292"/>
                  <a:pt x="686" y="291"/>
                </a:cubicBezTo>
                <a:cubicBezTo>
                  <a:pt x="685" y="290"/>
                  <a:pt x="683" y="290"/>
                  <a:pt x="682" y="290"/>
                </a:cubicBezTo>
                <a:cubicBezTo>
                  <a:pt x="681" y="290"/>
                  <a:pt x="680" y="290"/>
                  <a:pt x="680" y="291"/>
                </a:cubicBezTo>
                <a:cubicBezTo>
                  <a:pt x="680" y="292"/>
                  <a:pt x="680" y="293"/>
                  <a:pt x="681" y="293"/>
                </a:cubicBezTo>
                <a:cubicBezTo>
                  <a:pt x="682" y="294"/>
                  <a:pt x="683" y="295"/>
                  <a:pt x="685" y="294"/>
                </a:cubicBezTo>
                <a:close/>
                <a:moveTo>
                  <a:pt x="2282" y="993"/>
                </a:moveTo>
                <a:cubicBezTo>
                  <a:pt x="2282" y="993"/>
                  <a:pt x="2282" y="992"/>
                  <a:pt x="2282" y="992"/>
                </a:cubicBezTo>
                <a:cubicBezTo>
                  <a:pt x="2283" y="992"/>
                  <a:pt x="2283" y="992"/>
                  <a:pt x="2283" y="992"/>
                </a:cubicBezTo>
                <a:cubicBezTo>
                  <a:pt x="2282" y="991"/>
                  <a:pt x="2281" y="990"/>
                  <a:pt x="2281" y="989"/>
                </a:cubicBezTo>
                <a:cubicBezTo>
                  <a:pt x="2281" y="989"/>
                  <a:pt x="2281" y="989"/>
                  <a:pt x="2281" y="989"/>
                </a:cubicBezTo>
                <a:cubicBezTo>
                  <a:pt x="2280" y="988"/>
                  <a:pt x="2279" y="987"/>
                  <a:pt x="2278" y="986"/>
                </a:cubicBezTo>
                <a:cubicBezTo>
                  <a:pt x="2278" y="985"/>
                  <a:pt x="2277" y="985"/>
                  <a:pt x="2277" y="985"/>
                </a:cubicBezTo>
                <a:cubicBezTo>
                  <a:pt x="2277" y="985"/>
                  <a:pt x="2276" y="987"/>
                  <a:pt x="2277" y="987"/>
                </a:cubicBezTo>
                <a:cubicBezTo>
                  <a:pt x="2278" y="990"/>
                  <a:pt x="2279" y="991"/>
                  <a:pt x="2282" y="993"/>
                </a:cubicBezTo>
                <a:close/>
                <a:moveTo>
                  <a:pt x="1353" y="91"/>
                </a:moveTo>
                <a:cubicBezTo>
                  <a:pt x="1352" y="91"/>
                  <a:pt x="1351" y="90"/>
                  <a:pt x="1350" y="90"/>
                </a:cubicBezTo>
                <a:cubicBezTo>
                  <a:pt x="1350" y="90"/>
                  <a:pt x="1349" y="91"/>
                  <a:pt x="1349" y="91"/>
                </a:cubicBezTo>
                <a:cubicBezTo>
                  <a:pt x="1348" y="91"/>
                  <a:pt x="1348" y="92"/>
                  <a:pt x="1348" y="92"/>
                </a:cubicBezTo>
                <a:cubicBezTo>
                  <a:pt x="1347" y="93"/>
                  <a:pt x="1348" y="93"/>
                  <a:pt x="1348" y="93"/>
                </a:cubicBezTo>
                <a:cubicBezTo>
                  <a:pt x="1351" y="93"/>
                  <a:pt x="1353" y="94"/>
                  <a:pt x="1355" y="95"/>
                </a:cubicBezTo>
                <a:cubicBezTo>
                  <a:pt x="1355" y="94"/>
                  <a:pt x="1355" y="94"/>
                  <a:pt x="1355" y="93"/>
                </a:cubicBezTo>
                <a:cubicBezTo>
                  <a:pt x="1354" y="91"/>
                  <a:pt x="1354" y="91"/>
                  <a:pt x="1353" y="91"/>
                </a:cubicBezTo>
                <a:close/>
                <a:moveTo>
                  <a:pt x="1355" y="95"/>
                </a:moveTo>
                <a:cubicBezTo>
                  <a:pt x="1355" y="95"/>
                  <a:pt x="1355" y="95"/>
                  <a:pt x="1355" y="95"/>
                </a:cubicBezTo>
                <a:cubicBezTo>
                  <a:pt x="1355" y="95"/>
                  <a:pt x="1355" y="95"/>
                  <a:pt x="1355" y="95"/>
                </a:cubicBezTo>
                <a:cubicBezTo>
                  <a:pt x="1355" y="95"/>
                  <a:pt x="1355" y="95"/>
                  <a:pt x="1355" y="95"/>
                </a:cubicBezTo>
                <a:cubicBezTo>
                  <a:pt x="1355" y="95"/>
                  <a:pt x="1355" y="95"/>
                  <a:pt x="1355" y="95"/>
                </a:cubicBezTo>
                <a:close/>
                <a:moveTo>
                  <a:pt x="1580" y="118"/>
                </a:moveTo>
                <a:cubicBezTo>
                  <a:pt x="1582" y="118"/>
                  <a:pt x="1584" y="116"/>
                  <a:pt x="1584" y="114"/>
                </a:cubicBezTo>
                <a:cubicBezTo>
                  <a:pt x="1584" y="114"/>
                  <a:pt x="1584" y="113"/>
                  <a:pt x="1583" y="113"/>
                </a:cubicBezTo>
                <a:cubicBezTo>
                  <a:pt x="1583" y="113"/>
                  <a:pt x="1583" y="113"/>
                  <a:pt x="1583" y="113"/>
                </a:cubicBezTo>
                <a:cubicBezTo>
                  <a:pt x="1582" y="113"/>
                  <a:pt x="1580" y="114"/>
                  <a:pt x="1579" y="115"/>
                </a:cubicBezTo>
                <a:cubicBezTo>
                  <a:pt x="1579" y="115"/>
                  <a:pt x="1579" y="116"/>
                  <a:pt x="1579" y="117"/>
                </a:cubicBezTo>
                <a:cubicBezTo>
                  <a:pt x="1579" y="117"/>
                  <a:pt x="1579" y="118"/>
                  <a:pt x="1580" y="118"/>
                </a:cubicBezTo>
                <a:close/>
                <a:moveTo>
                  <a:pt x="1624" y="77"/>
                </a:moveTo>
                <a:cubicBezTo>
                  <a:pt x="1624" y="77"/>
                  <a:pt x="1624" y="77"/>
                  <a:pt x="1624" y="77"/>
                </a:cubicBezTo>
                <a:cubicBezTo>
                  <a:pt x="1624" y="76"/>
                  <a:pt x="1624" y="76"/>
                  <a:pt x="1623" y="75"/>
                </a:cubicBezTo>
                <a:cubicBezTo>
                  <a:pt x="1621" y="75"/>
                  <a:pt x="1619" y="76"/>
                  <a:pt x="1617" y="75"/>
                </a:cubicBezTo>
                <a:cubicBezTo>
                  <a:pt x="1617" y="75"/>
                  <a:pt x="1616" y="75"/>
                  <a:pt x="1616" y="76"/>
                </a:cubicBezTo>
                <a:cubicBezTo>
                  <a:pt x="1616" y="76"/>
                  <a:pt x="1616" y="76"/>
                  <a:pt x="1616" y="76"/>
                </a:cubicBezTo>
                <a:cubicBezTo>
                  <a:pt x="1618" y="79"/>
                  <a:pt x="1621" y="79"/>
                  <a:pt x="1624" y="77"/>
                </a:cubicBezTo>
                <a:close/>
                <a:moveTo>
                  <a:pt x="761" y="1154"/>
                </a:moveTo>
                <a:cubicBezTo>
                  <a:pt x="761" y="1154"/>
                  <a:pt x="761" y="1154"/>
                  <a:pt x="761" y="1154"/>
                </a:cubicBezTo>
                <a:cubicBezTo>
                  <a:pt x="761" y="1154"/>
                  <a:pt x="761" y="1154"/>
                  <a:pt x="761" y="1154"/>
                </a:cubicBezTo>
                <a:cubicBezTo>
                  <a:pt x="761" y="1154"/>
                  <a:pt x="761" y="1154"/>
                  <a:pt x="761" y="1154"/>
                </a:cubicBezTo>
                <a:cubicBezTo>
                  <a:pt x="761" y="1154"/>
                  <a:pt x="761" y="1154"/>
                  <a:pt x="761" y="1154"/>
                </a:cubicBezTo>
                <a:close/>
                <a:moveTo>
                  <a:pt x="755" y="1157"/>
                </a:moveTo>
                <a:cubicBezTo>
                  <a:pt x="755" y="1158"/>
                  <a:pt x="754" y="1159"/>
                  <a:pt x="753" y="1160"/>
                </a:cubicBezTo>
                <a:cubicBezTo>
                  <a:pt x="752" y="1161"/>
                  <a:pt x="752" y="1162"/>
                  <a:pt x="752" y="1162"/>
                </a:cubicBezTo>
                <a:cubicBezTo>
                  <a:pt x="757" y="1162"/>
                  <a:pt x="759" y="1159"/>
                  <a:pt x="761" y="1155"/>
                </a:cubicBezTo>
                <a:cubicBezTo>
                  <a:pt x="761" y="1154"/>
                  <a:pt x="761" y="1154"/>
                  <a:pt x="761" y="1154"/>
                </a:cubicBezTo>
                <a:cubicBezTo>
                  <a:pt x="760" y="1154"/>
                  <a:pt x="759" y="1154"/>
                  <a:pt x="759" y="1155"/>
                </a:cubicBezTo>
                <a:cubicBezTo>
                  <a:pt x="757" y="1156"/>
                  <a:pt x="756" y="1156"/>
                  <a:pt x="755" y="1157"/>
                </a:cubicBezTo>
                <a:close/>
                <a:moveTo>
                  <a:pt x="755" y="1157"/>
                </a:moveTo>
                <a:cubicBezTo>
                  <a:pt x="755" y="1157"/>
                  <a:pt x="756" y="1157"/>
                  <a:pt x="756" y="1157"/>
                </a:cubicBezTo>
                <a:cubicBezTo>
                  <a:pt x="755" y="1157"/>
                  <a:pt x="755" y="1157"/>
                  <a:pt x="755" y="1157"/>
                </a:cubicBezTo>
                <a:cubicBezTo>
                  <a:pt x="755" y="1157"/>
                  <a:pt x="755" y="1157"/>
                  <a:pt x="755" y="1157"/>
                </a:cubicBezTo>
                <a:cubicBezTo>
                  <a:pt x="755" y="1157"/>
                  <a:pt x="755" y="1157"/>
                  <a:pt x="755" y="1157"/>
                </a:cubicBezTo>
                <a:close/>
                <a:moveTo>
                  <a:pt x="922" y="39"/>
                </a:moveTo>
                <a:cubicBezTo>
                  <a:pt x="923" y="39"/>
                  <a:pt x="923" y="39"/>
                  <a:pt x="924" y="39"/>
                </a:cubicBezTo>
                <a:cubicBezTo>
                  <a:pt x="924" y="39"/>
                  <a:pt x="925" y="38"/>
                  <a:pt x="925" y="38"/>
                </a:cubicBezTo>
                <a:cubicBezTo>
                  <a:pt x="926" y="36"/>
                  <a:pt x="925" y="35"/>
                  <a:pt x="924" y="35"/>
                </a:cubicBezTo>
                <a:cubicBezTo>
                  <a:pt x="923" y="34"/>
                  <a:pt x="922" y="35"/>
                  <a:pt x="921" y="36"/>
                </a:cubicBezTo>
                <a:cubicBezTo>
                  <a:pt x="921" y="37"/>
                  <a:pt x="921" y="38"/>
                  <a:pt x="922" y="39"/>
                </a:cubicBezTo>
                <a:close/>
                <a:moveTo>
                  <a:pt x="2020" y="936"/>
                </a:moveTo>
                <a:cubicBezTo>
                  <a:pt x="2021" y="936"/>
                  <a:pt x="2022" y="936"/>
                  <a:pt x="2023" y="936"/>
                </a:cubicBezTo>
                <a:cubicBezTo>
                  <a:pt x="2023" y="936"/>
                  <a:pt x="2024" y="936"/>
                  <a:pt x="2024" y="935"/>
                </a:cubicBezTo>
                <a:cubicBezTo>
                  <a:pt x="2024" y="935"/>
                  <a:pt x="2024" y="935"/>
                  <a:pt x="2023" y="935"/>
                </a:cubicBezTo>
                <a:cubicBezTo>
                  <a:pt x="2021" y="935"/>
                  <a:pt x="2018" y="934"/>
                  <a:pt x="2016" y="934"/>
                </a:cubicBezTo>
                <a:cubicBezTo>
                  <a:pt x="2015" y="934"/>
                  <a:pt x="2015" y="935"/>
                  <a:pt x="2015" y="935"/>
                </a:cubicBezTo>
                <a:cubicBezTo>
                  <a:pt x="2014" y="936"/>
                  <a:pt x="2015" y="936"/>
                  <a:pt x="2015" y="936"/>
                </a:cubicBezTo>
                <a:cubicBezTo>
                  <a:pt x="2017" y="936"/>
                  <a:pt x="2018" y="936"/>
                  <a:pt x="2020" y="936"/>
                </a:cubicBezTo>
                <a:cubicBezTo>
                  <a:pt x="2020" y="936"/>
                  <a:pt x="2020" y="936"/>
                  <a:pt x="2020" y="936"/>
                </a:cubicBezTo>
                <a:close/>
                <a:moveTo>
                  <a:pt x="2275" y="995"/>
                </a:moveTo>
                <a:cubicBezTo>
                  <a:pt x="2275" y="995"/>
                  <a:pt x="2276" y="995"/>
                  <a:pt x="2276" y="994"/>
                </a:cubicBezTo>
                <a:cubicBezTo>
                  <a:pt x="2276" y="994"/>
                  <a:pt x="2276" y="993"/>
                  <a:pt x="2276" y="993"/>
                </a:cubicBezTo>
                <a:cubicBezTo>
                  <a:pt x="2275" y="992"/>
                  <a:pt x="2273" y="991"/>
                  <a:pt x="2271" y="991"/>
                </a:cubicBezTo>
                <a:cubicBezTo>
                  <a:pt x="2271" y="991"/>
                  <a:pt x="2270" y="991"/>
                  <a:pt x="2270" y="992"/>
                </a:cubicBezTo>
                <a:cubicBezTo>
                  <a:pt x="2269" y="992"/>
                  <a:pt x="2270" y="993"/>
                  <a:pt x="2270" y="994"/>
                </a:cubicBezTo>
                <a:cubicBezTo>
                  <a:pt x="2272" y="995"/>
                  <a:pt x="2273" y="995"/>
                  <a:pt x="2275" y="995"/>
                </a:cubicBezTo>
                <a:close/>
                <a:moveTo>
                  <a:pt x="2107" y="528"/>
                </a:moveTo>
                <a:cubicBezTo>
                  <a:pt x="2106" y="528"/>
                  <a:pt x="2106" y="528"/>
                  <a:pt x="2106" y="528"/>
                </a:cubicBezTo>
                <a:cubicBezTo>
                  <a:pt x="2106" y="528"/>
                  <a:pt x="2106" y="528"/>
                  <a:pt x="2106" y="528"/>
                </a:cubicBezTo>
                <a:cubicBezTo>
                  <a:pt x="2106" y="528"/>
                  <a:pt x="2106" y="528"/>
                  <a:pt x="2107" y="528"/>
                </a:cubicBezTo>
                <a:cubicBezTo>
                  <a:pt x="2107" y="528"/>
                  <a:pt x="2107" y="528"/>
                  <a:pt x="2107" y="528"/>
                </a:cubicBezTo>
                <a:close/>
                <a:moveTo>
                  <a:pt x="2110" y="521"/>
                </a:moveTo>
                <a:cubicBezTo>
                  <a:pt x="2110" y="520"/>
                  <a:pt x="2109" y="520"/>
                  <a:pt x="2109" y="520"/>
                </a:cubicBezTo>
                <a:cubicBezTo>
                  <a:pt x="2108" y="521"/>
                  <a:pt x="2108" y="521"/>
                  <a:pt x="2108" y="522"/>
                </a:cubicBezTo>
                <a:cubicBezTo>
                  <a:pt x="2107" y="524"/>
                  <a:pt x="2106" y="526"/>
                  <a:pt x="2107" y="528"/>
                </a:cubicBezTo>
                <a:cubicBezTo>
                  <a:pt x="2109" y="526"/>
                  <a:pt x="2111" y="524"/>
                  <a:pt x="2111" y="521"/>
                </a:cubicBezTo>
                <a:cubicBezTo>
                  <a:pt x="2111" y="521"/>
                  <a:pt x="2111" y="521"/>
                  <a:pt x="2110" y="521"/>
                </a:cubicBezTo>
                <a:close/>
                <a:moveTo>
                  <a:pt x="1337" y="106"/>
                </a:moveTo>
                <a:cubicBezTo>
                  <a:pt x="1337" y="107"/>
                  <a:pt x="1337" y="108"/>
                  <a:pt x="1337" y="108"/>
                </a:cubicBezTo>
                <a:cubicBezTo>
                  <a:pt x="1338" y="109"/>
                  <a:pt x="1341" y="108"/>
                  <a:pt x="1342" y="107"/>
                </a:cubicBezTo>
                <a:cubicBezTo>
                  <a:pt x="1342" y="107"/>
                  <a:pt x="1342" y="107"/>
                  <a:pt x="1342" y="106"/>
                </a:cubicBezTo>
                <a:cubicBezTo>
                  <a:pt x="1341" y="106"/>
                  <a:pt x="1341" y="104"/>
                  <a:pt x="1340" y="104"/>
                </a:cubicBezTo>
                <a:cubicBezTo>
                  <a:pt x="1339" y="103"/>
                  <a:pt x="1338" y="104"/>
                  <a:pt x="1337" y="104"/>
                </a:cubicBezTo>
                <a:cubicBezTo>
                  <a:pt x="1337" y="105"/>
                  <a:pt x="1337" y="106"/>
                  <a:pt x="1337" y="106"/>
                </a:cubicBezTo>
                <a:close/>
                <a:moveTo>
                  <a:pt x="1376" y="100"/>
                </a:moveTo>
                <a:cubicBezTo>
                  <a:pt x="1376" y="101"/>
                  <a:pt x="1377" y="102"/>
                  <a:pt x="1378" y="102"/>
                </a:cubicBezTo>
                <a:cubicBezTo>
                  <a:pt x="1380" y="101"/>
                  <a:pt x="1381" y="100"/>
                  <a:pt x="1381" y="99"/>
                </a:cubicBezTo>
                <a:cubicBezTo>
                  <a:pt x="1381" y="98"/>
                  <a:pt x="1379" y="97"/>
                  <a:pt x="1378" y="97"/>
                </a:cubicBezTo>
                <a:cubicBezTo>
                  <a:pt x="1377" y="97"/>
                  <a:pt x="1376" y="98"/>
                  <a:pt x="1376" y="100"/>
                </a:cubicBezTo>
                <a:close/>
                <a:moveTo>
                  <a:pt x="1820" y="911"/>
                </a:moveTo>
                <a:cubicBezTo>
                  <a:pt x="1820" y="911"/>
                  <a:pt x="1819" y="911"/>
                  <a:pt x="1819" y="911"/>
                </a:cubicBezTo>
                <a:cubicBezTo>
                  <a:pt x="1819" y="911"/>
                  <a:pt x="1818" y="911"/>
                  <a:pt x="1818" y="912"/>
                </a:cubicBezTo>
                <a:cubicBezTo>
                  <a:pt x="1818" y="914"/>
                  <a:pt x="1819" y="915"/>
                  <a:pt x="1821" y="916"/>
                </a:cubicBezTo>
                <a:cubicBezTo>
                  <a:pt x="1821" y="916"/>
                  <a:pt x="1821" y="916"/>
                  <a:pt x="1821" y="916"/>
                </a:cubicBezTo>
                <a:cubicBezTo>
                  <a:pt x="1822" y="916"/>
                  <a:pt x="1822" y="915"/>
                  <a:pt x="1822" y="915"/>
                </a:cubicBezTo>
                <a:cubicBezTo>
                  <a:pt x="1822" y="913"/>
                  <a:pt x="1821" y="912"/>
                  <a:pt x="1820" y="911"/>
                </a:cubicBezTo>
                <a:close/>
                <a:moveTo>
                  <a:pt x="1349" y="101"/>
                </a:moveTo>
                <a:cubicBezTo>
                  <a:pt x="1351" y="100"/>
                  <a:pt x="1353" y="99"/>
                  <a:pt x="1354" y="97"/>
                </a:cubicBezTo>
                <a:cubicBezTo>
                  <a:pt x="1352" y="97"/>
                  <a:pt x="1351" y="97"/>
                  <a:pt x="1349" y="97"/>
                </a:cubicBezTo>
                <a:cubicBezTo>
                  <a:pt x="1348" y="97"/>
                  <a:pt x="1347" y="98"/>
                  <a:pt x="1347" y="100"/>
                </a:cubicBezTo>
                <a:cubicBezTo>
                  <a:pt x="1347" y="100"/>
                  <a:pt x="1347" y="101"/>
                  <a:pt x="1348" y="101"/>
                </a:cubicBezTo>
                <a:cubicBezTo>
                  <a:pt x="1348" y="101"/>
                  <a:pt x="1349" y="101"/>
                  <a:pt x="1349" y="101"/>
                </a:cubicBezTo>
                <a:close/>
                <a:moveTo>
                  <a:pt x="188" y="316"/>
                </a:moveTo>
                <a:cubicBezTo>
                  <a:pt x="188" y="316"/>
                  <a:pt x="188" y="316"/>
                  <a:pt x="188" y="316"/>
                </a:cubicBezTo>
                <a:cubicBezTo>
                  <a:pt x="188" y="316"/>
                  <a:pt x="188" y="316"/>
                  <a:pt x="188" y="316"/>
                </a:cubicBezTo>
                <a:cubicBezTo>
                  <a:pt x="188" y="316"/>
                  <a:pt x="188" y="316"/>
                  <a:pt x="188" y="316"/>
                </a:cubicBezTo>
                <a:cubicBezTo>
                  <a:pt x="188" y="316"/>
                  <a:pt x="188" y="316"/>
                  <a:pt x="188" y="316"/>
                </a:cubicBezTo>
                <a:close/>
                <a:moveTo>
                  <a:pt x="2129" y="503"/>
                </a:moveTo>
                <a:cubicBezTo>
                  <a:pt x="2132" y="502"/>
                  <a:pt x="2133" y="500"/>
                  <a:pt x="2132" y="497"/>
                </a:cubicBezTo>
                <a:cubicBezTo>
                  <a:pt x="2132" y="497"/>
                  <a:pt x="2132" y="497"/>
                  <a:pt x="2132" y="497"/>
                </a:cubicBezTo>
                <a:cubicBezTo>
                  <a:pt x="2132" y="497"/>
                  <a:pt x="2131" y="497"/>
                  <a:pt x="2131" y="497"/>
                </a:cubicBezTo>
                <a:cubicBezTo>
                  <a:pt x="2130" y="498"/>
                  <a:pt x="2129" y="500"/>
                  <a:pt x="2128" y="502"/>
                </a:cubicBezTo>
                <a:cubicBezTo>
                  <a:pt x="2128" y="502"/>
                  <a:pt x="2128" y="502"/>
                  <a:pt x="2129" y="503"/>
                </a:cubicBezTo>
                <a:cubicBezTo>
                  <a:pt x="2129" y="503"/>
                  <a:pt x="2129" y="503"/>
                  <a:pt x="2129" y="503"/>
                </a:cubicBezTo>
                <a:close/>
                <a:moveTo>
                  <a:pt x="1067" y="446"/>
                </a:moveTo>
                <a:cubicBezTo>
                  <a:pt x="1067" y="446"/>
                  <a:pt x="1067" y="446"/>
                  <a:pt x="1067" y="446"/>
                </a:cubicBezTo>
                <a:cubicBezTo>
                  <a:pt x="1067" y="446"/>
                  <a:pt x="1067" y="446"/>
                  <a:pt x="1067" y="446"/>
                </a:cubicBezTo>
                <a:cubicBezTo>
                  <a:pt x="1067" y="446"/>
                  <a:pt x="1067" y="446"/>
                  <a:pt x="1067" y="446"/>
                </a:cubicBezTo>
                <a:cubicBezTo>
                  <a:pt x="1067" y="446"/>
                  <a:pt x="1067" y="446"/>
                  <a:pt x="1067" y="446"/>
                </a:cubicBezTo>
                <a:close/>
                <a:moveTo>
                  <a:pt x="1072" y="441"/>
                </a:moveTo>
                <a:cubicBezTo>
                  <a:pt x="1072" y="440"/>
                  <a:pt x="1072" y="440"/>
                  <a:pt x="1071" y="440"/>
                </a:cubicBezTo>
                <a:cubicBezTo>
                  <a:pt x="1071" y="439"/>
                  <a:pt x="1071" y="439"/>
                  <a:pt x="1071" y="439"/>
                </a:cubicBezTo>
                <a:cubicBezTo>
                  <a:pt x="1069" y="440"/>
                  <a:pt x="1068" y="441"/>
                  <a:pt x="1068" y="442"/>
                </a:cubicBezTo>
                <a:cubicBezTo>
                  <a:pt x="1067" y="443"/>
                  <a:pt x="1067" y="444"/>
                  <a:pt x="1067" y="446"/>
                </a:cubicBezTo>
                <a:cubicBezTo>
                  <a:pt x="1068" y="445"/>
                  <a:pt x="1068" y="445"/>
                  <a:pt x="1069" y="445"/>
                </a:cubicBezTo>
                <a:cubicBezTo>
                  <a:pt x="1071" y="444"/>
                  <a:pt x="1071" y="443"/>
                  <a:pt x="1072" y="441"/>
                </a:cubicBezTo>
                <a:close/>
                <a:moveTo>
                  <a:pt x="1894" y="941"/>
                </a:moveTo>
                <a:cubicBezTo>
                  <a:pt x="1893" y="941"/>
                  <a:pt x="1893" y="941"/>
                  <a:pt x="1893" y="941"/>
                </a:cubicBezTo>
                <a:cubicBezTo>
                  <a:pt x="1893" y="942"/>
                  <a:pt x="1892" y="943"/>
                  <a:pt x="1893" y="944"/>
                </a:cubicBezTo>
                <a:cubicBezTo>
                  <a:pt x="1893" y="945"/>
                  <a:pt x="1894" y="945"/>
                  <a:pt x="1896" y="945"/>
                </a:cubicBezTo>
                <a:cubicBezTo>
                  <a:pt x="1896" y="945"/>
                  <a:pt x="1897" y="944"/>
                  <a:pt x="1898" y="944"/>
                </a:cubicBezTo>
                <a:cubicBezTo>
                  <a:pt x="1898" y="944"/>
                  <a:pt x="1898" y="943"/>
                  <a:pt x="1898" y="943"/>
                </a:cubicBezTo>
                <a:cubicBezTo>
                  <a:pt x="1897" y="941"/>
                  <a:pt x="1895" y="940"/>
                  <a:pt x="1894" y="941"/>
                </a:cubicBezTo>
                <a:close/>
                <a:moveTo>
                  <a:pt x="2268" y="983"/>
                </a:moveTo>
                <a:cubicBezTo>
                  <a:pt x="2268" y="983"/>
                  <a:pt x="2269" y="983"/>
                  <a:pt x="2269" y="983"/>
                </a:cubicBezTo>
                <a:cubicBezTo>
                  <a:pt x="2269" y="982"/>
                  <a:pt x="2269" y="982"/>
                  <a:pt x="2269" y="981"/>
                </a:cubicBezTo>
                <a:cubicBezTo>
                  <a:pt x="2268" y="979"/>
                  <a:pt x="2266" y="978"/>
                  <a:pt x="2264" y="978"/>
                </a:cubicBezTo>
                <a:cubicBezTo>
                  <a:pt x="2264" y="978"/>
                  <a:pt x="2263" y="978"/>
                  <a:pt x="2263" y="978"/>
                </a:cubicBezTo>
                <a:cubicBezTo>
                  <a:pt x="2263" y="979"/>
                  <a:pt x="2263" y="979"/>
                  <a:pt x="2263" y="979"/>
                </a:cubicBezTo>
                <a:cubicBezTo>
                  <a:pt x="2264" y="981"/>
                  <a:pt x="2266" y="982"/>
                  <a:pt x="2268" y="983"/>
                </a:cubicBezTo>
                <a:close/>
                <a:moveTo>
                  <a:pt x="538" y="247"/>
                </a:moveTo>
                <a:cubicBezTo>
                  <a:pt x="537" y="248"/>
                  <a:pt x="536" y="248"/>
                  <a:pt x="535" y="249"/>
                </a:cubicBezTo>
                <a:cubicBezTo>
                  <a:pt x="534" y="250"/>
                  <a:pt x="534" y="251"/>
                  <a:pt x="534" y="252"/>
                </a:cubicBezTo>
                <a:cubicBezTo>
                  <a:pt x="535" y="253"/>
                  <a:pt x="535" y="253"/>
                  <a:pt x="536" y="253"/>
                </a:cubicBezTo>
                <a:cubicBezTo>
                  <a:pt x="537" y="252"/>
                  <a:pt x="539" y="250"/>
                  <a:pt x="539" y="248"/>
                </a:cubicBezTo>
                <a:cubicBezTo>
                  <a:pt x="539" y="248"/>
                  <a:pt x="539" y="248"/>
                  <a:pt x="539" y="248"/>
                </a:cubicBezTo>
                <a:cubicBezTo>
                  <a:pt x="539" y="247"/>
                  <a:pt x="538" y="247"/>
                  <a:pt x="538" y="247"/>
                </a:cubicBezTo>
                <a:close/>
                <a:moveTo>
                  <a:pt x="1830" y="930"/>
                </a:moveTo>
                <a:cubicBezTo>
                  <a:pt x="1830" y="929"/>
                  <a:pt x="1829" y="930"/>
                  <a:pt x="1829" y="930"/>
                </a:cubicBezTo>
                <a:cubicBezTo>
                  <a:pt x="1828" y="930"/>
                  <a:pt x="1828" y="931"/>
                  <a:pt x="1828" y="931"/>
                </a:cubicBezTo>
                <a:cubicBezTo>
                  <a:pt x="1829" y="933"/>
                  <a:pt x="1829" y="934"/>
                  <a:pt x="1831" y="934"/>
                </a:cubicBezTo>
                <a:cubicBezTo>
                  <a:pt x="1831" y="934"/>
                  <a:pt x="1831" y="934"/>
                  <a:pt x="1832" y="934"/>
                </a:cubicBezTo>
                <a:cubicBezTo>
                  <a:pt x="1832" y="934"/>
                  <a:pt x="1832" y="933"/>
                  <a:pt x="1832" y="933"/>
                </a:cubicBezTo>
                <a:cubicBezTo>
                  <a:pt x="1832" y="931"/>
                  <a:pt x="1831" y="930"/>
                  <a:pt x="1830" y="930"/>
                </a:cubicBezTo>
                <a:close/>
                <a:moveTo>
                  <a:pt x="690" y="393"/>
                </a:moveTo>
                <a:cubicBezTo>
                  <a:pt x="689" y="393"/>
                  <a:pt x="688" y="394"/>
                  <a:pt x="688" y="394"/>
                </a:cubicBezTo>
                <a:cubicBezTo>
                  <a:pt x="688" y="395"/>
                  <a:pt x="688" y="395"/>
                  <a:pt x="688" y="395"/>
                </a:cubicBezTo>
                <a:cubicBezTo>
                  <a:pt x="688" y="396"/>
                  <a:pt x="689" y="396"/>
                  <a:pt x="689" y="396"/>
                </a:cubicBezTo>
                <a:cubicBezTo>
                  <a:pt x="690" y="396"/>
                  <a:pt x="691" y="395"/>
                  <a:pt x="691" y="395"/>
                </a:cubicBezTo>
                <a:cubicBezTo>
                  <a:pt x="692" y="394"/>
                  <a:pt x="692" y="394"/>
                  <a:pt x="692" y="393"/>
                </a:cubicBezTo>
                <a:cubicBezTo>
                  <a:pt x="691" y="392"/>
                  <a:pt x="690" y="392"/>
                  <a:pt x="690" y="393"/>
                </a:cubicBezTo>
                <a:close/>
                <a:moveTo>
                  <a:pt x="2281" y="1000"/>
                </a:moveTo>
                <a:cubicBezTo>
                  <a:pt x="2281" y="1000"/>
                  <a:pt x="2281" y="1000"/>
                  <a:pt x="2281" y="1001"/>
                </a:cubicBezTo>
                <a:cubicBezTo>
                  <a:pt x="2282" y="1002"/>
                  <a:pt x="2283" y="1003"/>
                  <a:pt x="2284" y="1003"/>
                </a:cubicBezTo>
                <a:cubicBezTo>
                  <a:pt x="2285" y="1003"/>
                  <a:pt x="2286" y="1002"/>
                  <a:pt x="2286" y="1002"/>
                </a:cubicBezTo>
                <a:cubicBezTo>
                  <a:pt x="2286" y="1002"/>
                  <a:pt x="2286" y="1001"/>
                  <a:pt x="2286" y="1001"/>
                </a:cubicBezTo>
                <a:cubicBezTo>
                  <a:pt x="2285" y="1000"/>
                  <a:pt x="2284" y="999"/>
                  <a:pt x="2282" y="999"/>
                </a:cubicBezTo>
                <a:cubicBezTo>
                  <a:pt x="2282" y="999"/>
                  <a:pt x="2281" y="999"/>
                  <a:pt x="2281" y="1000"/>
                </a:cubicBezTo>
                <a:close/>
                <a:moveTo>
                  <a:pt x="608" y="112"/>
                </a:moveTo>
                <a:cubicBezTo>
                  <a:pt x="608" y="112"/>
                  <a:pt x="608" y="111"/>
                  <a:pt x="607" y="111"/>
                </a:cubicBezTo>
                <a:cubicBezTo>
                  <a:pt x="606" y="111"/>
                  <a:pt x="604" y="111"/>
                  <a:pt x="603" y="112"/>
                </a:cubicBezTo>
                <a:cubicBezTo>
                  <a:pt x="602" y="112"/>
                  <a:pt x="602" y="113"/>
                  <a:pt x="603" y="113"/>
                </a:cubicBezTo>
                <a:cubicBezTo>
                  <a:pt x="603" y="114"/>
                  <a:pt x="604" y="114"/>
                  <a:pt x="605" y="115"/>
                </a:cubicBezTo>
                <a:cubicBezTo>
                  <a:pt x="606" y="114"/>
                  <a:pt x="607" y="113"/>
                  <a:pt x="608" y="113"/>
                </a:cubicBezTo>
                <a:cubicBezTo>
                  <a:pt x="608" y="112"/>
                  <a:pt x="608" y="112"/>
                  <a:pt x="608" y="112"/>
                </a:cubicBezTo>
                <a:close/>
                <a:moveTo>
                  <a:pt x="605" y="115"/>
                </a:moveTo>
                <a:cubicBezTo>
                  <a:pt x="605" y="115"/>
                  <a:pt x="604" y="115"/>
                  <a:pt x="604" y="115"/>
                </a:cubicBezTo>
                <a:cubicBezTo>
                  <a:pt x="604" y="115"/>
                  <a:pt x="605" y="115"/>
                  <a:pt x="605" y="115"/>
                </a:cubicBezTo>
                <a:cubicBezTo>
                  <a:pt x="605" y="115"/>
                  <a:pt x="605" y="115"/>
                  <a:pt x="605" y="115"/>
                </a:cubicBezTo>
                <a:cubicBezTo>
                  <a:pt x="605" y="115"/>
                  <a:pt x="605" y="115"/>
                  <a:pt x="605" y="115"/>
                </a:cubicBezTo>
                <a:close/>
                <a:moveTo>
                  <a:pt x="615" y="310"/>
                </a:moveTo>
                <a:cubicBezTo>
                  <a:pt x="614" y="310"/>
                  <a:pt x="614" y="311"/>
                  <a:pt x="614" y="311"/>
                </a:cubicBezTo>
                <a:cubicBezTo>
                  <a:pt x="614" y="312"/>
                  <a:pt x="614" y="312"/>
                  <a:pt x="614" y="313"/>
                </a:cubicBezTo>
                <a:cubicBezTo>
                  <a:pt x="614" y="314"/>
                  <a:pt x="615" y="314"/>
                  <a:pt x="616" y="315"/>
                </a:cubicBezTo>
                <a:cubicBezTo>
                  <a:pt x="616" y="315"/>
                  <a:pt x="617" y="315"/>
                  <a:pt x="617" y="315"/>
                </a:cubicBezTo>
                <a:cubicBezTo>
                  <a:pt x="617" y="315"/>
                  <a:pt x="618" y="315"/>
                  <a:pt x="617" y="314"/>
                </a:cubicBezTo>
                <a:cubicBezTo>
                  <a:pt x="617" y="312"/>
                  <a:pt x="616" y="311"/>
                  <a:pt x="615" y="310"/>
                </a:cubicBezTo>
                <a:close/>
                <a:moveTo>
                  <a:pt x="713" y="380"/>
                </a:moveTo>
                <a:cubicBezTo>
                  <a:pt x="712" y="380"/>
                  <a:pt x="712" y="380"/>
                  <a:pt x="712" y="380"/>
                </a:cubicBezTo>
                <a:cubicBezTo>
                  <a:pt x="711" y="381"/>
                  <a:pt x="710" y="381"/>
                  <a:pt x="710" y="382"/>
                </a:cubicBezTo>
                <a:cubicBezTo>
                  <a:pt x="710" y="383"/>
                  <a:pt x="711" y="384"/>
                  <a:pt x="711" y="384"/>
                </a:cubicBezTo>
                <a:cubicBezTo>
                  <a:pt x="711" y="385"/>
                  <a:pt x="712" y="385"/>
                  <a:pt x="712" y="385"/>
                </a:cubicBezTo>
                <a:cubicBezTo>
                  <a:pt x="713" y="384"/>
                  <a:pt x="713" y="384"/>
                  <a:pt x="714" y="383"/>
                </a:cubicBezTo>
                <a:cubicBezTo>
                  <a:pt x="714" y="382"/>
                  <a:pt x="714" y="381"/>
                  <a:pt x="713" y="380"/>
                </a:cubicBezTo>
                <a:cubicBezTo>
                  <a:pt x="713" y="380"/>
                  <a:pt x="713" y="380"/>
                  <a:pt x="713" y="380"/>
                </a:cubicBezTo>
                <a:close/>
                <a:moveTo>
                  <a:pt x="2219" y="947"/>
                </a:moveTo>
                <a:cubicBezTo>
                  <a:pt x="2219" y="950"/>
                  <a:pt x="2220" y="952"/>
                  <a:pt x="2221" y="955"/>
                </a:cubicBezTo>
                <a:cubicBezTo>
                  <a:pt x="2221" y="955"/>
                  <a:pt x="2221" y="955"/>
                  <a:pt x="2222" y="955"/>
                </a:cubicBezTo>
                <a:cubicBezTo>
                  <a:pt x="2222" y="955"/>
                  <a:pt x="2223" y="954"/>
                  <a:pt x="2223" y="953"/>
                </a:cubicBezTo>
                <a:cubicBezTo>
                  <a:pt x="2223" y="951"/>
                  <a:pt x="2221" y="948"/>
                  <a:pt x="2219" y="947"/>
                </a:cubicBezTo>
                <a:close/>
                <a:moveTo>
                  <a:pt x="1356" y="57"/>
                </a:moveTo>
                <a:cubicBezTo>
                  <a:pt x="1357" y="57"/>
                  <a:pt x="1357" y="57"/>
                  <a:pt x="1358" y="57"/>
                </a:cubicBezTo>
                <a:cubicBezTo>
                  <a:pt x="1359" y="57"/>
                  <a:pt x="1360" y="55"/>
                  <a:pt x="1359" y="54"/>
                </a:cubicBezTo>
                <a:cubicBezTo>
                  <a:pt x="1359" y="54"/>
                  <a:pt x="1358" y="53"/>
                  <a:pt x="1357" y="53"/>
                </a:cubicBezTo>
                <a:cubicBezTo>
                  <a:pt x="1356" y="53"/>
                  <a:pt x="1355" y="54"/>
                  <a:pt x="1355" y="55"/>
                </a:cubicBezTo>
                <a:cubicBezTo>
                  <a:pt x="1355" y="56"/>
                  <a:pt x="1356" y="56"/>
                  <a:pt x="1356" y="57"/>
                </a:cubicBezTo>
                <a:close/>
                <a:moveTo>
                  <a:pt x="1378" y="56"/>
                </a:moveTo>
                <a:cubicBezTo>
                  <a:pt x="1380" y="56"/>
                  <a:pt x="1380" y="55"/>
                  <a:pt x="1380" y="55"/>
                </a:cubicBezTo>
                <a:cubicBezTo>
                  <a:pt x="1380" y="54"/>
                  <a:pt x="1379" y="54"/>
                  <a:pt x="1378" y="54"/>
                </a:cubicBezTo>
                <a:cubicBezTo>
                  <a:pt x="1377" y="54"/>
                  <a:pt x="1376" y="55"/>
                  <a:pt x="1377" y="55"/>
                </a:cubicBezTo>
                <a:cubicBezTo>
                  <a:pt x="1377" y="56"/>
                  <a:pt x="1378" y="56"/>
                  <a:pt x="1378" y="56"/>
                </a:cubicBezTo>
                <a:close/>
                <a:moveTo>
                  <a:pt x="540" y="89"/>
                </a:moveTo>
                <a:cubicBezTo>
                  <a:pt x="540" y="90"/>
                  <a:pt x="541" y="90"/>
                  <a:pt x="541" y="91"/>
                </a:cubicBezTo>
                <a:cubicBezTo>
                  <a:pt x="541" y="92"/>
                  <a:pt x="542" y="92"/>
                  <a:pt x="543" y="92"/>
                </a:cubicBezTo>
                <a:cubicBezTo>
                  <a:pt x="544" y="92"/>
                  <a:pt x="545" y="91"/>
                  <a:pt x="545" y="90"/>
                </a:cubicBezTo>
                <a:cubicBezTo>
                  <a:pt x="544" y="90"/>
                  <a:pt x="544" y="89"/>
                  <a:pt x="544" y="89"/>
                </a:cubicBezTo>
                <a:cubicBezTo>
                  <a:pt x="543" y="89"/>
                  <a:pt x="542" y="88"/>
                  <a:pt x="542" y="88"/>
                </a:cubicBezTo>
                <a:cubicBezTo>
                  <a:pt x="541" y="88"/>
                  <a:pt x="540" y="89"/>
                  <a:pt x="540" y="89"/>
                </a:cubicBezTo>
                <a:close/>
                <a:moveTo>
                  <a:pt x="1872" y="914"/>
                </a:moveTo>
                <a:cubicBezTo>
                  <a:pt x="1872" y="914"/>
                  <a:pt x="1872" y="914"/>
                  <a:pt x="1872" y="913"/>
                </a:cubicBezTo>
                <a:cubicBezTo>
                  <a:pt x="1872" y="913"/>
                  <a:pt x="1872" y="912"/>
                  <a:pt x="1871" y="912"/>
                </a:cubicBezTo>
                <a:cubicBezTo>
                  <a:pt x="1871" y="912"/>
                  <a:pt x="1870" y="912"/>
                  <a:pt x="1869" y="912"/>
                </a:cubicBezTo>
                <a:cubicBezTo>
                  <a:pt x="1868" y="912"/>
                  <a:pt x="1868" y="912"/>
                  <a:pt x="1867" y="912"/>
                </a:cubicBezTo>
                <a:cubicBezTo>
                  <a:pt x="1868" y="913"/>
                  <a:pt x="1869" y="914"/>
                  <a:pt x="1871" y="915"/>
                </a:cubicBezTo>
                <a:cubicBezTo>
                  <a:pt x="1871" y="915"/>
                  <a:pt x="1872" y="914"/>
                  <a:pt x="1872" y="914"/>
                </a:cubicBezTo>
                <a:close/>
                <a:moveTo>
                  <a:pt x="2060" y="922"/>
                </a:moveTo>
                <a:cubicBezTo>
                  <a:pt x="2060" y="922"/>
                  <a:pt x="2060" y="923"/>
                  <a:pt x="2060" y="923"/>
                </a:cubicBezTo>
                <a:cubicBezTo>
                  <a:pt x="2060" y="923"/>
                  <a:pt x="2061" y="924"/>
                  <a:pt x="2061" y="924"/>
                </a:cubicBezTo>
                <a:cubicBezTo>
                  <a:pt x="2062" y="924"/>
                  <a:pt x="2063" y="924"/>
                  <a:pt x="2064" y="924"/>
                </a:cubicBezTo>
                <a:cubicBezTo>
                  <a:pt x="2064" y="924"/>
                  <a:pt x="2065" y="923"/>
                  <a:pt x="2065" y="923"/>
                </a:cubicBezTo>
                <a:cubicBezTo>
                  <a:pt x="2065" y="923"/>
                  <a:pt x="2065" y="923"/>
                  <a:pt x="2065" y="922"/>
                </a:cubicBezTo>
                <a:cubicBezTo>
                  <a:pt x="2063" y="921"/>
                  <a:pt x="2062" y="921"/>
                  <a:pt x="2060" y="922"/>
                </a:cubicBezTo>
                <a:close/>
                <a:moveTo>
                  <a:pt x="1528" y="166"/>
                </a:moveTo>
                <a:cubicBezTo>
                  <a:pt x="1529" y="166"/>
                  <a:pt x="1530" y="166"/>
                  <a:pt x="1530" y="164"/>
                </a:cubicBezTo>
                <a:cubicBezTo>
                  <a:pt x="1530" y="164"/>
                  <a:pt x="1529" y="163"/>
                  <a:pt x="1529" y="163"/>
                </a:cubicBezTo>
                <a:cubicBezTo>
                  <a:pt x="1528" y="162"/>
                  <a:pt x="1527" y="163"/>
                  <a:pt x="1527" y="164"/>
                </a:cubicBezTo>
                <a:cubicBezTo>
                  <a:pt x="1527" y="165"/>
                  <a:pt x="1527" y="166"/>
                  <a:pt x="1528" y="166"/>
                </a:cubicBezTo>
                <a:close/>
                <a:moveTo>
                  <a:pt x="615" y="143"/>
                </a:moveTo>
                <a:cubicBezTo>
                  <a:pt x="616" y="143"/>
                  <a:pt x="616" y="143"/>
                  <a:pt x="617" y="142"/>
                </a:cubicBezTo>
                <a:cubicBezTo>
                  <a:pt x="615" y="141"/>
                  <a:pt x="613" y="141"/>
                  <a:pt x="610" y="141"/>
                </a:cubicBezTo>
                <a:cubicBezTo>
                  <a:pt x="611" y="144"/>
                  <a:pt x="611" y="144"/>
                  <a:pt x="615" y="143"/>
                </a:cubicBezTo>
                <a:close/>
                <a:moveTo>
                  <a:pt x="610" y="141"/>
                </a:moveTo>
                <a:cubicBezTo>
                  <a:pt x="610" y="141"/>
                  <a:pt x="610" y="141"/>
                  <a:pt x="610" y="141"/>
                </a:cubicBezTo>
                <a:cubicBezTo>
                  <a:pt x="610" y="141"/>
                  <a:pt x="610" y="141"/>
                  <a:pt x="610" y="141"/>
                </a:cubicBezTo>
                <a:cubicBezTo>
                  <a:pt x="610" y="141"/>
                  <a:pt x="610" y="141"/>
                  <a:pt x="610" y="141"/>
                </a:cubicBezTo>
                <a:cubicBezTo>
                  <a:pt x="610" y="141"/>
                  <a:pt x="610" y="141"/>
                  <a:pt x="610" y="141"/>
                </a:cubicBezTo>
                <a:close/>
                <a:moveTo>
                  <a:pt x="2011" y="844"/>
                </a:moveTo>
                <a:cubicBezTo>
                  <a:pt x="2010" y="844"/>
                  <a:pt x="2009" y="845"/>
                  <a:pt x="2008" y="845"/>
                </a:cubicBezTo>
                <a:cubicBezTo>
                  <a:pt x="2010" y="848"/>
                  <a:pt x="2011" y="848"/>
                  <a:pt x="2012" y="847"/>
                </a:cubicBezTo>
                <a:cubicBezTo>
                  <a:pt x="2013" y="847"/>
                  <a:pt x="2014" y="845"/>
                  <a:pt x="2013" y="845"/>
                </a:cubicBezTo>
                <a:cubicBezTo>
                  <a:pt x="2013" y="844"/>
                  <a:pt x="2012" y="844"/>
                  <a:pt x="2011" y="844"/>
                </a:cubicBezTo>
                <a:close/>
                <a:moveTo>
                  <a:pt x="2010" y="839"/>
                </a:moveTo>
                <a:cubicBezTo>
                  <a:pt x="2010" y="839"/>
                  <a:pt x="2010" y="839"/>
                  <a:pt x="2010" y="838"/>
                </a:cubicBezTo>
                <a:cubicBezTo>
                  <a:pt x="2009" y="838"/>
                  <a:pt x="2009" y="838"/>
                  <a:pt x="2008" y="838"/>
                </a:cubicBezTo>
                <a:cubicBezTo>
                  <a:pt x="2008" y="839"/>
                  <a:pt x="2007" y="840"/>
                  <a:pt x="2007" y="840"/>
                </a:cubicBezTo>
                <a:cubicBezTo>
                  <a:pt x="2007" y="842"/>
                  <a:pt x="2007" y="844"/>
                  <a:pt x="2007" y="845"/>
                </a:cubicBezTo>
                <a:cubicBezTo>
                  <a:pt x="2007" y="845"/>
                  <a:pt x="2008" y="845"/>
                  <a:pt x="2008" y="845"/>
                </a:cubicBezTo>
                <a:cubicBezTo>
                  <a:pt x="2009" y="844"/>
                  <a:pt x="2009" y="843"/>
                  <a:pt x="2010" y="842"/>
                </a:cubicBezTo>
                <a:cubicBezTo>
                  <a:pt x="2010" y="841"/>
                  <a:pt x="2010" y="840"/>
                  <a:pt x="2010" y="839"/>
                </a:cubicBezTo>
                <a:close/>
                <a:moveTo>
                  <a:pt x="2007" y="840"/>
                </a:moveTo>
                <a:cubicBezTo>
                  <a:pt x="2007" y="840"/>
                  <a:pt x="2007" y="840"/>
                  <a:pt x="2007" y="840"/>
                </a:cubicBezTo>
                <a:cubicBezTo>
                  <a:pt x="2007" y="840"/>
                  <a:pt x="2006" y="840"/>
                  <a:pt x="2006" y="840"/>
                </a:cubicBezTo>
                <a:cubicBezTo>
                  <a:pt x="2006" y="840"/>
                  <a:pt x="2006" y="840"/>
                  <a:pt x="2006" y="840"/>
                </a:cubicBezTo>
                <a:cubicBezTo>
                  <a:pt x="2006" y="840"/>
                  <a:pt x="2007" y="840"/>
                  <a:pt x="2007" y="840"/>
                </a:cubicBezTo>
                <a:close/>
                <a:moveTo>
                  <a:pt x="2008" y="845"/>
                </a:moveTo>
                <a:cubicBezTo>
                  <a:pt x="2008" y="845"/>
                  <a:pt x="2008" y="845"/>
                  <a:pt x="2008" y="845"/>
                </a:cubicBezTo>
                <a:cubicBezTo>
                  <a:pt x="2008" y="845"/>
                  <a:pt x="2008" y="845"/>
                  <a:pt x="2008" y="845"/>
                </a:cubicBezTo>
                <a:cubicBezTo>
                  <a:pt x="2008" y="845"/>
                  <a:pt x="2008" y="845"/>
                  <a:pt x="2008" y="845"/>
                </a:cubicBezTo>
                <a:cubicBezTo>
                  <a:pt x="2008" y="845"/>
                  <a:pt x="2008" y="845"/>
                  <a:pt x="2008" y="845"/>
                </a:cubicBezTo>
                <a:close/>
                <a:moveTo>
                  <a:pt x="678" y="810"/>
                </a:moveTo>
                <a:cubicBezTo>
                  <a:pt x="678" y="810"/>
                  <a:pt x="677" y="809"/>
                  <a:pt x="677" y="810"/>
                </a:cubicBezTo>
                <a:cubicBezTo>
                  <a:pt x="676" y="810"/>
                  <a:pt x="676" y="811"/>
                  <a:pt x="676" y="811"/>
                </a:cubicBezTo>
                <a:cubicBezTo>
                  <a:pt x="677" y="812"/>
                  <a:pt x="677" y="812"/>
                  <a:pt x="678" y="813"/>
                </a:cubicBezTo>
                <a:cubicBezTo>
                  <a:pt x="678" y="813"/>
                  <a:pt x="679" y="812"/>
                  <a:pt x="679" y="812"/>
                </a:cubicBezTo>
                <a:cubicBezTo>
                  <a:pt x="679" y="811"/>
                  <a:pt x="679" y="811"/>
                  <a:pt x="678" y="810"/>
                </a:cubicBezTo>
                <a:close/>
                <a:moveTo>
                  <a:pt x="677" y="798"/>
                </a:moveTo>
                <a:cubicBezTo>
                  <a:pt x="677" y="798"/>
                  <a:pt x="676" y="797"/>
                  <a:pt x="676" y="797"/>
                </a:cubicBezTo>
                <a:cubicBezTo>
                  <a:pt x="675" y="797"/>
                  <a:pt x="674" y="798"/>
                  <a:pt x="673" y="799"/>
                </a:cubicBezTo>
                <a:cubicBezTo>
                  <a:pt x="673" y="799"/>
                  <a:pt x="674" y="800"/>
                  <a:pt x="674" y="800"/>
                </a:cubicBezTo>
                <a:cubicBezTo>
                  <a:pt x="675" y="801"/>
                  <a:pt x="677" y="799"/>
                  <a:pt x="677" y="798"/>
                </a:cubicBezTo>
                <a:close/>
                <a:moveTo>
                  <a:pt x="644" y="347"/>
                </a:moveTo>
                <a:cubicBezTo>
                  <a:pt x="644" y="348"/>
                  <a:pt x="644" y="348"/>
                  <a:pt x="644" y="349"/>
                </a:cubicBezTo>
                <a:cubicBezTo>
                  <a:pt x="644" y="350"/>
                  <a:pt x="645" y="351"/>
                  <a:pt x="646" y="351"/>
                </a:cubicBezTo>
                <a:cubicBezTo>
                  <a:pt x="647" y="351"/>
                  <a:pt x="647" y="351"/>
                  <a:pt x="648" y="350"/>
                </a:cubicBezTo>
                <a:cubicBezTo>
                  <a:pt x="648" y="350"/>
                  <a:pt x="648" y="349"/>
                  <a:pt x="648" y="349"/>
                </a:cubicBezTo>
                <a:cubicBezTo>
                  <a:pt x="647" y="348"/>
                  <a:pt x="646" y="347"/>
                  <a:pt x="644" y="347"/>
                </a:cubicBezTo>
                <a:close/>
                <a:moveTo>
                  <a:pt x="562" y="731"/>
                </a:moveTo>
                <a:cubicBezTo>
                  <a:pt x="561" y="731"/>
                  <a:pt x="560" y="732"/>
                  <a:pt x="560" y="733"/>
                </a:cubicBezTo>
                <a:cubicBezTo>
                  <a:pt x="560" y="734"/>
                  <a:pt x="561" y="735"/>
                  <a:pt x="562" y="735"/>
                </a:cubicBezTo>
                <a:cubicBezTo>
                  <a:pt x="562" y="735"/>
                  <a:pt x="563" y="734"/>
                  <a:pt x="563" y="733"/>
                </a:cubicBezTo>
                <a:cubicBezTo>
                  <a:pt x="563" y="732"/>
                  <a:pt x="562" y="731"/>
                  <a:pt x="562" y="731"/>
                </a:cubicBezTo>
                <a:close/>
                <a:moveTo>
                  <a:pt x="569" y="721"/>
                </a:moveTo>
                <a:cubicBezTo>
                  <a:pt x="571" y="720"/>
                  <a:pt x="570" y="717"/>
                  <a:pt x="569" y="716"/>
                </a:cubicBezTo>
                <a:cubicBezTo>
                  <a:pt x="568" y="716"/>
                  <a:pt x="568" y="716"/>
                  <a:pt x="568" y="717"/>
                </a:cubicBezTo>
                <a:cubicBezTo>
                  <a:pt x="567" y="718"/>
                  <a:pt x="568" y="720"/>
                  <a:pt x="569" y="721"/>
                </a:cubicBezTo>
                <a:cubicBezTo>
                  <a:pt x="569" y="721"/>
                  <a:pt x="569" y="721"/>
                  <a:pt x="569" y="721"/>
                </a:cubicBezTo>
                <a:close/>
                <a:moveTo>
                  <a:pt x="559" y="716"/>
                </a:moveTo>
                <a:cubicBezTo>
                  <a:pt x="558" y="717"/>
                  <a:pt x="558" y="717"/>
                  <a:pt x="559" y="718"/>
                </a:cubicBezTo>
                <a:cubicBezTo>
                  <a:pt x="559" y="718"/>
                  <a:pt x="559" y="718"/>
                  <a:pt x="559" y="718"/>
                </a:cubicBezTo>
                <a:cubicBezTo>
                  <a:pt x="560" y="719"/>
                  <a:pt x="561" y="718"/>
                  <a:pt x="562" y="717"/>
                </a:cubicBezTo>
                <a:cubicBezTo>
                  <a:pt x="563" y="717"/>
                  <a:pt x="563" y="717"/>
                  <a:pt x="563" y="716"/>
                </a:cubicBezTo>
                <a:cubicBezTo>
                  <a:pt x="562" y="716"/>
                  <a:pt x="562" y="716"/>
                  <a:pt x="562" y="716"/>
                </a:cubicBezTo>
                <a:cubicBezTo>
                  <a:pt x="561" y="716"/>
                  <a:pt x="560" y="716"/>
                  <a:pt x="559" y="716"/>
                </a:cubicBezTo>
                <a:close/>
                <a:moveTo>
                  <a:pt x="593" y="763"/>
                </a:moveTo>
                <a:cubicBezTo>
                  <a:pt x="593" y="763"/>
                  <a:pt x="594" y="762"/>
                  <a:pt x="594" y="762"/>
                </a:cubicBezTo>
                <a:cubicBezTo>
                  <a:pt x="594" y="762"/>
                  <a:pt x="593" y="761"/>
                  <a:pt x="593" y="761"/>
                </a:cubicBezTo>
                <a:cubicBezTo>
                  <a:pt x="592" y="760"/>
                  <a:pt x="592" y="760"/>
                  <a:pt x="591" y="761"/>
                </a:cubicBezTo>
                <a:cubicBezTo>
                  <a:pt x="591" y="761"/>
                  <a:pt x="590" y="762"/>
                  <a:pt x="590" y="762"/>
                </a:cubicBezTo>
                <a:cubicBezTo>
                  <a:pt x="590" y="763"/>
                  <a:pt x="591" y="763"/>
                  <a:pt x="591" y="763"/>
                </a:cubicBezTo>
                <a:cubicBezTo>
                  <a:pt x="592" y="763"/>
                  <a:pt x="593" y="763"/>
                  <a:pt x="593" y="763"/>
                </a:cubicBezTo>
                <a:close/>
                <a:moveTo>
                  <a:pt x="2215" y="945"/>
                </a:moveTo>
                <a:cubicBezTo>
                  <a:pt x="2215" y="945"/>
                  <a:pt x="2215" y="945"/>
                  <a:pt x="2215" y="945"/>
                </a:cubicBezTo>
                <a:cubicBezTo>
                  <a:pt x="2215" y="945"/>
                  <a:pt x="2215" y="945"/>
                  <a:pt x="2215" y="945"/>
                </a:cubicBezTo>
                <a:cubicBezTo>
                  <a:pt x="2215" y="945"/>
                  <a:pt x="2215" y="945"/>
                  <a:pt x="2215" y="945"/>
                </a:cubicBezTo>
                <a:cubicBezTo>
                  <a:pt x="2215" y="945"/>
                  <a:pt x="2215" y="945"/>
                  <a:pt x="2215" y="945"/>
                </a:cubicBezTo>
                <a:close/>
                <a:moveTo>
                  <a:pt x="2208" y="942"/>
                </a:moveTo>
                <a:cubicBezTo>
                  <a:pt x="2210" y="944"/>
                  <a:pt x="2212" y="945"/>
                  <a:pt x="2215" y="945"/>
                </a:cubicBezTo>
                <a:cubicBezTo>
                  <a:pt x="2213" y="942"/>
                  <a:pt x="2211" y="942"/>
                  <a:pt x="2208" y="942"/>
                </a:cubicBezTo>
                <a:close/>
                <a:moveTo>
                  <a:pt x="2036" y="927"/>
                </a:moveTo>
                <a:cubicBezTo>
                  <a:pt x="2036" y="927"/>
                  <a:pt x="2037" y="928"/>
                  <a:pt x="2038" y="927"/>
                </a:cubicBezTo>
                <a:cubicBezTo>
                  <a:pt x="2039" y="927"/>
                  <a:pt x="2039" y="926"/>
                  <a:pt x="2040" y="926"/>
                </a:cubicBezTo>
                <a:cubicBezTo>
                  <a:pt x="2040" y="926"/>
                  <a:pt x="2040" y="926"/>
                  <a:pt x="2040" y="926"/>
                </a:cubicBezTo>
                <a:cubicBezTo>
                  <a:pt x="2040" y="926"/>
                  <a:pt x="2040" y="926"/>
                  <a:pt x="2040" y="926"/>
                </a:cubicBezTo>
                <a:cubicBezTo>
                  <a:pt x="2040" y="926"/>
                  <a:pt x="2041" y="926"/>
                  <a:pt x="2041" y="926"/>
                </a:cubicBezTo>
                <a:cubicBezTo>
                  <a:pt x="2041" y="924"/>
                  <a:pt x="2041" y="923"/>
                  <a:pt x="2041" y="922"/>
                </a:cubicBezTo>
                <a:cubicBezTo>
                  <a:pt x="2040" y="921"/>
                  <a:pt x="2041" y="920"/>
                  <a:pt x="2042" y="920"/>
                </a:cubicBezTo>
                <a:cubicBezTo>
                  <a:pt x="2042" y="919"/>
                  <a:pt x="2042" y="919"/>
                  <a:pt x="2042" y="919"/>
                </a:cubicBezTo>
                <a:cubicBezTo>
                  <a:pt x="2044" y="919"/>
                  <a:pt x="2045" y="919"/>
                  <a:pt x="2044" y="916"/>
                </a:cubicBezTo>
                <a:cubicBezTo>
                  <a:pt x="2044" y="916"/>
                  <a:pt x="2045" y="915"/>
                  <a:pt x="2045" y="914"/>
                </a:cubicBezTo>
                <a:cubicBezTo>
                  <a:pt x="2046" y="913"/>
                  <a:pt x="2047" y="913"/>
                  <a:pt x="2047" y="911"/>
                </a:cubicBezTo>
                <a:cubicBezTo>
                  <a:pt x="2047" y="911"/>
                  <a:pt x="2046" y="910"/>
                  <a:pt x="2046" y="910"/>
                </a:cubicBezTo>
                <a:cubicBezTo>
                  <a:pt x="2045" y="910"/>
                  <a:pt x="2044" y="909"/>
                  <a:pt x="2044" y="909"/>
                </a:cubicBezTo>
                <a:cubicBezTo>
                  <a:pt x="2043" y="909"/>
                  <a:pt x="2042" y="909"/>
                  <a:pt x="2042" y="908"/>
                </a:cubicBezTo>
                <a:cubicBezTo>
                  <a:pt x="2041" y="908"/>
                  <a:pt x="2041" y="907"/>
                  <a:pt x="2043" y="906"/>
                </a:cubicBezTo>
                <a:cubicBezTo>
                  <a:pt x="2043" y="906"/>
                  <a:pt x="2044" y="906"/>
                  <a:pt x="2044" y="906"/>
                </a:cubicBezTo>
                <a:cubicBezTo>
                  <a:pt x="2044" y="905"/>
                  <a:pt x="2044" y="905"/>
                  <a:pt x="2044" y="904"/>
                </a:cubicBezTo>
                <a:cubicBezTo>
                  <a:pt x="2044" y="904"/>
                  <a:pt x="2044" y="904"/>
                  <a:pt x="2043" y="904"/>
                </a:cubicBezTo>
                <a:cubicBezTo>
                  <a:pt x="2037" y="905"/>
                  <a:pt x="2036" y="909"/>
                  <a:pt x="2036" y="915"/>
                </a:cubicBezTo>
                <a:cubicBezTo>
                  <a:pt x="2036" y="916"/>
                  <a:pt x="2037" y="917"/>
                  <a:pt x="2037" y="918"/>
                </a:cubicBezTo>
                <a:cubicBezTo>
                  <a:pt x="2037" y="920"/>
                  <a:pt x="2038" y="922"/>
                  <a:pt x="2038" y="924"/>
                </a:cubicBezTo>
                <a:cubicBezTo>
                  <a:pt x="2038" y="924"/>
                  <a:pt x="2038" y="924"/>
                  <a:pt x="2038" y="924"/>
                </a:cubicBezTo>
                <a:cubicBezTo>
                  <a:pt x="2038" y="924"/>
                  <a:pt x="2038" y="924"/>
                  <a:pt x="2038" y="924"/>
                </a:cubicBezTo>
                <a:cubicBezTo>
                  <a:pt x="2038" y="924"/>
                  <a:pt x="2038" y="924"/>
                  <a:pt x="2038" y="924"/>
                </a:cubicBezTo>
                <a:cubicBezTo>
                  <a:pt x="2038" y="924"/>
                  <a:pt x="2039" y="925"/>
                  <a:pt x="2039" y="925"/>
                </a:cubicBezTo>
                <a:cubicBezTo>
                  <a:pt x="2039" y="925"/>
                  <a:pt x="2038" y="924"/>
                  <a:pt x="2038" y="924"/>
                </a:cubicBezTo>
                <a:cubicBezTo>
                  <a:pt x="2038" y="924"/>
                  <a:pt x="2037" y="924"/>
                  <a:pt x="2037" y="925"/>
                </a:cubicBezTo>
                <a:cubicBezTo>
                  <a:pt x="2036" y="925"/>
                  <a:pt x="2035" y="926"/>
                  <a:pt x="2036" y="927"/>
                </a:cubicBezTo>
                <a:close/>
                <a:moveTo>
                  <a:pt x="1783" y="821"/>
                </a:moveTo>
                <a:cubicBezTo>
                  <a:pt x="1783" y="820"/>
                  <a:pt x="1783" y="821"/>
                  <a:pt x="1782" y="821"/>
                </a:cubicBezTo>
                <a:cubicBezTo>
                  <a:pt x="1782" y="822"/>
                  <a:pt x="1782" y="823"/>
                  <a:pt x="1782" y="823"/>
                </a:cubicBezTo>
                <a:cubicBezTo>
                  <a:pt x="1782" y="824"/>
                  <a:pt x="1782" y="824"/>
                  <a:pt x="1782" y="825"/>
                </a:cubicBezTo>
                <a:cubicBezTo>
                  <a:pt x="1782" y="825"/>
                  <a:pt x="1783" y="826"/>
                  <a:pt x="1783" y="826"/>
                </a:cubicBezTo>
                <a:cubicBezTo>
                  <a:pt x="1783" y="826"/>
                  <a:pt x="1784" y="825"/>
                  <a:pt x="1784" y="825"/>
                </a:cubicBezTo>
                <a:cubicBezTo>
                  <a:pt x="1784" y="824"/>
                  <a:pt x="1784" y="823"/>
                  <a:pt x="1784" y="821"/>
                </a:cubicBezTo>
                <a:cubicBezTo>
                  <a:pt x="1784" y="821"/>
                  <a:pt x="1784" y="821"/>
                  <a:pt x="1783" y="821"/>
                </a:cubicBezTo>
                <a:close/>
                <a:moveTo>
                  <a:pt x="2063" y="979"/>
                </a:moveTo>
                <a:cubicBezTo>
                  <a:pt x="2063" y="979"/>
                  <a:pt x="2063" y="980"/>
                  <a:pt x="2064" y="980"/>
                </a:cubicBezTo>
                <a:cubicBezTo>
                  <a:pt x="2064" y="980"/>
                  <a:pt x="2064" y="980"/>
                  <a:pt x="2065" y="980"/>
                </a:cubicBezTo>
                <a:cubicBezTo>
                  <a:pt x="2066" y="979"/>
                  <a:pt x="2066" y="979"/>
                  <a:pt x="2066" y="977"/>
                </a:cubicBezTo>
                <a:cubicBezTo>
                  <a:pt x="2066" y="977"/>
                  <a:pt x="2066" y="976"/>
                  <a:pt x="2065" y="976"/>
                </a:cubicBezTo>
                <a:cubicBezTo>
                  <a:pt x="2065" y="976"/>
                  <a:pt x="2064" y="976"/>
                  <a:pt x="2064" y="976"/>
                </a:cubicBezTo>
                <a:cubicBezTo>
                  <a:pt x="2063" y="977"/>
                  <a:pt x="2063" y="978"/>
                  <a:pt x="2063" y="979"/>
                </a:cubicBezTo>
                <a:close/>
                <a:moveTo>
                  <a:pt x="1509" y="217"/>
                </a:moveTo>
                <a:cubicBezTo>
                  <a:pt x="1510" y="217"/>
                  <a:pt x="1510" y="217"/>
                  <a:pt x="1510" y="216"/>
                </a:cubicBezTo>
                <a:cubicBezTo>
                  <a:pt x="1510" y="216"/>
                  <a:pt x="1510" y="215"/>
                  <a:pt x="1509" y="214"/>
                </a:cubicBezTo>
                <a:cubicBezTo>
                  <a:pt x="1509" y="214"/>
                  <a:pt x="1509" y="213"/>
                  <a:pt x="1508" y="213"/>
                </a:cubicBezTo>
                <a:cubicBezTo>
                  <a:pt x="1508" y="213"/>
                  <a:pt x="1507" y="214"/>
                  <a:pt x="1507" y="214"/>
                </a:cubicBezTo>
                <a:cubicBezTo>
                  <a:pt x="1507" y="215"/>
                  <a:pt x="1507" y="216"/>
                  <a:pt x="1508" y="217"/>
                </a:cubicBezTo>
                <a:cubicBezTo>
                  <a:pt x="1508" y="217"/>
                  <a:pt x="1509" y="217"/>
                  <a:pt x="1509" y="217"/>
                </a:cubicBezTo>
                <a:close/>
                <a:moveTo>
                  <a:pt x="675" y="270"/>
                </a:moveTo>
                <a:cubicBezTo>
                  <a:pt x="675" y="270"/>
                  <a:pt x="674" y="269"/>
                  <a:pt x="673" y="269"/>
                </a:cubicBezTo>
                <a:cubicBezTo>
                  <a:pt x="673" y="270"/>
                  <a:pt x="672" y="270"/>
                  <a:pt x="672" y="271"/>
                </a:cubicBezTo>
                <a:cubicBezTo>
                  <a:pt x="672" y="272"/>
                  <a:pt x="672" y="272"/>
                  <a:pt x="673" y="273"/>
                </a:cubicBezTo>
                <a:cubicBezTo>
                  <a:pt x="673" y="273"/>
                  <a:pt x="674" y="273"/>
                  <a:pt x="674" y="272"/>
                </a:cubicBezTo>
                <a:cubicBezTo>
                  <a:pt x="675" y="272"/>
                  <a:pt x="675" y="271"/>
                  <a:pt x="675" y="270"/>
                </a:cubicBezTo>
                <a:close/>
                <a:moveTo>
                  <a:pt x="2004" y="646"/>
                </a:moveTo>
                <a:cubicBezTo>
                  <a:pt x="2004" y="645"/>
                  <a:pt x="2004" y="644"/>
                  <a:pt x="2003" y="644"/>
                </a:cubicBezTo>
                <a:cubicBezTo>
                  <a:pt x="2002" y="644"/>
                  <a:pt x="2002" y="644"/>
                  <a:pt x="2001" y="645"/>
                </a:cubicBezTo>
                <a:cubicBezTo>
                  <a:pt x="2001" y="645"/>
                  <a:pt x="2000" y="646"/>
                  <a:pt x="2001" y="647"/>
                </a:cubicBezTo>
                <a:cubicBezTo>
                  <a:pt x="2001" y="647"/>
                  <a:pt x="2001" y="647"/>
                  <a:pt x="2002" y="647"/>
                </a:cubicBezTo>
                <a:cubicBezTo>
                  <a:pt x="2003" y="647"/>
                  <a:pt x="2004" y="647"/>
                  <a:pt x="2004" y="646"/>
                </a:cubicBezTo>
                <a:close/>
                <a:moveTo>
                  <a:pt x="1922" y="1122"/>
                </a:moveTo>
                <a:cubicBezTo>
                  <a:pt x="1921" y="1122"/>
                  <a:pt x="1921" y="1121"/>
                  <a:pt x="1920" y="1121"/>
                </a:cubicBezTo>
                <a:cubicBezTo>
                  <a:pt x="1920" y="1122"/>
                  <a:pt x="1919" y="1122"/>
                  <a:pt x="1919" y="1123"/>
                </a:cubicBezTo>
                <a:cubicBezTo>
                  <a:pt x="1920" y="1124"/>
                  <a:pt x="1920" y="1125"/>
                  <a:pt x="1921" y="1126"/>
                </a:cubicBezTo>
                <a:cubicBezTo>
                  <a:pt x="1921" y="1126"/>
                  <a:pt x="1922" y="1126"/>
                  <a:pt x="1922" y="1126"/>
                </a:cubicBezTo>
                <a:cubicBezTo>
                  <a:pt x="1923" y="1124"/>
                  <a:pt x="1923" y="1123"/>
                  <a:pt x="1922" y="1122"/>
                </a:cubicBezTo>
                <a:close/>
                <a:moveTo>
                  <a:pt x="1921" y="1126"/>
                </a:moveTo>
                <a:cubicBezTo>
                  <a:pt x="1921" y="1126"/>
                  <a:pt x="1921" y="1126"/>
                  <a:pt x="1921" y="1126"/>
                </a:cubicBezTo>
                <a:cubicBezTo>
                  <a:pt x="1921" y="1126"/>
                  <a:pt x="1921" y="1126"/>
                  <a:pt x="1921" y="1126"/>
                </a:cubicBezTo>
                <a:cubicBezTo>
                  <a:pt x="1921" y="1126"/>
                  <a:pt x="1921" y="1126"/>
                  <a:pt x="1921" y="1126"/>
                </a:cubicBezTo>
                <a:cubicBezTo>
                  <a:pt x="1921" y="1126"/>
                  <a:pt x="1921" y="1126"/>
                  <a:pt x="1921" y="1126"/>
                </a:cubicBezTo>
                <a:close/>
                <a:moveTo>
                  <a:pt x="1337" y="104"/>
                </a:moveTo>
                <a:cubicBezTo>
                  <a:pt x="1337" y="104"/>
                  <a:pt x="1337" y="104"/>
                  <a:pt x="1337" y="104"/>
                </a:cubicBezTo>
                <a:cubicBezTo>
                  <a:pt x="1337" y="104"/>
                  <a:pt x="1337" y="104"/>
                  <a:pt x="1337" y="104"/>
                </a:cubicBezTo>
                <a:cubicBezTo>
                  <a:pt x="1337" y="104"/>
                  <a:pt x="1337" y="104"/>
                  <a:pt x="1337" y="104"/>
                </a:cubicBezTo>
                <a:cubicBezTo>
                  <a:pt x="1337" y="104"/>
                  <a:pt x="1337" y="104"/>
                  <a:pt x="1337" y="104"/>
                </a:cubicBezTo>
                <a:close/>
                <a:moveTo>
                  <a:pt x="1335" y="101"/>
                </a:moveTo>
                <a:cubicBezTo>
                  <a:pt x="1334" y="101"/>
                  <a:pt x="1333" y="101"/>
                  <a:pt x="1333" y="102"/>
                </a:cubicBezTo>
                <a:cubicBezTo>
                  <a:pt x="1333" y="102"/>
                  <a:pt x="1334" y="104"/>
                  <a:pt x="1334" y="104"/>
                </a:cubicBezTo>
                <a:cubicBezTo>
                  <a:pt x="1335" y="104"/>
                  <a:pt x="1336" y="104"/>
                  <a:pt x="1337" y="104"/>
                </a:cubicBezTo>
                <a:cubicBezTo>
                  <a:pt x="1337" y="103"/>
                  <a:pt x="1336" y="102"/>
                  <a:pt x="1336" y="101"/>
                </a:cubicBezTo>
                <a:cubicBezTo>
                  <a:pt x="1336" y="101"/>
                  <a:pt x="1335" y="101"/>
                  <a:pt x="1335" y="101"/>
                </a:cubicBezTo>
                <a:close/>
                <a:moveTo>
                  <a:pt x="1981" y="829"/>
                </a:moveTo>
                <a:cubicBezTo>
                  <a:pt x="1980" y="828"/>
                  <a:pt x="1980" y="828"/>
                  <a:pt x="1979" y="827"/>
                </a:cubicBezTo>
                <a:cubicBezTo>
                  <a:pt x="1978" y="827"/>
                  <a:pt x="1977" y="828"/>
                  <a:pt x="1977" y="829"/>
                </a:cubicBezTo>
                <a:cubicBezTo>
                  <a:pt x="1977" y="829"/>
                  <a:pt x="1978" y="830"/>
                  <a:pt x="1978" y="830"/>
                </a:cubicBezTo>
                <a:cubicBezTo>
                  <a:pt x="1979" y="831"/>
                  <a:pt x="1980" y="830"/>
                  <a:pt x="1981" y="829"/>
                </a:cubicBezTo>
                <a:close/>
                <a:moveTo>
                  <a:pt x="2026" y="980"/>
                </a:moveTo>
                <a:cubicBezTo>
                  <a:pt x="2027" y="980"/>
                  <a:pt x="2027" y="980"/>
                  <a:pt x="2028" y="980"/>
                </a:cubicBezTo>
                <a:cubicBezTo>
                  <a:pt x="2028" y="980"/>
                  <a:pt x="2029" y="980"/>
                  <a:pt x="2029" y="979"/>
                </a:cubicBezTo>
                <a:cubicBezTo>
                  <a:pt x="2029" y="979"/>
                  <a:pt x="2028" y="978"/>
                  <a:pt x="2028" y="978"/>
                </a:cubicBezTo>
                <a:cubicBezTo>
                  <a:pt x="2028" y="978"/>
                  <a:pt x="2027" y="978"/>
                  <a:pt x="2027" y="978"/>
                </a:cubicBezTo>
                <a:cubicBezTo>
                  <a:pt x="2027" y="978"/>
                  <a:pt x="2026" y="978"/>
                  <a:pt x="2026" y="978"/>
                </a:cubicBezTo>
                <a:cubicBezTo>
                  <a:pt x="2025" y="978"/>
                  <a:pt x="2024" y="978"/>
                  <a:pt x="2024" y="979"/>
                </a:cubicBezTo>
                <a:cubicBezTo>
                  <a:pt x="2024" y="980"/>
                  <a:pt x="2025" y="980"/>
                  <a:pt x="2026" y="980"/>
                </a:cubicBezTo>
                <a:close/>
                <a:moveTo>
                  <a:pt x="1029" y="79"/>
                </a:moveTo>
                <a:cubicBezTo>
                  <a:pt x="1029" y="79"/>
                  <a:pt x="1029" y="78"/>
                  <a:pt x="1030" y="77"/>
                </a:cubicBezTo>
                <a:cubicBezTo>
                  <a:pt x="1030" y="77"/>
                  <a:pt x="1029" y="76"/>
                  <a:pt x="1029" y="76"/>
                </a:cubicBezTo>
                <a:cubicBezTo>
                  <a:pt x="1029" y="75"/>
                  <a:pt x="1027" y="76"/>
                  <a:pt x="1027" y="77"/>
                </a:cubicBezTo>
                <a:cubicBezTo>
                  <a:pt x="1027" y="78"/>
                  <a:pt x="1028" y="79"/>
                  <a:pt x="1029" y="79"/>
                </a:cubicBezTo>
                <a:close/>
                <a:moveTo>
                  <a:pt x="1424" y="1005"/>
                </a:moveTo>
                <a:cubicBezTo>
                  <a:pt x="1425" y="1004"/>
                  <a:pt x="1424" y="1003"/>
                  <a:pt x="1424" y="1003"/>
                </a:cubicBezTo>
                <a:cubicBezTo>
                  <a:pt x="1423" y="1002"/>
                  <a:pt x="1422" y="1003"/>
                  <a:pt x="1422" y="1004"/>
                </a:cubicBezTo>
                <a:cubicBezTo>
                  <a:pt x="1422" y="1005"/>
                  <a:pt x="1422" y="1005"/>
                  <a:pt x="1423" y="1005"/>
                </a:cubicBezTo>
                <a:cubicBezTo>
                  <a:pt x="1423" y="1006"/>
                  <a:pt x="1424" y="1006"/>
                  <a:pt x="1424" y="1005"/>
                </a:cubicBezTo>
                <a:close/>
                <a:moveTo>
                  <a:pt x="1025" y="137"/>
                </a:moveTo>
                <a:cubicBezTo>
                  <a:pt x="1024" y="138"/>
                  <a:pt x="1024" y="138"/>
                  <a:pt x="1024" y="139"/>
                </a:cubicBezTo>
                <a:cubicBezTo>
                  <a:pt x="1024" y="140"/>
                  <a:pt x="1024" y="140"/>
                  <a:pt x="1024" y="140"/>
                </a:cubicBezTo>
                <a:cubicBezTo>
                  <a:pt x="1025" y="140"/>
                  <a:pt x="1026" y="140"/>
                  <a:pt x="1026" y="140"/>
                </a:cubicBezTo>
                <a:cubicBezTo>
                  <a:pt x="1026" y="139"/>
                  <a:pt x="1026" y="139"/>
                  <a:pt x="1027" y="138"/>
                </a:cubicBezTo>
                <a:cubicBezTo>
                  <a:pt x="1026" y="137"/>
                  <a:pt x="1026" y="137"/>
                  <a:pt x="1025" y="137"/>
                </a:cubicBezTo>
                <a:close/>
                <a:moveTo>
                  <a:pt x="1254" y="627"/>
                </a:moveTo>
                <a:cubicBezTo>
                  <a:pt x="1253" y="627"/>
                  <a:pt x="1253" y="627"/>
                  <a:pt x="1253" y="627"/>
                </a:cubicBezTo>
                <a:cubicBezTo>
                  <a:pt x="1252" y="627"/>
                  <a:pt x="1252" y="626"/>
                  <a:pt x="1251" y="627"/>
                </a:cubicBezTo>
                <a:cubicBezTo>
                  <a:pt x="1251" y="627"/>
                  <a:pt x="1251" y="628"/>
                  <a:pt x="1251" y="628"/>
                </a:cubicBezTo>
                <a:cubicBezTo>
                  <a:pt x="1251" y="629"/>
                  <a:pt x="1251" y="629"/>
                  <a:pt x="1252" y="630"/>
                </a:cubicBezTo>
                <a:cubicBezTo>
                  <a:pt x="1253" y="630"/>
                  <a:pt x="1254" y="630"/>
                  <a:pt x="1255" y="630"/>
                </a:cubicBezTo>
                <a:cubicBezTo>
                  <a:pt x="1255" y="629"/>
                  <a:pt x="1255" y="629"/>
                  <a:pt x="1255" y="628"/>
                </a:cubicBezTo>
                <a:cubicBezTo>
                  <a:pt x="1254" y="628"/>
                  <a:pt x="1254" y="628"/>
                  <a:pt x="1254" y="627"/>
                </a:cubicBezTo>
                <a:close/>
                <a:moveTo>
                  <a:pt x="1255" y="630"/>
                </a:moveTo>
                <a:cubicBezTo>
                  <a:pt x="1255" y="630"/>
                  <a:pt x="1255" y="630"/>
                  <a:pt x="1255" y="630"/>
                </a:cubicBezTo>
                <a:cubicBezTo>
                  <a:pt x="1255" y="630"/>
                  <a:pt x="1255" y="630"/>
                  <a:pt x="1255" y="630"/>
                </a:cubicBezTo>
                <a:cubicBezTo>
                  <a:pt x="1255" y="630"/>
                  <a:pt x="1255" y="630"/>
                  <a:pt x="1255" y="630"/>
                </a:cubicBezTo>
                <a:cubicBezTo>
                  <a:pt x="1255" y="630"/>
                  <a:pt x="1255" y="630"/>
                  <a:pt x="1255" y="630"/>
                </a:cubicBezTo>
                <a:close/>
                <a:moveTo>
                  <a:pt x="2111" y="1269"/>
                </a:moveTo>
                <a:cubicBezTo>
                  <a:pt x="2112" y="1268"/>
                  <a:pt x="2112" y="1268"/>
                  <a:pt x="2112" y="1267"/>
                </a:cubicBezTo>
                <a:cubicBezTo>
                  <a:pt x="2112" y="1267"/>
                  <a:pt x="2112" y="1266"/>
                  <a:pt x="2112" y="1266"/>
                </a:cubicBezTo>
                <a:cubicBezTo>
                  <a:pt x="2112" y="1266"/>
                  <a:pt x="2111" y="1265"/>
                  <a:pt x="2111" y="1265"/>
                </a:cubicBezTo>
                <a:cubicBezTo>
                  <a:pt x="2111" y="1265"/>
                  <a:pt x="2110" y="1265"/>
                  <a:pt x="2110" y="1266"/>
                </a:cubicBezTo>
                <a:cubicBezTo>
                  <a:pt x="2109" y="1266"/>
                  <a:pt x="2109" y="1267"/>
                  <a:pt x="2109" y="1268"/>
                </a:cubicBezTo>
                <a:cubicBezTo>
                  <a:pt x="2109" y="1268"/>
                  <a:pt x="2110" y="1269"/>
                  <a:pt x="2110" y="1269"/>
                </a:cubicBezTo>
                <a:cubicBezTo>
                  <a:pt x="2111" y="1269"/>
                  <a:pt x="2111" y="1269"/>
                  <a:pt x="2111" y="1269"/>
                </a:cubicBezTo>
                <a:close/>
                <a:moveTo>
                  <a:pt x="2039" y="935"/>
                </a:moveTo>
                <a:cubicBezTo>
                  <a:pt x="2040" y="934"/>
                  <a:pt x="2040" y="934"/>
                  <a:pt x="2041" y="934"/>
                </a:cubicBezTo>
                <a:cubicBezTo>
                  <a:pt x="2040" y="933"/>
                  <a:pt x="2040" y="933"/>
                  <a:pt x="2040" y="933"/>
                </a:cubicBezTo>
                <a:cubicBezTo>
                  <a:pt x="2040" y="932"/>
                  <a:pt x="2039" y="932"/>
                  <a:pt x="2038" y="932"/>
                </a:cubicBezTo>
                <a:cubicBezTo>
                  <a:pt x="2037" y="932"/>
                  <a:pt x="2037" y="933"/>
                  <a:pt x="2037" y="934"/>
                </a:cubicBezTo>
                <a:cubicBezTo>
                  <a:pt x="2038" y="935"/>
                  <a:pt x="2038" y="935"/>
                  <a:pt x="2039" y="935"/>
                </a:cubicBezTo>
                <a:close/>
                <a:moveTo>
                  <a:pt x="614" y="1281"/>
                </a:moveTo>
                <a:cubicBezTo>
                  <a:pt x="614" y="1281"/>
                  <a:pt x="614" y="1280"/>
                  <a:pt x="614" y="1280"/>
                </a:cubicBezTo>
                <a:cubicBezTo>
                  <a:pt x="614" y="1279"/>
                  <a:pt x="614" y="1278"/>
                  <a:pt x="613" y="1277"/>
                </a:cubicBezTo>
                <a:cubicBezTo>
                  <a:pt x="612" y="1278"/>
                  <a:pt x="612" y="1278"/>
                  <a:pt x="611" y="1278"/>
                </a:cubicBezTo>
                <a:cubicBezTo>
                  <a:pt x="611" y="1279"/>
                  <a:pt x="611" y="1280"/>
                  <a:pt x="613" y="1281"/>
                </a:cubicBezTo>
                <a:cubicBezTo>
                  <a:pt x="613" y="1281"/>
                  <a:pt x="613" y="1281"/>
                  <a:pt x="614" y="1281"/>
                </a:cubicBezTo>
                <a:close/>
                <a:moveTo>
                  <a:pt x="2098" y="1028"/>
                </a:moveTo>
                <a:cubicBezTo>
                  <a:pt x="2098" y="1028"/>
                  <a:pt x="2099" y="1029"/>
                  <a:pt x="2099" y="1029"/>
                </a:cubicBezTo>
                <a:cubicBezTo>
                  <a:pt x="2100" y="1029"/>
                  <a:pt x="2100" y="1029"/>
                  <a:pt x="2101" y="1028"/>
                </a:cubicBezTo>
                <a:cubicBezTo>
                  <a:pt x="2101" y="1028"/>
                  <a:pt x="2100" y="1027"/>
                  <a:pt x="2100" y="1027"/>
                </a:cubicBezTo>
                <a:cubicBezTo>
                  <a:pt x="2100" y="1026"/>
                  <a:pt x="2099" y="1026"/>
                  <a:pt x="2099" y="1026"/>
                </a:cubicBezTo>
                <a:cubicBezTo>
                  <a:pt x="2098" y="1026"/>
                  <a:pt x="2097" y="1027"/>
                  <a:pt x="2098" y="1028"/>
                </a:cubicBezTo>
                <a:close/>
                <a:moveTo>
                  <a:pt x="909" y="50"/>
                </a:moveTo>
                <a:cubicBezTo>
                  <a:pt x="909" y="50"/>
                  <a:pt x="909" y="50"/>
                  <a:pt x="909" y="49"/>
                </a:cubicBezTo>
                <a:cubicBezTo>
                  <a:pt x="910" y="48"/>
                  <a:pt x="909" y="47"/>
                  <a:pt x="908" y="47"/>
                </a:cubicBezTo>
                <a:cubicBezTo>
                  <a:pt x="908" y="47"/>
                  <a:pt x="907" y="47"/>
                  <a:pt x="907" y="47"/>
                </a:cubicBezTo>
                <a:cubicBezTo>
                  <a:pt x="907" y="48"/>
                  <a:pt x="907" y="49"/>
                  <a:pt x="907" y="49"/>
                </a:cubicBezTo>
                <a:cubicBezTo>
                  <a:pt x="908" y="50"/>
                  <a:pt x="908" y="50"/>
                  <a:pt x="909" y="50"/>
                </a:cubicBezTo>
                <a:close/>
                <a:moveTo>
                  <a:pt x="2322" y="1048"/>
                </a:moveTo>
                <a:cubicBezTo>
                  <a:pt x="2321" y="1048"/>
                  <a:pt x="2321" y="1047"/>
                  <a:pt x="2320" y="1046"/>
                </a:cubicBezTo>
                <a:cubicBezTo>
                  <a:pt x="2320" y="1046"/>
                  <a:pt x="2320" y="1046"/>
                  <a:pt x="2320" y="1046"/>
                </a:cubicBezTo>
                <a:cubicBezTo>
                  <a:pt x="2320" y="1046"/>
                  <a:pt x="2319" y="1046"/>
                  <a:pt x="2319" y="1046"/>
                </a:cubicBezTo>
                <a:cubicBezTo>
                  <a:pt x="2319" y="1048"/>
                  <a:pt x="2319" y="1050"/>
                  <a:pt x="2320" y="1050"/>
                </a:cubicBezTo>
                <a:cubicBezTo>
                  <a:pt x="2321" y="1050"/>
                  <a:pt x="2321" y="1050"/>
                  <a:pt x="2322" y="1049"/>
                </a:cubicBezTo>
                <a:cubicBezTo>
                  <a:pt x="2322" y="1049"/>
                  <a:pt x="2322" y="1049"/>
                  <a:pt x="2322" y="1048"/>
                </a:cubicBezTo>
                <a:close/>
                <a:moveTo>
                  <a:pt x="1400" y="260"/>
                </a:moveTo>
                <a:cubicBezTo>
                  <a:pt x="1400" y="260"/>
                  <a:pt x="1399" y="260"/>
                  <a:pt x="1399" y="261"/>
                </a:cubicBezTo>
                <a:cubicBezTo>
                  <a:pt x="1399" y="261"/>
                  <a:pt x="1399" y="261"/>
                  <a:pt x="1399" y="262"/>
                </a:cubicBezTo>
                <a:cubicBezTo>
                  <a:pt x="1400" y="262"/>
                  <a:pt x="1401" y="263"/>
                  <a:pt x="1402" y="264"/>
                </a:cubicBezTo>
                <a:cubicBezTo>
                  <a:pt x="1402" y="264"/>
                  <a:pt x="1403" y="264"/>
                  <a:pt x="1403" y="264"/>
                </a:cubicBezTo>
                <a:cubicBezTo>
                  <a:pt x="1404" y="264"/>
                  <a:pt x="1404" y="262"/>
                  <a:pt x="1403" y="262"/>
                </a:cubicBezTo>
                <a:cubicBezTo>
                  <a:pt x="1402" y="261"/>
                  <a:pt x="1402" y="260"/>
                  <a:pt x="1400" y="260"/>
                </a:cubicBezTo>
                <a:close/>
                <a:moveTo>
                  <a:pt x="1898" y="890"/>
                </a:moveTo>
                <a:cubicBezTo>
                  <a:pt x="1898" y="889"/>
                  <a:pt x="1897" y="889"/>
                  <a:pt x="1897" y="889"/>
                </a:cubicBezTo>
                <a:cubicBezTo>
                  <a:pt x="1896" y="889"/>
                  <a:pt x="1895" y="890"/>
                  <a:pt x="1896" y="891"/>
                </a:cubicBezTo>
                <a:cubicBezTo>
                  <a:pt x="1896" y="891"/>
                  <a:pt x="1897" y="891"/>
                  <a:pt x="1897" y="892"/>
                </a:cubicBezTo>
                <a:cubicBezTo>
                  <a:pt x="1898" y="892"/>
                  <a:pt x="1899" y="891"/>
                  <a:pt x="1898" y="890"/>
                </a:cubicBezTo>
                <a:close/>
                <a:moveTo>
                  <a:pt x="2009" y="815"/>
                </a:moveTo>
                <a:cubicBezTo>
                  <a:pt x="2009" y="815"/>
                  <a:pt x="2009" y="817"/>
                  <a:pt x="2010" y="817"/>
                </a:cubicBezTo>
                <a:cubicBezTo>
                  <a:pt x="2010" y="817"/>
                  <a:pt x="2011" y="816"/>
                  <a:pt x="2011" y="816"/>
                </a:cubicBezTo>
                <a:cubicBezTo>
                  <a:pt x="2011" y="815"/>
                  <a:pt x="2011" y="815"/>
                  <a:pt x="2010" y="815"/>
                </a:cubicBezTo>
                <a:cubicBezTo>
                  <a:pt x="2010" y="814"/>
                  <a:pt x="2009" y="815"/>
                  <a:pt x="2009" y="815"/>
                </a:cubicBezTo>
                <a:close/>
                <a:moveTo>
                  <a:pt x="679" y="817"/>
                </a:moveTo>
                <a:cubicBezTo>
                  <a:pt x="679" y="817"/>
                  <a:pt x="678" y="816"/>
                  <a:pt x="678" y="817"/>
                </a:cubicBezTo>
                <a:cubicBezTo>
                  <a:pt x="678" y="817"/>
                  <a:pt x="677" y="817"/>
                  <a:pt x="677" y="817"/>
                </a:cubicBezTo>
                <a:cubicBezTo>
                  <a:pt x="677" y="818"/>
                  <a:pt x="677" y="818"/>
                  <a:pt x="678" y="818"/>
                </a:cubicBezTo>
                <a:cubicBezTo>
                  <a:pt x="678" y="818"/>
                  <a:pt x="679" y="818"/>
                  <a:pt x="679" y="817"/>
                </a:cubicBezTo>
                <a:close/>
                <a:moveTo>
                  <a:pt x="2248" y="972"/>
                </a:moveTo>
                <a:cubicBezTo>
                  <a:pt x="2248" y="972"/>
                  <a:pt x="2248" y="971"/>
                  <a:pt x="2248" y="971"/>
                </a:cubicBezTo>
                <a:cubicBezTo>
                  <a:pt x="2248" y="971"/>
                  <a:pt x="2248" y="971"/>
                  <a:pt x="2248" y="971"/>
                </a:cubicBezTo>
                <a:cubicBezTo>
                  <a:pt x="2248" y="971"/>
                  <a:pt x="2248" y="972"/>
                  <a:pt x="2248" y="972"/>
                </a:cubicBezTo>
                <a:cubicBezTo>
                  <a:pt x="2248" y="972"/>
                  <a:pt x="2248" y="972"/>
                  <a:pt x="2248" y="972"/>
                </a:cubicBezTo>
                <a:close/>
                <a:moveTo>
                  <a:pt x="2252" y="975"/>
                </a:moveTo>
                <a:cubicBezTo>
                  <a:pt x="2252" y="975"/>
                  <a:pt x="2253" y="974"/>
                  <a:pt x="2253" y="974"/>
                </a:cubicBezTo>
                <a:cubicBezTo>
                  <a:pt x="2253" y="974"/>
                  <a:pt x="2253" y="974"/>
                  <a:pt x="2253" y="973"/>
                </a:cubicBezTo>
                <a:cubicBezTo>
                  <a:pt x="2252" y="972"/>
                  <a:pt x="2250" y="971"/>
                  <a:pt x="2248" y="972"/>
                </a:cubicBezTo>
                <a:cubicBezTo>
                  <a:pt x="2249" y="974"/>
                  <a:pt x="2250" y="975"/>
                  <a:pt x="2252" y="975"/>
                </a:cubicBezTo>
                <a:close/>
                <a:moveTo>
                  <a:pt x="626" y="137"/>
                </a:moveTo>
                <a:cubicBezTo>
                  <a:pt x="625" y="137"/>
                  <a:pt x="624" y="138"/>
                  <a:pt x="625" y="139"/>
                </a:cubicBezTo>
                <a:cubicBezTo>
                  <a:pt x="625" y="140"/>
                  <a:pt x="625" y="140"/>
                  <a:pt x="625" y="140"/>
                </a:cubicBezTo>
                <a:cubicBezTo>
                  <a:pt x="626" y="140"/>
                  <a:pt x="628" y="139"/>
                  <a:pt x="627" y="138"/>
                </a:cubicBezTo>
                <a:cubicBezTo>
                  <a:pt x="627" y="137"/>
                  <a:pt x="627" y="137"/>
                  <a:pt x="626" y="137"/>
                </a:cubicBezTo>
                <a:close/>
                <a:moveTo>
                  <a:pt x="2033" y="693"/>
                </a:moveTo>
                <a:cubicBezTo>
                  <a:pt x="2033" y="692"/>
                  <a:pt x="2033" y="692"/>
                  <a:pt x="2033" y="692"/>
                </a:cubicBezTo>
                <a:cubicBezTo>
                  <a:pt x="2032" y="692"/>
                  <a:pt x="2032" y="692"/>
                  <a:pt x="2031" y="692"/>
                </a:cubicBezTo>
                <a:cubicBezTo>
                  <a:pt x="2030" y="693"/>
                  <a:pt x="2030" y="694"/>
                  <a:pt x="2031" y="694"/>
                </a:cubicBezTo>
                <a:cubicBezTo>
                  <a:pt x="2032" y="694"/>
                  <a:pt x="2032" y="694"/>
                  <a:pt x="2033" y="693"/>
                </a:cubicBezTo>
                <a:cubicBezTo>
                  <a:pt x="2033" y="693"/>
                  <a:pt x="2033" y="693"/>
                  <a:pt x="2033" y="693"/>
                </a:cubicBezTo>
                <a:close/>
                <a:moveTo>
                  <a:pt x="619" y="248"/>
                </a:moveTo>
                <a:cubicBezTo>
                  <a:pt x="619" y="248"/>
                  <a:pt x="620" y="249"/>
                  <a:pt x="621" y="250"/>
                </a:cubicBezTo>
                <a:cubicBezTo>
                  <a:pt x="622" y="250"/>
                  <a:pt x="623" y="249"/>
                  <a:pt x="624" y="248"/>
                </a:cubicBezTo>
                <a:cubicBezTo>
                  <a:pt x="623" y="248"/>
                  <a:pt x="622" y="247"/>
                  <a:pt x="621" y="247"/>
                </a:cubicBezTo>
                <a:cubicBezTo>
                  <a:pt x="620" y="247"/>
                  <a:pt x="620" y="248"/>
                  <a:pt x="619" y="248"/>
                </a:cubicBezTo>
                <a:close/>
                <a:moveTo>
                  <a:pt x="624" y="248"/>
                </a:moveTo>
                <a:cubicBezTo>
                  <a:pt x="624" y="248"/>
                  <a:pt x="624" y="248"/>
                  <a:pt x="624" y="248"/>
                </a:cubicBezTo>
                <a:cubicBezTo>
                  <a:pt x="624" y="248"/>
                  <a:pt x="624" y="248"/>
                  <a:pt x="624" y="248"/>
                </a:cubicBezTo>
                <a:cubicBezTo>
                  <a:pt x="624" y="248"/>
                  <a:pt x="624" y="248"/>
                  <a:pt x="624" y="248"/>
                </a:cubicBezTo>
                <a:cubicBezTo>
                  <a:pt x="624" y="248"/>
                  <a:pt x="624" y="248"/>
                  <a:pt x="624" y="248"/>
                </a:cubicBezTo>
                <a:close/>
                <a:moveTo>
                  <a:pt x="757" y="136"/>
                </a:moveTo>
                <a:cubicBezTo>
                  <a:pt x="757" y="135"/>
                  <a:pt x="756" y="135"/>
                  <a:pt x="755" y="136"/>
                </a:cubicBezTo>
                <a:cubicBezTo>
                  <a:pt x="755" y="136"/>
                  <a:pt x="754" y="136"/>
                  <a:pt x="754" y="136"/>
                </a:cubicBezTo>
                <a:cubicBezTo>
                  <a:pt x="754" y="136"/>
                  <a:pt x="754" y="137"/>
                  <a:pt x="754" y="137"/>
                </a:cubicBezTo>
                <a:cubicBezTo>
                  <a:pt x="755" y="138"/>
                  <a:pt x="755" y="138"/>
                  <a:pt x="756" y="138"/>
                </a:cubicBezTo>
                <a:cubicBezTo>
                  <a:pt x="757" y="138"/>
                  <a:pt x="757" y="137"/>
                  <a:pt x="757" y="137"/>
                </a:cubicBezTo>
                <a:cubicBezTo>
                  <a:pt x="757" y="137"/>
                  <a:pt x="757" y="136"/>
                  <a:pt x="757" y="136"/>
                </a:cubicBezTo>
                <a:close/>
                <a:moveTo>
                  <a:pt x="2098" y="934"/>
                </a:moveTo>
                <a:cubicBezTo>
                  <a:pt x="2099" y="935"/>
                  <a:pt x="2099" y="935"/>
                  <a:pt x="2099" y="935"/>
                </a:cubicBezTo>
                <a:cubicBezTo>
                  <a:pt x="2100" y="935"/>
                  <a:pt x="2101" y="935"/>
                  <a:pt x="2101" y="934"/>
                </a:cubicBezTo>
                <a:cubicBezTo>
                  <a:pt x="2101" y="934"/>
                  <a:pt x="2100" y="933"/>
                  <a:pt x="2100" y="933"/>
                </a:cubicBezTo>
                <a:cubicBezTo>
                  <a:pt x="2099" y="933"/>
                  <a:pt x="2099" y="933"/>
                  <a:pt x="2098" y="933"/>
                </a:cubicBezTo>
                <a:cubicBezTo>
                  <a:pt x="2098" y="933"/>
                  <a:pt x="2098" y="934"/>
                  <a:pt x="2098" y="934"/>
                </a:cubicBezTo>
                <a:cubicBezTo>
                  <a:pt x="2098" y="934"/>
                  <a:pt x="2098" y="934"/>
                  <a:pt x="2098" y="934"/>
                </a:cubicBezTo>
                <a:close/>
                <a:moveTo>
                  <a:pt x="1284" y="613"/>
                </a:moveTo>
                <a:cubicBezTo>
                  <a:pt x="1284" y="612"/>
                  <a:pt x="1284" y="612"/>
                  <a:pt x="1283" y="611"/>
                </a:cubicBezTo>
                <a:cubicBezTo>
                  <a:pt x="1283" y="611"/>
                  <a:pt x="1283" y="611"/>
                  <a:pt x="1282" y="612"/>
                </a:cubicBezTo>
                <a:cubicBezTo>
                  <a:pt x="1282" y="612"/>
                  <a:pt x="1282" y="612"/>
                  <a:pt x="1282" y="613"/>
                </a:cubicBezTo>
                <a:cubicBezTo>
                  <a:pt x="1283" y="613"/>
                  <a:pt x="1283" y="613"/>
                  <a:pt x="1284" y="613"/>
                </a:cubicBezTo>
                <a:close/>
                <a:moveTo>
                  <a:pt x="1548" y="120"/>
                </a:moveTo>
                <a:cubicBezTo>
                  <a:pt x="1549" y="120"/>
                  <a:pt x="1548" y="119"/>
                  <a:pt x="1547" y="119"/>
                </a:cubicBezTo>
                <a:cubicBezTo>
                  <a:pt x="1547" y="118"/>
                  <a:pt x="1546" y="118"/>
                  <a:pt x="1546" y="119"/>
                </a:cubicBezTo>
                <a:cubicBezTo>
                  <a:pt x="1546" y="120"/>
                  <a:pt x="1546" y="121"/>
                  <a:pt x="1547" y="121"/>
                </a:cubicBezTo>
                <a:cubicBezTo>
                  <a:pt x="1547" y="121"/>
                  <a:pt x="1548" y="121"/>
                  <a:pt x="1548" y="120"/>
                </a:cubicBezTo>
                <a:close/>
                <a:moveTo>
                  <a:pt x="2254" y="983"/>
                </a:moveTo>
                <a:cubicBezTo>
                  <a:pt x="2254" y="984"/>
                  <a:pt x="2255" y="983"/>
                  <a:pt x="2255" y="983"/>
                </a:cubicBezTo>
                <a:cubicBezTo>
                  <a:pt x="2256" y="983"/>
                  <a:pt x="2256" y="982"/>
                  <a:pt x="2256" y="982"/>
                </a:cubicBezTo>
                <a:cubicBezTo>
                  <a:pt x="2255" y="980"/>
                  <a:pt x="2253" y="980"/>
                  <a:pt x="2252" y="980"/>
                </a:cubicBezTo>
                <a:cubicBezTo>
                  <a:pt x="2252" y="982"/>
                  <a:pt x="2253" y="983"/>
                  <a:pt x="2254" y="983"/>
                </a:cubicBezTo>
                <a:close/>
                <a:moveTo>
                  <a:pt x="249" y="409"/>
                </a:moveTo>
                <a:cubicBezTo>
                  <a:pt x="249" y="408"/>
                  <a:pt x="249" y="407"/>
                  <a:pt x="248" y="407"/>
                </a:cubicBezTo>
                <a:cubicBezTo>
                  <a:pt x="247" y="407"/>
                  <a:pt x="247" y="408"/>
                  <a:pt x="248" y="409"/>
                </a:cubicBezTo>
                <a:cubicBezTo>
                  <a:pt x="248" y="410"/>
                  <a:pt x="248" y="410"/>
                  <a:pt x="249" y="410"/>
                </a:cubicBezTo>
                <a:cubicBezTo>
                  <a:pt x="249" y="410"/>
                  <a:pt x="249" y="409"/>
                  <a:pt x="249" y="409"/>
                </a:cubicBezTo>
                <a:close/>
                <a:moveTo>
                  <a:pt x="1819" y="108"/>
                </a:moveTo>
                <a:cubicBezTo>
                  <a:pt x="1820" y="110"/>
                  <a:pt x="1821" y="110"/>
                  <a:pt x="1823" y="110"/>
                </a:cubicBezTo>
                <a:cubicBezTo>
                  <a:pt x="1823" y="110"/>
                  <a:pt x="1823" y="109"/>
                  <a:pt x="1823" y="109"/>
                </a:cubicBezTo>
                <a:cubicBezTo>
                  <a:pt x="1823" y="109"/>
                  <a:pt x="1823" y="108"/>
                  <a:pt x="1823" y="108"/>
                </a:cubicBezTo>
                <a:cubicBezTo>
                  <a:pt x="1822" y="107"/>
                  <a:pt x="1821" y="107"/>
                  <a:pt x="1819" y="108"/>
                </a:cubicBezTo>
                <a:close/>
                <a:moveTo>
                  <a:pt x="2099" y="929"/>
                </a:moveTo>
                <a:cubicBezTo>
                  <a:pt x="2100" y="929"/>
                  <a:pt x="2100" y="929"/>
                  <a:pt x="2100" y="928"/>
                </a:cubicBezTo>
                <a:cubicBezTo>
                  <a:pt x="2100" y="927"/>
                  <a:pt x="2099" y="926"/>
                  <a:pt x="2098" y="926"/>
                </a:cubicBezTo>
                <a:cubicBezTo>
                  <a:pt x="2097" y="927"/>
                  <a:pt x="2097" y="927"/>
                  <a:pt x="2097" y="927"/>
                </a:cubicBezTo>
                <a:cubicBezTo>
                  <a:pt x="2097" y="928"/>
                  <a:pt x="2098" y="928"/>
                  <a:pt x="2098" y="929"/>
                </a:cubicBezTo>
                <a:cubicBezTo>
                  <a:pt x="2098" y="929"/>
                  <a:pt x="2099" y="929"/>
                  <a:pt x="2099" y="929"/>
                </a:cubicBezTo>
                <a:close/>
                <a:moveTo>
                  <a:pt x="708" y="155"/>
                </a:moveTo>
                <a:cubicBezTo>
                  <a:pt x="708" y="155"/>
                  <a:pt x="708" y="155"/>
                  <a:pt x="708" y="155"/>
                </a:cubicBezTo>
                <a:cubicBezTo>
                  <a:pt x="708" y="155"/>
                  <a:pt x="708" y="155"/>
                  <a:pt x="708" y="155"/>
                </a:cubicBezTo>
                <a:cubicBezTo>
                  <a:pt x="708" y="155"/>
                  <a:pt x="708" y="155"/>
                  <a:pt x="708" y="155"/>
                </a:cubicBezTo>
                <a:cubicBezTo>
                  <a:pt x="708" y="155"/>
                  <a:pt x="708" y="155"/>
                  <a:pt x="708" y="155"/>
                </a:cubicBezTo>
                <a:close/>
                <a:moveTo>
                  <a:pt x="706" y="158"/>
                </a:moveTo>
                <a:cubicBezTo>
                  <a:pt x="707" y="158"/>
                  <a:pt x="707" y="158"/>
                  <a:pt x="708" y="157"/>
                </a:cubicBezTo>
                <a:cubicBezTo>
                  <a:pt x="708" y="157"/>
                  <a:pt x="708" y="156"/>
                  <a:pt x="708" y="155"/>
                </a:cubicBezTo>
                <a:cubicBezTo>
                  <a:pt x="707" y="155"/>
                  <a:pt x="706" y="155"/>
                  <a:pt x="706" y="156"/>
                </a:cubicBezTo>
                <a:cubicBezTo>
                  <a:pt x="705" y="156"/>
                  <a:pt x="705" y="158"/>
                  <a:pt x="706" y="158"/>
                </a:cubicBezTo>
                <a:close/>
                <a:moveTo>
                  <a:pt x="2180" y="936"/>
                </a:moveTo>
                <a:cubicBezTo>
                  <a:pt x="2180" y="936"/>
                  <a:pt x="2180" y="936"/>
                  <a:pt x="2180" y="935"/>
                </a:cubicBezTo>
                <a:cubicBezTo>
                  <a:pt x="2180" y="935"/>
                  <a:pt x="2179" y="935"/>
                  <a:pt x="2178" y="935"/>
                </a:cubicBezTo>
                <a:cubicBezTo>
                  <a:pt x="2178" y="935"/>
                  <a:pt x="2177" y="935"/>
                  <a:pt x="2177" y="935"/>
                </a:cubicBezTo>
                <a:cubicBezTo>
                  <a:pt x="2177" y="936"/>
                  <a:pt x="2177" y="936"/>
                  <a:pt x="2178" y="937"/>
                </a:cubicBezTo>
                <a:cubicBezTo>
                  <a:pt x="2179" y="937"/>
                  <a:pt x="2180" y="937"/>
                  <a:pt x="2180" y="936"/>
                </a:cubicBezTo>
                <a:close/>
                <a:moveTo>
                  <a:pt x="2315" y="1089"/>
                </a:moveTo>
                <a:cubicBezTo>
                  <a:pt x="2315" y="1089"/>
                  <a:pt x="2315" y="1088"/>
                  <a:pt x="2315" y="1087"/>
                </a:cubicBezTo>
                <a:cubicBezTo>
                  <a:pt x="2315" y="1087"/>
                  <a:pt x="2314" y="1087"/>
                  <a:pt x="2314" y="1087"/>
                </a:cubicBezTo>
                <a:cubicBezTo>
                  <a:pt x="2314" y="1087"/>
                  <a:pt x="2313" y="1088"/>
                  <a:pt x="2313" y="1088"/>
                </a:cubicBezTo>
                <a:cubicBezTo>
                  <a:pt x="2313" y="1088"/>
                  <a:pt x="2314" y="1089"/>
                  <a:pt x="2314" y="1089"/>
                </a:cubicBezTo>
                <a:cubicBezTo>
                  <a:pt x="2314" y="1090"/>
                  <a:pt x="2315" y="1090"/>
                  <a:pt x="2315" y="1089"/>
                </a:cubicBezTo>
                <a:close/>
                <a:moveTo>
                  <a:pt x="823" y="282"/>
                </a:moveTo>
                <a:cubicBezTo>
                  <a:pt x="823" y="282"/>
                  <a:pt x="823" y="281"/>
                  <a:pt x="822" y="282"/>
                </a:cubicBezTo>
                <a:cubicBezTo>
                  <a:pt x="822" y="282"/>
                  <a:pt x="821" y="282"/>
                  <a:pt x="821" y="282"/>
                </a:cubicBezTo>
                <a:cubicBezTo>
                  <a:pt x="821" y="283"/>
                  <a:pt x="821" y="283"/>
                  <a:pt x="822" y="284"/>
                </a:cubicBezTo>
                <a:cubicBezTo>
                  <a:pt x="822" y="284"/>
                  <a:pt x="823" y="284"/>
                  <a:pt x="824" y="284"/>
                </a:cubicBezTo>
                <a:cubicBezTo>
                  <a:pt x="824" y="284"/>
                  <a:pt x="824" y="284"/>
                  <a:pt x="824" y="283"/>
                </a:cubicBezTo>
                <a:cubicBezTo>
                  <a:pt x="824" y="283"/>
                  <a:pt x="823" y="283"/>
                  <a:pt x="823" y="282"/>
                </a:cubicBezTo>
                <a:close/>
                <a:moveTo>
                  <a:pt x="617" y="1285"/>
                </a:moveTo>
                <a:cubicBezTo>
                  <a:pt x="617" y="1285"/>
                  <a:pt x="616" y="1284"/>
                  <a:pt x="615" y="1284"/>
                </a:cubicBezTo>
                <a:cubicBezTo>
                  <a:pt x="615" y="1284"/>
                  <a:pt x="614" y="1285"/>
                  <a:pt x="615" y="1286"/>
                </a:cubicBezTo>
                <a:cubicBezTo>
                  <a:pt x="615" y="1287"/>
                  <a:pt x="615" y="1288"/>
                  <a:pt x="615" y="1289"/>
                </a:cubicBezTo>
                <a:cubicBezTo>
                  <a:pt x="616" y="1288"/>
                  <a:pt x="617" y="1287"/>
                  <a:pt x="617" y="1287"/>
                </a:cubicBezTo>
                <a:cubicBezTo>
                  <a:pt x="617" y="1286"/>
                  <a:pt x="617" y="1286"/>
                  <a:pt x="617" y="1285"/>
                </a:cubicBezTo>
                <a:close/>
                <a:moveTo>
                  <a:pt x="615" y="1289"/>
                </a:moveTo>
                <a:cubicBezTo>
                  <a:pt x="615" y="1289"/>
                  <a:pt x="615" y="1289"/>
                  <a:pt x="615" y="1289"/>
                </a:cubicBezTo>
                <a:cubicBezTo>
                  <a:pt x="615" y="1289"/>
                  <a:pt x="615" y="1289"/>
                  <a:pt x="615" y="1289"/>
                </a:cubicBezTo>
                <a:cubicBezTo>
                  <a:pt x="615" y="1289"/>
                  <a:pt x="615" y="1289"/>
                  <a:pt x="615" y="1289"/>
                </a:cubicBezTo>
                <a:cubicBezTo>
                  <a:pt x="615" y="1289"/>
                  <a:pt x="615" y="1289"/>
                  <a:pt x="615" y="1289"/>
                </a:cubicBezTo>
                <a:close/>
                <a:moveTo>
                  <a:pt x="1635" y="93"/>
                </a:moveTo>
                <a:cubicBezTo>
                  <a:pt x="1636" y="93"/>
                  <a:pt x="1636" y="92"/>
                  <a:pt x="1635" y="91"/>
                </a:cubicBezTo>
                <a:cubicBezTo>
                  <a:pt x="1634" y="91"/>
                  <a:pt x="1634" y="91"/>
                  <a:pt x="1633" y="92"/>
                </a:cubicBezTo>
                <a:cubicBezTo>
                  <a:pt x="1633" y="93"/>
                  <a:pt x="1633" y="94"/>
                  <a:pt x="1634" y="94"/>
                </a:cubicBezTo>
                <a:cubicBezTo>
                  <a:pt x="1635" y="94"/>
                  <a:pt x="1635" y="94"/>
                  <a:pt x="1635" y="93"/>
                </a:cubicBezTo>
                <a:close/>
                <a:moveTo>
                  <a:pt x="914" y="39"/>
                </a:moveTo>
                <a:cubicBezTo>
                  <a:pt x="915" y="39"/>
                  <a:pt x="915" y="38"/>
                  <a:pt x="915" y="37"/>
                </a:cubicBezTo>
                <a:cubicBezTo>
                  <a:pt x="915" y="37"/>
                  <a:pt x="914" y="37"/>
                  <a:pt x="914" y="36"/>
                </a:cubicBezTo>
                <a:cubicBezTo>
                  <a:pt x="914" y="36"/>
                  <a:pt x="913" y="36"/>
                  <a:pt x="913" y="36"/>
                </a:cubicBezTo>
                <a:cubicBezTo>
                  <a:pt x="912" y="37"/>
                  <a:pt x="912" y="37"/>
                  <a:pt x="913" y="38"/>
                </a:cubicBezTo>
                <a:cubicBezTo>
                  <a:pt x="913" y="38"/>
                  <a:pt x="914" y="38"/>
                  <a:pt x="914" y="39"/>
                </a:cubicBezTo>
                <a:close/>
                <a:moveTo>
                  <a:pt x="1331" y="79"/>
                </a:moveTo>
                <a:cubicBezTo>
                  <a:pt x="1331" y="79"/>
                  <a:pt x="1331" y="78"/>
                  <a:pt x="1331" y="78"/>
                </a:cubicBezTo>
                <a:cubicBezTo>
                  <a:pt x="1331" y="78"/>
                  <a:pt x="1331" y="77"/>
                  <a:pt x="1330" y="77"/>
                </a:cubicBezTo>
                <a:cubicBezTo>
                  <a:pt x="1330" y="77"/>
                  <a:pt x="1329" y="77"/>
                  <a:pt x="1329" y="78"/>
                </a:cubicBezTo>
                <a:cubicBezTo>
                  <a:pt x="1330" y="79"/>
                  <a:pt x="1330" y="79"/>
                  <a:pt x="1331" y="79"/>
                </a:cubicBezTo>
                <a:close/>
                <a:moveTo>
                  <a:pt x="2138" y="1270"/>
                </a:moveTo>
                <a:cubicBezTo>
                  <a:pt x="2137" y="1270"/>
                  <a:pt x="2137" y="1271"/>
                  <a:pt x="2137" y="1271"/>
                </a:cubicBezTo>
                <a:cubicBezTo>
                  <a:pt x="2137" y="1272"/>
                  <a:pt x="2138" y="1272"/>
                  <a:pt x="2138" y="1273"/>
                </a:cubicBezTo>
                <a:cubicBezTo>
                  <a:pt x="2139" y="1273"/>
                  <a:pt x="2139" y="1273"/>
                  <a:pt x="2139" y="1272"/>
                </a:cubicBezTo>
                <a:cubicBezTo>
                  <a:pt x="2140" y="1272"/>
                  <a:pt x="2139" y="1271"/>
                  <a:pt x="2139" y="1271"/>
                </a:cubicBezTo>
                <a:cubicBezTo>
                  <a:pt x="2139" y="1270"/>
                  <a:pt x="2138" y="1270"/>
                  <a:pt x="2138" y="1270"/>
                </a:cubicBezTo>
                <a:close/>
                <a:moveTo>
                  <a:pt x="618" y="1335"/>
                </a:moveTo>
                <a:cubicBezTo>
                  <a:pt x="617" y="1335"/>
                  <a:pt x="617" y="1337"/>
                  <a:pt x="618" y="1337"/>
                </a:cubicBezTo>
                <a:cubicBezTo>
                  <a:pt x="619" y="1337"/>
                  <a:pt x="620" y="1337"/>
                  <a:pt x="620" y="1338"/>
                </a:cubicBezTo>
                <a:cubicBezTo>
                  <a:pt x="620" y="1337"/>
                  <a:pt x="620" y="1335"/>
                  <a:pt x="620" y="1334"/>
                </a:cubicBezTo>
                <a:cubicBezTo>
                  <a:pt x="620" y="1334"/>
                  <a:pt x="619" y="1335"/>
                  <a:pt x="618" y="1335"/>
                </a:cubicBezTo>
                <a:close/>
                <a:moveTo>
                  <a:pt x="2204" y="994"/>
                </a:moveTo>
                <a:cubicBezTo>
                  <a:pt x="2203" y="991"/>
                  <a:pt x="2203" y="991"/>
                  <a:pt x="2201" y="992"/>
                </a:cubicBezTo>
                <a:cubicBezTo>
                  <a:pt x="2200" y="992"/>
                  <a:pt x="2200" y="992"/>
                  <a:pt x="2199" y="992"/>
                </a:cubicBezTo>
                <a:cubicBezTo>
                  <a:pt x="2201" y="992"/>
                  <a:pt x="2203" y="993"/>
                  <a:pt x="2204" y="994"/>
                </a:cubicBezTo>
                <a:cubicBezTo>
                  <a:pt x="2204" y="994"/>
                  <a:pt x="2204" y="994"/>
                  <a:pt x="2204" y="994"/>
                </a:cubicBezTo>
                <a:close/>
                <a:moveTo>
                  <a:pt x="2199" y="992"/>
                </a:moveTo>
                <a:cubicBezTo>
                  <a:pt x="2199" y="992"/>
                  <a:pt x="2199" y="992"/>
                  <a:pt x="2199" y="992"/>
                </a:cubicBezTo>
                <a:cubicBezTo>
                  <a:pt x="2199" y="992"/>
                  <a:pt x="2199" y="992"/>
                  <a:pt x="2199" y="992"/>
                </a:cubicBezTo>
                <a:cubicBezTo>
                  <a:pt x="2199" y="992"/>
                  <a:pt x="2199" y="992"/>
                  <a:pt x="2199" y="992"/>
                </a:cubicBezTo>
                <a:cubicBezTo>
                  <a:pt x="2199" y="992"/>
                  <a:pt x="2199" y="992"/>
                  <a:pt x="2199" y="992"/>
                </a:cubicBezTo>
                <a:close/>
                <a:moveTo>
                  <a:pt x="522" y="253"/>
                </a:moveTo>
                <a:cubicBezTo>
                  <a:pt x="522" y="253"/>
                  <a:pt x="522" y="253"/>
                  <a:pt x="522" y="253"/>
                </a:cubicBezTo>
                <a:cubicBezTo>
                  <a:pt x="523" y="254"/>
                  <a:pt x="524" y="253"/>
                  <a:pt x="524" y="253"/>
                </a:cubicBezTo>
                <a:cubicBezTo>
                  <a:pt x="524" y="252"/>
                  <a:pt x="523" y="252"/>
                  <a:pt x="523" y="252"/>
                </a:cubicBezTo>
                <a:cubicBezTo>
                  <a:pt x="522" y="252"/>
                  <a:pt x="522" y="252"/>
                  <a:pt x="522" y="253"/>
                </a:cubicBezTo>
                <a:close/>
                <a:moveTo>
                  <a:pt x="1013" y="710"/>
                </a:moveTo>
                <a:cubicBezTo>
                  <a:pt x="1013" y="710"/>
                  <a:pt x="1013" y="710"/>
                  <a:pt x="1013" y="710"/>
                </a:cubicBezTo>
                <a:cubicBezTo>
                  <a:pt x="1014" y="709"/>
                  <a:pt x="1014" y="709"/>
                  <a:pt x="1014" y="709"/>
                </a:cubicBezTo>
                <a:cubicBezTo>
                  <a:pt x="1014" y="708"/>
                  <a:pt x="1014" y="708"/>
                  <a:pt x="1014" y="707"/>
                </a:cubicBezTo>
                <a:cubicBezTo>
                  <a:pt x="1013" y="708"/>
                  <a:pt x="1013" y="708"/>
                  <a:pt x="1012" y="708"/>
                </a:cubicBezTo>
                <a:cubicBezTo>
                  <a:pt x="1012" y="709"/>
                  <a:pt x="1012" y="709"/>
                  <a:pt x="1013" y="710"/>
                </a:cubicBezTo>
                <a:close/>
                <a:moveTo>
                  <a:pt x="2025" y="708"/>
                </a:moveTo>
                <a:cubicBezTo>
                  <a:pt x="2025" y="708"/>
                  <a:pt x="2024" y="708"/>
                  <a:pt x="2024" y="708"/>
                </a:cubicBezTo>
                <a:cubicBezTo>
                  <a:pt x="2023" y="708"/>
                  <a:pt x="2023" y="708"/>
                  <a:pt x="2023" y="709"/>
                </a:cubicBezTo>
                <a:cubicBezTo>
                  <a:pt x="2023" y="709"/>
                  <a:pt x="2023" y="710"/>
                  <a:pt x="2023" y="710"/>
                </a:cubicBezTo>
                <a:cubicBezTo>
                  <a:pt x="2024" y="710"/>
                  <a:pt x="2024" y="710"/>
                  <a:pt x="2024" y="710"/>
                </a:cubicBezTo>
                <a:cubicBezTo>
                  <a:pt x="2024" y="709"/>
                  <a:pt x="2025" y="709"/>
                  <a:pt x="2025" y="708"/>
                </a:cubicBezTo>
                <a:close/>
                <a:moveTo>
                  <a:pt x="580" y="737"/>
                </a:moveTo>
                <a:cubicBezTo>
                  <a:pt x="580" y="737"/>
                  <a:pt x="580" y="736"/>
                  <a:pt x="579" y="736"/>
                </a:cubicBezTo>
                <a:cubicBezTo>
                  <a:pt x="579" y="737"/>
                  <a:pt x="579" y="737"/>
                  <a:pt x="579" y="737"/>
                </a:cubicBezTo>
                <a:cubicBezTo>
                  <a:pt x="579" y="738"/>
                  <a:pt x="579" y="738"/>
                  <a:pt x="580" y="738"/>
                </a:cubicBezTo>
                <a:cubicBezTo>
                  <a:pt x="580" y="738"/>
                  <a:pt x="580" y="738"/>
                  <a:pt x="580" y="737"/>
                </a:cubicBezTo>
                <a:close/>
                <a:moveTo>
                  <a:pt x="564" y="740"/>
                </a:moveTo>
                <a:cubicBezTo>
                  <a:pt x="564" y="740"/>
                  <a:pt x="564" y="740"/>
                  <a:pt x="564" y="739"/>
                </a:cubicBezTo>
                <a:cubicBezTo>
                  <a:pt x="564" y="739"/>
                  <a:pt x="564" y="738"/>
                  <a:pt x="564" y="738"/>
                </a:cubicBezTo>
                <a:cubicBezTo>
                  <a:pt x="563" y="738"/>
                  <a:pt x="563" y="739"/>
                  <a:pt x="563" y="739"/>
                </a:cubicBezTo>
                <a:cubicBezTo>
                  <a:pt x="562" y="740"/>
                  <a:pt x="563" y="741"/>
                  <a:pt x="564" y="740"/>
                </a:cubicBezTo>
                <a:close/>
                <a:moveTo>
                  <a:pt x="587" y="749"/>
                </a:moveTo>
                <a:cubicBezTo>
                  <a:pt x="587" y="749"/>
                  <a:pt x="587" y="749"/>
                  <a:pt x="587" y="749"/>
                </a:cubicBezTo>
                <a:cubicBezTo>
                  <a:pt x="587" y="749"/>
                  <a:pt x="587" y="749"/>
                  <a:pt x="587" y="749"/>
                </a:cubicBezTo>
                <a:cubicBezTo>
                  <a:pt x="587" y="749"/>
                  <a:pt x="587" y="749"/>
                  <a:pt x="587" y="749"/>
                </a:cubicBezTo>
                <a:cubicBezTo>
                  <a:pt x="587" y="749"/>
                  <a:pt x="587" y="749"/>
                  <a:pt x="587" y="749"/>
                </a:cubicBezTo>
                <a:close/>
                <a:moveTo>
                  <a:pt x="589" y="751"/>
                </a:moveTo>
                <a:cubicBezTo>
                  <a:pt x="589" y="751"/>
                  <a:pt x="589" y="750"/>
                  <a:pt x="589" y="750"/>
                </a:cubicBezTo>
                <a:cubicBezTo>
                  <a:pt x="590" y="750"/>
                  <a:pt x="589" y="749"/>
                  <a:pt x="589" y="749"/>
                </a:cubicBezTo>
                <a:cubicBezTo>
                  <a:pt x="588" y="749"/>
                  <a:pt x="588" y="749"/>
                  <a:pt x="587" y="749"/>
                </a:cubicBezTo>
                <a:cubicBezTo>
                  <a:pt x="587" y="750"/>
                  <a:pt x="587" y="750"/>
                  <a:pt x="588" y="751"/>
                </a:cubicBezTo>
                <a:cubicBezTo>
                  <a:pt x="588" y="751"/>
                  <a:pt x="588" y="751"/>
                  <a:pt x="589" y="751"/>
                </a:cubicBezTo>
                <a:close/>
                <a:moveTo>
                  <a:pt x="815" y="261"/>
                </a:moveTo>
                <a:cubicBezTo>
                  <a:pt x="815" y="260"/>
                  <a:pt x="814" y="260"/>
                  <a:pt x="814" y="259"/>
                </a:cubicBezTo>
                <a:cubicBezTo>
                  <a:pt x="814" y="259"/>
                  <a:pt x="813" y="259"/>
                  <a:pt x="813" y="260"/>
                </a:cubicBezTo>
                <a:cubicBezTo>
                  <a:pt x="812" y="260"/>
                  <a:pt x="813" y="261"/>
                  <a:pt x="813" y="261"/>
                </a:cubicBezTo>
                <a:cubicBezTo>
                  <a:pt x="814" y="261"/>
                  <a:pt x="814" y="261"/>
                  <a:pt x="815" y="261"/>
                </a:cubicBezTo>
                <a:close/>
                <a:moveTo>
                  <a:pt x="524" y="756"/>
                </a:moveTo>
                <a:cubicBezTo>
                  <a:pt x="524" y="757"/>
                  <a:pt x="524" y="757"/>
                  <a:pt x="524" y="758"/>
                </a:cubicBezTo>
                <a:cubicBezTo>
                  <a:pt x="525" y="758"/>
                  <a:pt x="525" y="758"/>
                  <a:pt x="526" y="757"/>
                </a:cubicBezTo>
                <a:cubicBezTo>
                  <a:pt x="526" y="757"/>
                  <a:pt x="526" y="756"/>
                  <a:pt x="525" y="756"/>
                </a:cubicBezTo>
                <a:cubicBezTo>
                  <a:pt x="525" y="755"/>
                  <a:pt x="524" y="756"/>
                  <a:pt x="524" y="756"/>
                </a:cubicBezTo>
                <a:close/>
                <a:moveTo>
                  <a:pt x="688" y="822"/>
                </a:moveTo>
                <a:cubicBezTo>
                  <a:pt x="688" y="822"/>
                  <a:pt x="689" y="823"/>
                  <a:pt x="689" y="823"/>
                </a:cubicBezTo>
                <a:cubicBezTo>
                  <a:pt x="690" y="823"/>
                  <a:pt x="690" y="823"/>
                  <a:pt x="690" y="822"/>
                </a:cubicBezTo>
                <a:cubicBezTo>
                  <a:pt x="690" y="822"/>
                  <a:pt x="690" y="821"/>
                  <a:pt x="689" y="821"/>
                </a:cubicBezTo>
                <a:cubicBezTo>
                  <a:pt x="689" y="821"/>
                  <a:pt x="688" y="822"/>
                  <a:pt x="688" y="822"/>
                </a:cubicBezTo>
                <a:close/>
                <a:moveTo>
                  <a:pt x="669" y="264"/>
                </a:moveTo>
                <a:cubicBezTo>
                  <a:pt x="668" y="263"/>
                  <a:pt x="668" y="263"/>
                  <a:pt x="667" y="264"/>
                </a:cubicBezTo>
                <a:cubicBezTo>
                  <a:pt x="667" y="264"/>
                  <a:pt x="667" y="264"/>
                  <a:pt x="667" y="264"/>
                </a:cubicBezTo>
                <a:cubicBezTo>
                  <a:pt x="667" y="264"/>
                  <a:pt x="668" y="265"/>
                  <a:pt x="668" y="265"/>
                </a:cubicBezTo>
                <a:cubicBezTo>
                  <a:pt x="669" y="265"/>
                  <a:pt x="669" y="264"/>
                  <a:pt x="669" y="264"/>
                </a:cubicBezTo>
                <a:close/>
                <a:moveTo>
                  <a:pt x="1996" y="827"/>
                </a:moveTo>
                <a:cubicBezTo>
                  <a:pt x="1995" y="826"/>
                  <a:pt x="1995" y="826"/>
                  <a:pt x="1995" y="826"/>
                </a:cubicBezTo>
                <a:cubicBezTo>
                  <a:pt x="1995" y="826"/>
                  <a:pt x="1994" y="826"/>
                  <a:pt x="1994" y="827"/>
                </a:cubicBezTo>
                <a:cubicBezTo>
                  <a:pt x="1994" y="827"/>
                  <a:pt x="1995" y="827"/>
                  <a:pt x="1995" y="827"/>
                </a:cubicBezTo>
                <a:cubicBezTo>
                  <a:pt x="1995" y="827"/>
                  <a:pt x="1996" y="827"/>
                  <a:pt x="1996" y="827"/>
                </a:cubicBezTo>
                <a:close/>
                <a:moveTo>
                  <a:pt x="1781" y="831"/>
                </a:moveTo>
                <a:cubicBezTo>
                  <a:pt x="1781" y="832"/>
                  <a:pt x="1781" y="833"/>
                  <a:pt x="1781" y="833"/>
                </a:cubicBezTo>
                <a:cubicBezTo>
                  <a:pt x="1782" y="833"/>
                  <a:pt x="1782" y="833"/>
                  <a:pt x="1782" y="833"/>
                </a:cubicBezTo>
                <a:cubicBezTo>
                  <a:pt x="1782" y="832"/>
                  <a:pt x="1782" y="832"/>
                  <a:pt x="1782" y="831"/>
                </a:cubicBezTo>
                <a:cubicBezTo>
                  <a:pt x="1782" y="831"/>
                  <a:pt x="1781" y="831"/>
                  <a:pt x="1781" y="831"/>
                </a:cubicBezTo>
                <a:close/>
                <a:moveTo>
                  <a:pt x="1997" y="871"/>
                </a:moveTo>
                <a:cubicBezTo>
                  <a:pt x="1997" y="870"/>
                  <a:pt x="1997" y="870"/>
                  <a:pt x="1996" y="870"/>
                </a:cubicBezTo>
                <a:cubicBezTo>
                  <a:pt x="1996" y="871"/>
                  <a:pt x="1995" y="871"/>
                  <a:pt x="1996" y="872"/>
                </a:cubicBezTo>
                <a:cubicBezTo>
                  <a:pt x="1996" y="872"/>
                  <a:pt x="1996" y="872"/>
                  <a:pt x="1997" y="872"/>
                </a:cubicBezTo>
                <a:cubicBezTo>
                  <a:pt x="1997" y="872"/>
                  <a:pt x="1998" y="871"/>
                  <a:pt x="1997" y="871"/>
                </a:cubicBezTo>
                <a:close/>
                <a:moveTo>
                  <a:pt x="2056" y="934"/>
                </a:moveTo>
                <a:cubicBezTo>
                  <a:pt x="2055" y="935"/>
                  <a:pt x="2055" y="935"/>
                  <a:pt x="2055" y="935"/>
                </a:cubicBezTo>
                <a:cubicBezTo>
                  <a:pt x="2054" y="936"/>
                  <a:pt x="2055" y="936"/>
                  <a:pt x="2055" y="936"/>
                </a:cubicBezTo>
                <a:cubicBezTo>
                  <a:pt x="2056" y="936"/>
                  <a:pt x="2057" y="936"/>
                  <a:pt x="2057" y="935"/>
                </a:cubicBezTo>
                <a:cubicBezTo>
                  <a:pt x="2057" y="935"/>
                  <a:pt x="2056" y="935"/>
                  <a:pt x="2056" y="934"/>
                </a:cubicBezTo>
                <a:close/>
                <a:moveTo>
                  <a:pt x="1022" y="168"/>
                </a:moveTo>
                <a:cubicBezTo>
                  <a:pt x="1022" y="168"/>
                  <a:pt x="1022" y="168"/>
                  <a:pt x="1023" y="167"/>
                </a:cubicBezTo>
                <a:cubicBezTo>
                  <a:pt x="1023" y="167"/>
                  <a:pt x="1023" y="167"/>
                  <a:pt x="1022" y="167"/>
                </a:cubicBezTo>
                <a:cubicBezTo>
                  <a:pt x="1022" y="167"/>
                  <a:pt x="1022" y="167"/>
                  <a:pt x="1021" y="168"/>
                </a:cubicBezTo>
                <a:cubicBezTo>
                  <a:pt x="1021" y="168"/>
                  <a:pt x="1022" y="168"/>
                  <a:pt x="1022" y="168"/>
                </a:cubicBezTo>
                <a:close/>
                <a:moveTo>
                  <a:pt x="2016" y="983"/>
                </a:moveTo>
                <a:cubicBezTo>
                  <a:pt x="2016" y="983"/>
                  <a:pt x="2016" y="983"/>
                  <a:pt x="2016" y="983"/>
                </a:cubicBezTo>
                <a:cubicBezTo>
                  <a:pt x="2015" y="982"/>
                  <a:pt x="2014" y="983"/>
                  <a:pt x="2014" y="983"/>
                </a:cubicBezTo>
                <a:cubicBezTo>
                  <a:pt x="2014" y="984"/>
                  <a:pt x="2015" y="984"/>
                  <a:pt x="2015" y="984"/>
                </a:cubicBezTo>
                <a:cubicBezTo>
                  <a:pt x="2016" y="984"/>
                  <a:pt x="2017" y="984"/>
                  <a:pt x="2016" y="983"/>
                </a:cubicBezTo>
                <a:close/>
                <a:moveTo>
                  <a:pt x="2207" y="996"/>
                </a:moveTo>
                <a:cubicBezTo>
                  <a:pt x="2207" y="995"/>
                  <a:pt x="2207" y="995"/>
                  <a:pt x="2207" y="995"/>
                </a:cubicBezTo>
                <a:cubicBezTo>
                  <a:pt x="2206" y="995"/>
                  <a:pt x="2205" y="995"/>
                  <a:pt x="2205" y="995"/>
                </a:cubicBezTo>
                <a:cubicBezTo>
                  <a:pt x="2205" y="995"/>
                  <a:pt x="2205" y="996"/>
                  <a:pt x="2206" y="996"/>
                </a:cubicBezTo>
                <a:cubicBezTo>
                  <a:pt x="2206" y="997"/>
                  <a:pt x="2207" y="996"/>
                  <a:pt x="2207" y="996"/>
                </a:cubicBezTo>
                <a:close/>
                <a:moveTo>
                  <a:pt x="2205" y="995"/>
                </a:moveTo>
                <a:cubicBezTo>
                  <a:pt x="2205" y="994"/>
                  <a:pt x="2205" y="994"/>
                  <a:pt x="2204" y="994"/>
                </a:cubicBezTo>
                <a:cubicBezTo>
                  <a:pt x="2204" y="994"/>
                  <a:pt x="2204" y="994"/>
                  <a:pt x="2204" y="994"/>
                </a:cubicBezTo>
                <a:cubicBezTo>
                  <a:pt x="2204" y="994"/>
                  <a:pt x="2204" y="994"/>
                  <a:pt x="2204" y="994"/>
                </a:cubicBezTo>
                <a:cubicBezTo>
                  <a:pt x="2204" y="995"/>
                  <a:pt x="2205" y="995"/>
                  <a:pt x="2205" y="995"/>
                </a:cubicBezTo>
                <a:close/>
                <a:moveTo>
                  <a:pt x="2115" y="1050"/>
                </a:moveTo>
                <a:cubicBezTo>
                  <a:pt x="2115" y="1050"/>
                  <a:pt x="2115" y="1050"/>
                  <a:pt x="2115" y="1050"/>
                </a:cubicBezTo>
                <a:cubicBezTo>
                  <a:pt x="2115" y="1050"/>
                  <a:pt x="2115" y="1050"/>
                  <a:pt x="2115" y="1050"/>
                </a:cubicBezTo>
                <a:cubicBezTo>
                  <a:pt x="2115" y="1050"/>
                  <a:pt x="2115" y="1050"/>
                  <a:pt x="2115" y="1050"/>
                </a:cubicBezTo>
                <a:cubicBezTo>
                  <a:pt x="2115" y="1050"/>
                  <a:pt x="2115" y="1050"/>
                  <a:pt x="2115" y="1050"/>
                </a:cubicBezTo>
                <a:close/>
                <a:moveTo>
                  <a:pt x="2117" y="1048"/>
                </a:moveTo>
                <a:cubicBezTo>
                  <a:pt x="2117" y="1048"/>
                  <a:pt x="2117" y="1048"/>
                  <a:pt x="2117" y="1048"/>
                </a:cubicBezTo>
                <a:cubicBezTo>
                  <a:pt x="2116" y="1049"/>
                  <a:pt x="2116" y="1050"/>
                  <a:pt x="2115" y="1050"/>
                </a:cubicBezTo>
                <a:cubicBezTo>
                  <a:pt x="2116" y="1050"/>
                  <a:pt x="2117" y="1050"/>
                  <a:pt x="2117" y="1050"/>
                </a:cubicBezTo>
                <a:cubicBezTo>
                  <a:pt x="2118" y="1049"/>
                  <a:pt x="2118" y="1049"/>
                  <a:pt x="2117" y="1048"/>
                </a:cubicBezTo>
                <a:close/>
                <a:moveTo>
                  <a:pt x="1920" y="1126"/>
                </a:moveTo>
                <a:cubicBezTo>
                  <a:pt x="1918" y="1126"/>
                  <a:pt x="1918" y="1127"/>
                  <a:pt x="1919" y="1129"/>
                </a:cubicBezTo>
                <a:cubicBezTo>
                  <a:pt x="1920" y="1129"/>
                  <a:pt x="1920" y="1129"/>
                  <a:pt x="1921" y="1129"/>
                </a:cubicBezTo>
                <a:cubicBezTo>
                  <a:pt x="1921" y="1128"/>
                  <a:pt x="1921" y="1127"/>
                  <a:pt x="1921" y="1126"/>
                </a:cubicBezTo>
                <a:cubicBezTo>
                  <a:pt x="1920" y="1126"/>
                  <a:pt x="1920" y="1126"/>
                  <a:pt x="1920" y="1126"/>
                </a:cubicBezTo>
                <a:close/>
                <a:moveTo>
                  <a:pt x="1035" y="75"/>
                </a:moveTo>
                <a:cubicBezTo>
                  <a:pt x="1035" y="75"/>
                  <a:pt x="1035" y="74"/>
                  <a:pt x="1035" y="74"/>
                </a:cubicBezTo>
                <a:cubicBezTo>
                  <a:pt x="1035" y="74"/>
                  <a:pt x="1034" y="75"/>
                  <a:pt x="1034" y="75"/>
                </a:cubicBezTo>
                <a:cubicBezTo>
                  <a:pt x="1034" y="76"/>
                  <a:pt x="1035" y="76"/>
                  <a:pt x="1035" y="77"/>
                </a:cubicBezTo>
                <a:cubicBezTo>
                  <a:pt x="1035" y="76"/>
                  <a:pt x="1035" y="76"/>
                  <a:pt x="1035" y="75"/>
                </a:cubicBezTo>
                <a:close/>
                <a:moveTo>
                  <a:pt x="1364" y="73"/>
                </a:moveTo>
                <a:cubicBezTo>
                  <a:pt x="1364" y="73"/>
                  <a:pt x="1363" y="73"/>
                  <a:pt x="1363" y="73"/>
                </a:cubicBezTo>
                <a:cubicBezTo>
                  <a:pt x="1362" y="73"/>
                  <a:pt x="1362" y="73"/>
                  <a:pt x="1362" y="74"/>
                </a:cubicBezTo>
                <a:cubicBezTo>
                  <a:pt x="1363" y="75"/>
                  <a:pt x="1363" y="75"/>
                  <a:pt x="1363" y="76"/>
                </a:cubicBezTo>
                <a:cubicBezTo>
                  <a:pt x="1364" y="76"/>
                  <a:pt x="1365" y="76"/>
                  <a:pt x="1365" y="76"/>
                </a:cubicBezTo>
                <a:cubicBezTo>
                  <a:pt x="1365" y="75"/>
                  <a:pt x="1365" y="74"/>
                  <a:pt x="1364" y="73"/>
                </a:cubicBezTo>
                <a:close/>
                <a:moveTo>
                  <a:pt x="590" y="185"/>
                </a:moveTo>
                <a:cubicBezTo>
                  <a:pt x="590" y="185"/>
                  <a:pt x="589" y="185"/>
                  <a:pt x="589" y="186"/>
                </a:cubicBezTo>
                <a:cubicBezTo>
                  <a:pt x="589" y="186"/>
                  <a:pt x="589" y="187"/>
                  <a:pt x="590" y="187"/>
                </a:cubicBezTo>
                <a:cubicBezTo>
                  <a:pt x="590" y="188"/>
                  <a:pt x="591" y="187"/>
                  <a:pt x="591" y="186"/>
                </a:cubicBezTo>
                <a:cubicBezTo>
                  <a:pt x="591" y="186"/>
                  <a:pt x="591" y="185"/>
                  <a:pt x="590" y="185"/>
                </a:cubicBezTo>
                <a:close/>
                <a:moveTo>
                  <a:pt x="1510" y="206"/>
                </a:moveTo>
                <a:cubicBezTo>
                  <a:pt x="1510" y="206"/>
                  <a:pt x="1510" y="205"/>
                  <a:pt x="1510" y="205"/>
                </a:cubicBezTo>
                <a:cubicBezTo>
                  <a:pt x="1510" y="205"/>
                  <a:pt x="1510" y="204"/>
                  <a:pt x="1510" y="204"/>
                </a:cubicBezTo>
                <a:cubicBezTo>
                  <a:pt x="1509" y="205"/>
                  <a:pt x="1509" y="205"/>
                  <a:pt x="1509" y="205"/>
                </a:cubicBezTo>
                <a:cubicBezTo>
                  <a:pt x="1508" y="206"/>
                  <a:pt x="1508" y="206"/>
                  <a:pt x="1509" y="207"/>
                </a:cubicBezTo>
                <a:cubicBezTo>
                  <a:pt x="1509" y="207"/>
                  <a:pt x="1510" y="206"/>
                  <a:pt x="1510" y="206"/>
                </a:cubicBezTo>
                <a:close/>
                <a:moveTo>
                  <a:pt x="194" y="315"/>
                </a:moveTo>
                <a:cubicBezTo>
                  <a:pt x="194" y="315"/>
                  <a:pt x="193" y="315"/>
                  <a:pt x="193" y="316"/>
                </a:cubicBezTo>
                <a:cubicBezTo>
                  <a:pt x="193" y="317"/>
                  <a:pt x="194" y="317"/>
                  <a:pt x="195" y="317"/>
                </a:cubicBezTo>
                <a:cubicBezTo>
                  <a:pt x="195" y="317"/>
                  <a:pt x="195" y="317"/>
                  <a:pt x="195" y="317"/>
                </a:cubicBezTo>
                <a:cubicBezTo>
                  <a:pt x="195" y="316"/>
                  <a:pt x="194" y="315"/>
                  <a:pt x="194" y="315"/>
                </a:cubicBezTo>
                <a:close/>
                <a:moveTo>
                  <a:pt x="1188" y="320"/>
                </a:moveTo>
                <a:cubicBezTo>
                  <a:pt x="1188" y="320"/>
                  <a:pt x="1188" y="320"/>
                  <a:pt x="1188" y="320"/>
                </a:cubicBezTo>
                <a:cubicBezTo>
                  <a:pt x="1189" y="319"/>
                  <a:pt x="1189" y="319"/>
                  <a:pt x="1190" y="318"/>
                </a:cubicBezTo>
                <a:cubicBezTo>
                  <a:pt x="1189" y="318"/>
                  <a:pt x="1188" y="318"/>
                  <a:pt x="1188" y="319"/>
                </a:cubicBezTo>
                <a:cubicBezTo>
                  <a:pt x="1187" y="319"/>
                  <a:pt x="1187" y="320"/>
                  <a:pt x="1188" y="320"/>
                </a:cubicBezTo>
                <a:close/>
                <a:moveTo>
                  <a:pt x="1190" y="318"/>
                </a:moveTo>
                <a:cubicBezTo>
                  <a:pt x="1190" y="318"/>
                  <a:pt x="1190" y="318"/>
                  <a:pt x="1190" y="318"/>
                </a:cubicBezTo>
                <a:cubicBezTo>
                  <a:pt x="1190" y="318"/>
                  <a:pt x="1190" y="318"/>
                  <a:pt x="1190" y="318"/>
                </a:cubicBezTo>
                <a:cubicBezTo>
                  <a:pt x="1190" y="318"/>
                  <a:pt x="1190" y="318"/>
                  <a:pt x="1190" y="318"/>
                </a:cubicBezTo>
                <a:cubicBezTo>
                  <a:pt x="1190" y="318"/>
                  <a:pt x="1190" y="318"/>
                  <a:pt x="1190" y="318"/>
                </a:cubicBezTo>
                <a:close/>
                <a:moveTo>
                  <a:pt x="1319" y="354"/>
                </a:moveTo>
                <a:cubicBezTo>
                  <a:pt x="1319" y="354"/>
                  <a:pt x="1319" y="355"/>
                  <a:pt x="1320" y="355"/>
                </a:cubicBezTo>
                <a:cubicBezTo>
                  <a:pt x="1320" y="355"/>
                  <a:pt x="1320" y="355"/>
                  <a:pt x="1320" y="355"/>
                </a:cubicBezTo>
                <a:cubicBezTo>
                  <a:pt x="1321" y="354"/>
                  <a:pt x="1320" y="354"/>
                  <a:pt x="1319" y="354"/>
                </a:cubicBezTo>
                <a:cubicBezTo>
                  <a:pt x="1319" y="354"/>
                  <a:pt x="1319" y="354"/>
                  <a:pt x="1319" y="354"/>
                </a:cubicBezTo>
                <a:close/>
                <a:moveTo>
                  <a:pt x="682" y="363"/>
                </a:moveTo>
                <a:cubicBezTo>
                  <a:pt x="682" y="364"/>
                  <a:pt x="681" y="364"/>
                  <a:pt x="681" y="364"/>
                </a:cubicBezTo>
                <a:cubicBezTo>
                  <a:pt x="681" y="365"/>
                  <a:pt x="682" y="365"/>
                  <a:pt x="682" y="366"/>
                </a:cubicBezTo>
                <a:cubicBezTo>
                  <a:pt x="682" y="366"/>
                  <a:pt x="683" y="366"/>
                  <a:pt x="683" y="365"/>
                </a:cubicBezTo>
                <a:cubicBezTo>
                  <a:pt x="683" y="365"/>
                  <a:pt x="683" y="364"/>
                  <a:pt x="683" y="364"/>
                </a:cubicBezTo>
                <a:cubicBezTo>
                  <a:pt x="683" y="363"/>
                  <a:pt x="682" y="363"/>
                  <a:pt x="682" y="363"/>
                </a:cubicBezTo>
                <a:close/>
                <a:moveTo>
                  <a:pt x="1588" y="123"/>
                </a:moveTo>
                <a:cubicBezTo>
                  <a:pt x="1588" y="123"/>
                  <a:pt x="1587" y="123"/>
                  <a:pt x="1587" y="124"/>
                </a:cubicBezTo>
                <a:cubicBezTo>
                  <a:pt x="1587" y="124"/>
                  <a:pt x="1588" y="125"/>
                  <a:pt x="1588" y="125"/>
                </a:cubicBezTo>
                <a:cubicBezTo>
                  <a:pt x="1589" y="125"/>
                  <a:pt x="1589" y="124"/>
                  <a:pt x="1589" y="124"/>
                </a:cubicBezTo>
                <a:cubicBezTo>
                  <a:pt x="1589" y="123"/>
                  <a:pt x="1589" y="123"/>
                  <a:pt x="1588" y="123"/>
                </a:cubicBezTo>
                <a:close/>
                <a:moveTo>
                  <a:pt x="2145" y="436"/>
                </a:moveTo>
                <a:cubicBezTo>
                  <a:pt x="2145" y="435"/>
                  <a:pt x="2145" y="435"/>
                  <a:pt x="2145" y="435"/>
                </a:cubicBezTo>
                <a:cubicBezTo>
                  <a:pt x="2145" y="435"/>
                  <a:pt x="2144" y="435"/>
                  <a:pt x="2144" y="435"/>
                </a:cubicBezTo>
                <a:cubicBezTo>
                  <a:pt x="2144" y="435"/>
                  <a:pt x="2144" y="436"/>
                  <a:pt x="2144" y="436"/>
                </a:cubicBezTo>
                <a:cubicBezTo>
                  <a:pt x="2145" y="436"/>
                  <a:pt x="2145" y="436"/>
                  <a:pt x="2145" y="436"/>
                </a:cubicBezTo>
                <a:close/>
                <a:moveTo>
                  <a:pt x="2076" y="597"/>
                </a:moveTo>
                <a:cubicBezTo>
                  <a:pt x="2076" y="596"/>
                  <a:pt x="2076" y="596"/>
                  <a:pt x="2077" y="596"/>
                </a:cubicBezTo>
                <a:cubicBezTo>
                  <a:pt x="2076" y="595"/>
                  <a:pt x="2076" y="595"/>
                  <a:pt x="2076" y="594"/>
                </a:cubicBezTo>
                <a:cubicBezTo>
                  <a:pt x="2076" y="595"/>
                  <a:pt x="2075" y="595"/>
                  <a:pt x="2075" y="596"/>
                </a:cubicBezTo>
                <a:cubicBezTo>
                  <a:pt x="2075" y="596"/>
                  <a:pt x="2075" y="596"/>
                  <a:pt x="2076" y="597"/>
                </a:cubicBezTo>
                <a:close/>
                <a:moveTo>
                  <a:pt x="1132" y="616"/>
                </a:moveTo>
                <a:cubicBezTo>
                  <a:pt x="1132" y="616"/>
                  <a:pt x="1131" y="616"/>
                  <a:pt x="1131" y="615"/>
                </a:cubicBezTo>
                <a:cubicBezTo>
                  <a:pt x="1130" y="615"/>
                  <a:pt x="1129" y="616"/>
                  <a:pt x="1129" y="617"/>
                </a:cubicBezTo>
                <a:cubicBezTo>
                  <a:pt x="1130" y="617"/>
                  <a:pt x="1130" y="617"/>
                  <a:pt x="1131" y="617"/>
                </a:cubicBezTo>
                <a:cubicBezTo>
                  <a:pt x="1131" y="617"/>
                  <a:pt x="1132" y="617"/>
                  <a:pt x="1132" y="616"/>
                </a:cubicBezTo>
                <a:close/>
                <a:moveTo>
                  <a:pt x="1303" y="647"/>
                </a:moveTo>
                <a:cubicBezTo>
                  <a:pt x="1304" y="646"/>
                  <a:pt x="1304" y="646"/>
                  <a:pt x="1304" y="646"/>
                </a:cubicBezTo>
                <a:cubicBezTo>
                  <a:pt x="1305" y="646"/>
                  <a:pt x="1305" y="645"/>
                  <a:pt x="1305" y="645"/>
                </a:cubicBezTo>
                <a:cubicBezTo>
                  <a:pt x="1305" y="645"/>
                  <a:pt x="1304" y="644"/>
                  <a:pt x="1304" y="644"/>
                </a:cubicBezTo>
                <a:cubicBezTo>
                  <a:pt x="1303" y="644"/>
                  <a:pt x="1303" y="645"/>
                  <a:pt x="1303" y="646"/>
                </a:cubicBezTo>
                <a:cubicBezTo>
                  <a:pt x="1303" y="646"/>
                  <a:pt x="1303" y="646"/>
                  <a:pt x="1303" y="647"/>
                </a:cubicBezTo>
                <a:close/>
                <a:moveTo>
                  <a:pt x="482" y="695"/>
                </a:moveTo>
                <a:cubicBezTo>
                  <a:pt x="482" y="695"/>
                  <a:pt x="482" y="695"/>
                  <a:pt x="482" y="695"/>
                </a:cubicBezTo>
                <a:cubicBezTo>
                  <a:pt x="482" y="695"/>
                  <a:pt x="482" y="695"/>
                  <a:pt x="482" y="695"/>
                </a:cubicBezTo>
                <a:cubicBezTo>
                  <a:pt x="482" y="695"/>
                  <a:pt x="482" y="695"/>
                  <a:pt x="482" y="695"/>
                </a:cubicBezTo>
                <a:cubicBezTo>
                  <a:pt x="482" y="695"/>
                  <a:pt x="482" y="695"/>
                  <a:pt x="482" y="695"/>
                </a:cubicBezTo>
                <a:close/>
                <a:moveTo>
                  <a:pt x="483" y="697"/>
                </a:moveTo>
                <a:cubicBezTo>
                  <a:pt x="484" y="697"/>
                  <a:pt x="485" y="697"/>
                  <a:pt x="485" y="696"/>
                </a:cubicBezTo>
                <a:cubicBezTo>
                  <a:pt x="485" y="696"/>
                  <a:pt x="485" y="695"/>
                  <a:pt x="484" y="695"/>
                </a:cubicBezTo>
                <a:cubicBezTo>
                  <a:pt x="484" y="695"/>
                  <a:pt x="483" y="695"/>
                  <a:pt x="482" y="695"/>
                </a:cubicBezTo>
                <a:cubicBezTo>
                  <a:pt x="482" y="696"/>
                  <a:pt x="483" y="696"/>
                  <a:pt x="483" y="697"/>
                </a:cubicBezTo>
                <a:close/>
                <a:moveTo>
                  <a:pt x="611" y="160"/>
                </a:moveTo>
                <a:cubicBezTo>
                  <a:pt x="611" y="160"/>
                  <a:pt x="611" y="160"/>
                  <a:pt x="611" y="160"/>
                </a:cubicBezTo>
                <a:cubicBezTo>
                  <a:pt x="611" y="160"/>
                  <a:pt x="611" y="160"/>
                  <a:pt x="611" y="160"/>
                </a:cubicBezTo>
                <a:cubicBezTo>
                  <a:pt x="610" y="160"/>
                  <a:pt x="611" y="160"/>
                  <a:pt x="611" y="160"/>
                </a:cubicBezTo>
                <a:close/>
                <a:moveTo>
                  <a:pt x="535" y="161"/>
                </a:moveTo>
                <a:cubicBezTo>
                  <a:pt x="535" y="161"/>
                  <a:pt x="535" y="161"/>
                  <a:pt x="535" y="161"/>
                </a:cubicBezTo>
                <a:cubicBezTo>
                  <a:pt x="535" y="161"/>
                  <a:pt x="535" y="161"/>
                  <a:pt x="535" y="161"/>
                </a:cubicBezTo>
                <a:cubicBezTo>
                  <a:pt x="534" y="161"/>
                  <a:pt x="534" y="161"/>
                  <a:pt x="535" y="161"/>
                </a:cubicBezTo>
                <a:close/>
                <a:moveTo>
                  <a:pt x="1998" y="402"/>
                </a:moveTo>
                <a:cubicBezTo>
                  <a:pt x="1998" y="403"/>
                  <a:pt x="1999" y="403"/>
                  <a:pt x="1999" y="403"/>
                </a:cubicBezTo>
                <a:cubicBezTo>
                  <a:pt x="1999" y="403"/>
                  <a:pt x="1999" y="402"/>
                  <a:pt x="1999" y="402"/>
                </a:cubicBezTo>
                <a:cubicBezTo>
                  <a:pt x="1999" y="402"/>
                  <a:pt x="1999" y="401"/>
                  <a:pt x="1999" y="401"/>
                </a:cubicBezTo>
                <a:cubicBezTo>
                  <a:pt x="1999" y="402"/>
                  <a:pt x="1998" y="402"/>
                  <a:pt x="1998" y="402"/>
                </a:cubicBezTo>
                <a:close/>
                <a:moveTo>
                  <a:pt x="1552" y="173"/>
                </a:moveTo>
                <a:cubicBezTo>
                  <a:pt x="1552" y="172"/>
                  <a:pt x="1552" y="172"/>
                  <a:pt x="1552" y="172"/>
                </a:cubicBezTo>
                <a:cubicBezTo>
                  <a:pt x="1552" y="172"/>
                  <a:pt x="1552" y="172"/>
                  <a:pt x="1552" y="173"/>
                </a:cubicBezTo>
                <a:cubicBezTo>
                  <a:pt x="1552" y="173"/>
                  <a:pt x="1552" y="173"/>
                  <a:pt x="1552" y="173"/>
                </a:cubicBezTo>
                <a:close/>
                <a:moveTo>
                  <a:pt x="1551" y="179"/>
                </a:moveTo>
                <a:cubicBezTo>
                  <a:pt x="1551" y="178"/>
                  <a:pt x="1551" y="178"/>
                  <a:pt x="1551" y="178"/>
                </a:cubicBezTo>
                <a:cubicBezTo>
                  <a:pt x="1551" y="179"/>
                  <a:pt x="1551" y="179"/>
                  <a:pt x="1551" y="179"/>
                </a:cubicBezTo>
                <a:close/>
                <a:moveTo>
                  <a:pt x="321" y="181"/>
                </a:moveTo>
                <a:cubicBezTo>
                  <a:pt x="321" y="181"/>
                  <a:pt x="321" y="181"/>
                  <a:pt x="321" y="181"/>
                </a:cubicBezTo>
                <a:cubicBezTo>
                  <a:pt x="321" y="181"/>
                  <a:pt x="321" y="181"/>
                  <a:pt x="321" y="181"/>
                </a:cubicBezTo>
                <a:cubicBezTo>
                  <a:pt x="321" y="181"/>
                  <a:pt x="321" y="181"/>
                  <a:pt x="321" y="181"/>
                </a:cubicBezTo>
                <a:cubicBezTo>
                  <a:pt x="321" y="181"/>
                  <a:pt x="321" y="181"/>
                  <a:pt x="321" y="181"/>
                </a:cubicBezTo>
                <a:close/>
                <a:moveTo>
                  <a:pt x="323" y="181"/>
                </a:moveTo>
                <a:cubicBezTo>
                  <a:pt x="323" y="181"/>
                  <a:pt x="323" y="180"/>
                  <a:pt x="323" y="180"/>
                </a:cubicBezTo>
                <a:cubicBezTo>
                  <a:pt x="323" y="180"/>
                  <a:pt x="322" y="180"/>
                  <a:pt x="322" y="180"/>
                </a:cubicBezTo>
                <a:cubicBezTo>
                  <a:pt x="321" y="180"/>
                  <a:pt x="321" y="181"/>
                  <a:pt x="321" y="181"/>
                </a:cubicBezTo>
                <a:cubicBezTo>
                  <a:pt x="321" y="181"/>
                  <a:pt x="322" y="181"/>
                  <a:pt x="322" y="181"/>
                </a:cubicBezTo>
                <a:cubicBezTo>
                  <a:pt x="323" y="181"/>
                  <a:pt x="323" y="181"/>
                  <a:pt x="323" y="181"/>
                </a:cubicBezTo>
                <a:close/>
                <a:moveTo>
                  <a:pt x="1521" y="181"/>
                </a:moveTo>
                <a:cubicBezTo>
                  <a:pt x="1521" y="181"/>
                  <a:pt x="1521" y="182"/>
                  <a:pt x="1522" y="182"/>
                </a:cubicBezTo>
                <a:cubicBezTo>
                  <a:pt x="1522" y="182"/>
                  <a:pt x="1522" y="182"/>
                  <a:pt x="1523" y="182"/>
                </a:cubicBezTo>
                <a:cubicBezTo>
                  <a:pt x="1523" y="181"/>
                  <a:pt x="1523" y="181"/>
                  <a:pt x="1522" y="180"/>
                </a:cubicBezTo>
                <a:cubicBezTo>
                  <a:pt x="1522" y="180"/>
                  <a:pt x="1521" y="181"/>
                  <a:pt x="1521" y="181"/>
                </a:cubicBezTo>
                <a:close/>
                <a:moveTo>
                  <a:pt x="1138" y="613"/>
                </a:moveTo>
                <a:cubicBezTo>
                  <a:pt x="1138" y="613"/>
                  <a:pt x="1138" y="613"/>
                  <a:pt x="1138" y="613"/>
                </a:cubicBezTo>
                <a:cubicBezTo>
                  <a:pt x="1137" y="613"/>
                  <a:pt x="1137" y="613"/>
                  <a:pt x="1137" y="613"/>
                </a:cubicBezTo>
                <a:cubicBezTo>
                  <a:pt x="1136" y="613"/>
                  <a:pt x="1136" y="613"/>
                  <a:pt x="1137" y="614"/>
                </a:cubicBezTo>
                <a:cubicBezTo>
                  <a:pt x="1137" y="614"/>
                  <a:pt x="1138" y="614"/>
                  <a:pt x="1138" y="613"/>
                </a:cubicBezTo>
                <a:close/>
                <a:moveTo>
                  <a:pt x="658" y="283"/>
                </a:moveTo>
                <a:cubicBezTo>
                  <a:pt x="658" y="282"/>
                  <a:pt x="658" y="282"/>
                  <a:pt x="658" y="282"/>
                </a:cubicBezTo>
                <a:cubicBezTo>
                  <a:pt x="658" y="283"/>
                  <a:pt x="658" y="283"/>
                  <a:pt x="658" y="283"/>
                </a:cubicBezTo>
                <a:close/>
                <a:moveTo>
                  <a:pt x="1363" y="64"/>
                </a:moveTo>
                <a:cubicBezTo>
                  <a:pt x="1363" y="63"/>
                  <a:pt x="1363" y="63"/>
                  <a:pt x="1363" y="63"/>
                </a:cubicBezTo>
                <a:cubicBezTo>
                  <a:pt x="1362" y="63"/>
                  <a:pt x="1362" y="63"/>
                  <a:pt x="1362" y="63"/>
                </a:cubicBezTo>
                <a:cubicBezTo>
                  <a:pt x="1362" y="64"/>
                  <a:pt x="1362" y="64"/>
                  <a:pt x="1362" y="65"/>
                </a:cubicBezTo>
                <a:cubicBezTo>
                  <a:pt x="1363" y="65"/>
                  <a:pt x="1363" y="64"/>
                  <a:pt x="1363" y="64"/>
                </a:cubicBezTo>
                <a:close/>
                <a:moveTo>
                  <a:pt x="2020" y="652"/>
                </a:moveTo>
                <a:cubicBezTo>
                  <a:pt x="2020" y="652"/>
                  <a:pt x="2020" y="652"/>
                  <a:pt x="2020" y="652"/>
                </a:cubicBezTo>
                <a:cubicBezTo>
                  <a:pt x="2020" y="652"/>
                  <a:pt x="2019" y="652"/>
                  <a:pt x="2019" y="652"/>
                </a:cubicBezTo>
                <a:cubicBezTo>
                  <a:pt x="2019" y="652"/>
                  <a:pt x="2019" y="652"/>
                  <a:pt x="2019" y="653"/>
                </a:cubicBezTo>
                <a:cubicBezTo>
                  <a:pt x="2020" y="653"/>
                  <a:pt x="2020" y="653"/>
                  <a:pt x="2020" y="652"/>
                </a:cubicBezTo>
                <a:close/>
                <a:moveTo>
                  <a:pt x="1545" y="187"/>
                </a:moveTo>
                <a:cubicBezTo>
                  <a:pt x="1545" y="187"/>
                  <a:pt x="1546" y="188"/>
                  <a:pt x="1546" y="188"/>
                </a:cubicBezTo>
                <a:cubicBezTo>
                  <a:pt x="1546" y="188"/>
                  <a:pt x="1546" y="187"/>
                  <a:pt x="1546" y="187"/>
                </a:cubicBezTo>
                <a:cubicBezTo>
                  <a:pt x="1546" y="187"/>
                  <a:pt x="1545" y="187"/>
                  <a:pt x="1545" y="187"/>
                </a:cubicBezTo>
                <a:close/>
                <a:moveTo>
                  <a:pt x="1004" y="189"/>
                </a:moveTo>
                <a:cubicBezTo>
                  <a:pt x="1004" y="190"/>
                  <a:pt x="1004" y="190"/>
                  <a:pt x="1004" y="191"/>
                </a:cubicBezTo>
                <a:cubicBezTo>
                  <a:pt x="1006" y="190"/>
                  <a:pt x="1006" y="190"/>
                  <a:pt x="1004" y="189"/>
                </a:cubicBezTo>
                <a:close/>
                <a:moveTo>
                  <a:pt x="616" y="79"/>
                </a:moveTo>
                <a:cubicBezTo>
                  <a:pt x="617" y="79"/>
                  <a:pt x="617" y="79"/>
                  <a:pt x="617" y="78"/>
                </a:cubicBezTo>
                <a:cubicBezTo>
                  <a:pt x="617" y="78"/>
                  <a:pt x="616" y="79"/>
                  <a:pt x="616" y="79"/>
                </a:cubicBezTo>
                <a:cubicBezTo>
                  <a:pt x="616" y="79"/>
                  <a:pt x="616" y="79"/>
                  <a:pt x="616" y="79"/>
                </a:cubicBezTo>
                <a:close/>
                <a:moveTo>
                  <a:pt x="1517" y="210"/>
                </a:moveTo>
                <a:cubicBezTo>
                  <a:pt x="1517" y="210"/>
                  <a:pt x="1516" y="210"/>
                  <a:pt x="1516" y="210"/>
                </a:cubicBezTo>
                <a:cubicBezTo>
                  <a:pt x="1516" y="210"/>
                  <a:pt x="1516" y="210"/>
                  <a:pt x="1516" y="210"/>
                </a:cubicBezTo>
                <a:cubicBezTo>
                  <a:pt x="1516" y="210"/>
                  <a:pt x="1516" y="210"/>
                  <a:pt x="1516" y="211"/>
                </a:cubicBezTo>
                <a:cubicBezTo>
                  <a:pt x="1517" y="211"/>
                  <a:pt x="1517" y="210"/>
                  <a:pt x="1517" y="210"/>
                </a:cubicBezTo>
                <a:close/>
                <a:moveTo>
                  <a:pt x="1030" y="81"/>
                </a:moveTo>
                <a:cubicBezTo>
                  <a:pt x="1030" y="81"/>
                  <a:pt x="1030" y="81"/>
                  <a:pt x="1030" y="81"/>
                </a:cubicBezTo>
                <a:cubicBezTo>
                  <a:pt x="1030" y="80"/>
                  <a:pt x="1029" y="80"/>
                  <a:pt x="1029" y="80"/>
                </a:cubicBezTo>
                <a:cubicBezTo>
                  <a:pt x="1029" y="80"/>
                  <a:pt x="1029" y="81"/>
                  <a:pt x="1029" y="81"/>
                </a:cubicBezTo>
                <a:cubicBezTo>
                  <a:pt x="1029" y="82"/>
                  <a:pt x="1030" y="82"/>
                  <a:pt x="1030" y="81"/>
                </a:cubicBezTo>
                <a:close/>
                <a:moveTo>
                  <a:pt x="1029" y="80"/>
                </a:moveTo>
                <a:cubicBezTo>
                  <a:pt x="1029" y="80"/>
                  <a:pt x="1029" y="79"/>
                  <a:pt x="1029" y="79"/>
                </a:cubicBezTo>
                <a:cubicBezTo>
                  <a:pt x="1029" y="79"/>
                  <a:pt x="1029" y="79"/>
                  <a:pt x="1029" y="79"/>
                </a:cubicBezTo>
                <a:cubicBezTo>
                  <a:pt x="1029" y="79"/>
                  <a:pt x="1029" y="79"/>
                  <a:pt x="1029" y="80"/>
                </a:cubicBezTo>
                <a:cubicBezTo>
                  <a:pt x="1029" y="80"/>
                  <a:pt x="1029" y="80"/>
                  <a:pt x="1029" y="80"/>
                </a:cubicBezTo>
                <a:close/>
                <a:moveTo>
                  <a:pt x="1444" y="286"/>
                </a:moveTo>
                <a:cubicBezTo>
                  <a:pt x="1445" y="285"/>
                  <a:pt x="1445" y="285"/>
                  <a:pt x="1445" y="285"/>
                </a:cubicBezTo>
                <a:cubicBezTo>
                  <a:pt x="1444" y="285"/>
                  <a:pt x="1444" y="285"/>
                  <a:pt x="1444" y="285"/>
                </a:cubicBezTo>
                <a:lnTo>
                  <a:pt x="1444" y="286"/>
                </a:lnTo>
                <a:close/>
                <a:moveTo>
                  <a:pt x="548" y="224"/>
                </a:moveTo>
                <a:cubicBezTo>
                  <a:pt x="548" y="224"/>
                  <a:pt x="548" y="223"/>
                  <a:pt x="548" y="223"/>
                </a:cubicBezTo>
                <a:cubicBezTo>
                  <a:pt x="548" y="223"/>
                  <a:pt x="548" y="223"/>
                  <a:pt x="548" y="223"/>
                </a:cubicBezTo>
                <a:cubicBezTo>
                  <a:pt x="548" y="223"/>
                  <a:pt x="547" y="223"/>
                  <a:pt x="547" y="223"/>
                </a:cubicBezTo>
                <a:cubicBezTo>
                  <a:pt x="547" y="224"/>
                  <a:pt x="548" y="224"/>
                  <a:pt x="548" y="224"/>
                </a:cubicBezTo>
                <a:close/>
                <a:moveTo>
                  <a:pt x="657" y="94"/>
                </a:moveTo>
                <a:cubicBezTo>
                  <a:pt x="657" y="93"/>
                  <a:pt x="657" y="93"/>
                  <a:pt x="657" y="93"/>
                </a:cubicBezTo>
                <a:cubicBezTo>
                  <a:pt x="656" y="93"/>
                  <a:pt x="656" y="92"/>
                  <a:pt x="656" y="92"/>
                </a:cubicBezTo>
                <a:cubicBezTo>
                  <a:pt x="656" y="92"/>
                  <a:pt x="656" y="93"/>
                  <a:pt x="656" y="93"/>
                </a:cubicBezTo>
                <a:cubicBezTo>
                  <a:pt x="656" y="94"/>
                  <a:pt x="656" y="94"/>
                  <a:pt x="657" y="94"/>
                </a:cubicBezTo>
                <a:close/>
                <a:moveTo>
                  <a:pt x="1358" y="96"/>
                </a:moveTo>
                <a:cubicBezTo>
                  <a:pt x="1357" y="96"/>
                  <a:pt x="1357" y="96"/>
                  <a:pt x="1356" y="95"/>
                </a:cubicBezTo>
                <a:cubicBezTo>
                  <a:pt x="1356" y="95"/>
                  <a:pt x="1355" y="95"/>
                  <a:pt x="1355" y="95"/>
                </a:cubicBezTo>
                <a:cubicBezTo>
                  <a:pt x="1355" y="96"/>
                  <a:pt x="1355" y="96"/>
                  <a:pt x="1355" y="97"/>
                </a:cubicBezTo>
                <a:cubicBezTo>
                  <a:pt x="1355" y="97"/>
                  <a:pt x="1356" y="97"/>
                  <a:pt x="1356" y="97"/>
                </a:cubicBezTo>
                <a:cubicBezTo>
                  <a:pt x="1357" y="97"/>
                  <a:pt x="1357" y="96"/>
                  <a:pt x="1358" y="96"/>
                </a:cubicBezTo>
                <a:close/>
                <a:moveTo>
                  <a:pt x="1355" y="97"/>
                </a:moveTo>
                <a:cubicBezTo>
                  <a:pt x="1355" y="97"/>
                  <a:pt x="1355" y="97"/>
                  <a:pt x="1355" y="97"/>
                </a:cubicBezTo>
                <a:cubicBezTo>
                  <a:pt x="1354" y="97"/>
                  <a:pt x="1354" y="97"/>
                  <a:pt x="1354" y="97"/>
                </a:cubicBezTo>
                <a:cubicBezTo>
                  <a:pt x="1354" y="97"/>
                  <a:pt x="1355" y="97"/>
                  <a:pt x="1355" y="97"/>
                </a:cubicBezTo>
                <a:cubicBezTo>
                  <a:pt x="1355" y="97"/>
                  <a:pt x="1355" y="97"/>
                  <a:pt x="1355" y="97"/>
                </a:cubicBezTo>
                <a:close/>
                <a:moveTo>
                  <a:pt x="2028" y="653"/>
                </a:moveTo>
                <a:cubicBezTo>
                  <a:pt x="2028" y="654"/>
                  <a:pt x="2028" y="655"/>
                  <a:pt x="2029" y="656"/>
                </a:cubicBezTo>
                <a:cubicBezTo>
                  <a:pt x="2029" y="655"/>
                  <a:pt x="2029" y="654"/>
                  <a:pt x="2028" y="653"/>
                </a:cubicBezTo>
                <a:close/>
                <a:moveTo>
                  <a:pt x="686" y="101"/>
                </a:moveTo>
                <a:cubicBezTo>
                  <a:pt x="686" y="100"/>
                  <a:pt x="687" y="100"/>
                  <a:pt x="686" y="100"/>
                </a:cubicBezTo>
                <a:cubicBezTo>
                  <a:pt x="686" y="100"/>
                  <a:pt x="686" y="99"/>
                  <a:pt x="685" y="99"/>
                </a:cubicBezTo>
                <a:cubicBezTo>
                  <a:pt x="686" y="100"/>
                  <a:pt x="685" y="100"/>
                  <a:pt x="686" y="101"/>
                </a:cubicBezTo>
                <a:close/>
                <a:moveTo>
                  <a:pt x="2218" y="947"/>
                </a:moveTo>
                <a:cubicBezTo>
                  <a:pt x="2217" y="946"/>
                  <a:pt x="2216" y="945"/>
                  <a:pt x="2215" y="945"/>
                </a:cubicBezTo>
                <a:cubicBezTo>
                  <a:pt x="2216" y="947"/>
                  <a:pt x="2217" y="947"/>
                  <a:pt x="2218" y="947"/>
                </a:cubicBezTo>
                <a:close/>
                <a:moveTo>
                  <a:pt x="2218" y="947"/>
                </a:moveTo>
                <a:cubicBezTo>
                  <a:pt x="2219" y="947"/>
                  <a:pt x="2219" y="947"/>
                  <a:pt x="2219" y="947"/>
                </a:cubicBezTo>
                <a:cubicBezTo>
                  <a:pt x="2219" y="947"/>
                  <a:pt x="2219" y="947"/>
                  <a:pt x="2219" y="947"/>
                </a:cubicBezTo>
                <a:cubicBezTo>
                  <a:pt x="2219" y="947"/>
                  <a:pt x="2219" y="947"/>
                  <a:pt x="2219" y="947"/>
                </a:cubicBezTo>
                <a:cubicBezTo>
                  <a:pt x="2219" y="947"/>
                  <a:pt x="2219" y="947"/>
                  <a:pt x="2218" y="947"/>
                </a:cubicBezTo>
                <a:close/>
                <a:moveTo>
                  <a:pt x="1203" y="105"/>
                </a:moveTo>
                <a:cubicBezTo>
                  <a:pt x="1203" y="105"/>
                  <a:pt x="1202" y="104"/>
                  <a:pt x="1202" y="104"/>
                </a:cubicBezTo>
                <a:cubicBezTo>
                  <a:pt x="1202" y="104"/>
                  <a:pt x="1201" y="104"/>
                  <a:pt x="1201" y="104"/>
                </a:cubicBezTo>
                <a:cubicBezTo>
                  <a:pt x="1201" y="105"/>
                  <a:pt x="1201" y="105"/>
                  <a:pt x="1202" y="105"/>
                </a:cubicBezTo>
                <a:cubicBezTo>
                  <a:pt x="1202" y="106"/>
                  <a:pt x="1203" y="105"/>
                  <a:pt x="1203" y="105"/>
                </a:cubicBezTo>
                <a:close/>
                <a:moveTo>
                  <a:pt x="1201" y="104"/>
                </a:moveTo>
                <a:cubicBezTo>
                  <a:pt x="1201" y="104"/>
                  <a:pt x="1201" y="104"/>
                  <a:pt x="1201" y="104"/>
                </a:cubicBezTo>
                <a:cubicBezTo>
                  <a:pt x="1200" y="104"/>
                  <a:pt x="1200" y="104"/>
                  <a:pt x="1200" y="104"/>
                </a:cubicBezTo>
                <a:cubicBezTo>
                  <a:pt x="1200" y="104"/>
                  <a:pt x="1200" y="104"/>
                  <a:pt x="1200" y="104"/>
                </a:cubicBezTo>
                <a:cubicBezTo>
                  <a:pt x="1200" y="104"/>
                  <a:pt x="1201" y="104"/>
                  <a:pt x="1201" y="104"/>
                </a:cubicBezTo>
                <a:close/>
                <a:moveTo>
                  <a:pt x="1818" y="106"/>
                </a:moveTo>
                <a:cubicBezTo>
                  <a:pt x="1818" y="106"/>
                  <a:pt x="1817" y="106"/>
                  <a:pt x="1817" y="107"/>
                </a:cubicBezTo>
                <a:cubicBezTo>
                  <a:pt x="1817" y="107"/>
                  <a:pt x="1817" y="107"/>
                  <a:pt x="1817" y="108"/>
                </a:cubicBezTo>
                <a:cubicBezTo>
                  <a:pt x="1818" y="108"/>
                  <a:pt x="1818" y="108"/>
                  <a:pt x="1819" y="108"/>
                </a:cubicBezTo>
                <a:cubicBezTo>
                  <a:pt x="1819" y="107"/>
                  <a:pt x="1819" y="106"/>
                  <a:pt x="1818" y="106"/>
                </a:cubicBezTo>
                <a:close/>
                <a:moveTo>
                  <a:pt x="1819" y="108"/>
                </a:moveTo>
                <a:cubicBezTo>
                  <a:pt x="1819" y="108"/>
                  <a:pt x="1819" y="108"/>
                  <a:pt x="1819" y="108"/>
                </a:cubicBezTo>
                <a:cubicBezTo>
                  <a:pt x="1819" y="108"/>
                  <a:pt x="1819" y="108"/>
                  <a:pt x="1819" y="108"/>
                </a:cubicBezTo>
                <a:cubicBezTo>
                  <a:pt x="1819" y="108"/>
                  <a:pt x="1819" y="108"/>
                  <a:pt x="1819" y="108"/>
                </a:cubicBezTo>
                <a:cubicBezTo>
                  <a:pt x="1819" y="108"/>
                  <a:pt x="1819" y="108"/>
                  <a:pt x="1819" y="108"/>
                </a:cubicBezTo>
                <a:close/>
                <a:moveTo>
                  <a:pt x="536" y="239"/>
                </a:moveTo>
                <a:cubicBezTo>
                  <a:pt x="536" y="239"/>
                  <a:pt x="536" y="239"/>
                  <a:pt x="536" y="239"/>
                </a:cubicBezTo>
                <a:cubicBezTo>
                  <a:pt x="536" y="239"/>
                  <a:pt x="536" y="239"/>
                  <a:pt x="536" y="239"/>
                </a:cubicBezTo>
                <a:cubicBezTo>
                  <a:pt x="536" y="239"/>
                  <a:pt x="536" y="239"/>
                  <a:pt x="536" y="239"/>
                </a:cubicBezTo>
                <a:cubicBezTo>
                  <a:pt x="536" y="239"/>
                  <a:pt x="536" y="239"/>
                  <a:pt x="536" y="239"/>
                </a:cubicBezTo>
                <a:close/>
                <a:moveTo>
                  <a:pt x="536" y="241"/>
                </a:moveTo>
                <a:cubicBezTo>
                  <a:pt x="536" y="241"/>
                  <a:pt x="536" y="241"/>
                  <a:pt x="536" y="240"/>
                </a:cubicBezTo>
                <a:cubicBezTo>
                  <a:pt x="536" y="240"/>
                  <a:pt x="536" y="240"/>
                  <a:pt x="536" y="239"/>
                </a:cubicBezTo>
                <a:cubicBezTo>
                  <a:pt x="536" y="239"/>
                  <a:pt x="535" y="240"/>
                  <a:pt x="535" y="240"/>
                </a:cubicBezTo>
                <a:cubicBezTo>
                  <a:pt x="535" y="241"/>
                  <a:pt x="535" y="241"/>
                  <a:pt x="536" y="241"/>
                </a:cubicBezTo>
                <a:close/>
                <a:moveTo>
                  <a:pt x="1090" y="433"/>
                </a:moveTo>
                <a:cubicBezTo>
                  <a:pt x="1089" y="432"/>
                  <a:pt x="1089" y="432"/>
                  <a:pt x="1089" y="433"/>
                </a:cubicBezTo>
                <a:cubicBezTo>
                  <a:pt x="1089" y="433"/>
                  <a:pt x="1089" y="434"/>
                  <a:pt x="1089" y="434"/>
                </a:cubicBezTo>
                <a:cubicBezTo>
                  <a:pt x="1089" y="434"/>
                  <a:pt x="1089" y="433"/>
                  <a:pt x="1090" y="433"/>
                </a:cubicBezTo>
                <a:close/>
                <a:moveTo>
                  <a:pt x="676" y="806"/>
                </a:moveTo>
                <a:cubicBezTo>
                  <a:pt x="676" y="806"/>
                  <a:pt x="676" y="806"/>
                  <a:pt x="676" y="805"/>
                </a:cubicBezTo>
                <a:cubicBezTo>
                  <a:pt x="676" y="805"/>
                  <a:pt x="676" y="805"/>
                  <a:pt x="676" y="805"/>
                </a:cubicBezTo>
                <a:cubicBezTo>
                  <a:pt x="676" y="805"/>
                  <a:pt x="675" y="805"/>
                  <a:pt x="675" y="805"/>
                </a:cubicBezTo>
                <a:cubicBezTo>
                  <a:pt x="675" y="806"/>
                  <a:pt x="675" y="806"/>
                  <a:pt x="676" y="806"/>
                </a:cubicBezTo>
                <a:close/>
                <a:moveTo>
                  <a:pt x="1255" y="632"/>
                </a:moveTo>
                <a:cubicBezTo>
                  <a:pt x="1255" y="632"/>
                  <a:pt x="1255" y="632"/>
                  <a:pt x="1255" y="632"/>
                </a:cubicBezTo>
                <a:cubicBezTo>
                  <a:pt x="1255" y="632"/>
                  <a:pt x="1255" y="632"/>
                  <a:pt x="1255" y="632"/>
                </a:cubicBezTo>
                <a:cubicBezTo>
                  <a:pt x="1255" y="632"/>
                  <a:pt x="1255" y="632"/>
                  <a:pt x="1255" y="631"/>
                </a:cubicBezTo>
                <a:cubicBezTo>
                  <a:pt x="1255" y="632"/>
                  <a:pt x="1255" y="632"/>
                  <a:pt x="1255" y="632"/>
                </a:cubicBezTo>
                <a:close/>
                <a:moveTo>
                  <a:pt x="1253" y="632"/>
                </a:moveTo>
                <a:cubicBezTo>
                  <a:pt x="1253" y="632"/>
                  <a:pt x="1254" y="633"/>
                  <a:pt x="1254" y="633"/>
                </a:cubicBezTo>
                <a:cubicBezTo>
                  <a:pt x="1254" y="632"/>
                  <a:pt x="1254" y="632"/>
                  <a:pt x="1255" y="632"/>
                </a:cubicBezTo>
                <a:cubicBezTo>
                  <a:pt x="1254" y="632"/>
                  <a:pt x="1253" y="632"/>
                  <a:pt x="1253" y="632"/>
                </a:cubicBezTo>
                <a:close/>
                <a:moveTo>
                  <a:pt x="2037" y="674"/>
                </a:moveTo>
                <a:cubicBezTo>
                  <a:pt x="2037" y="674"/>
                  <a:pt x="2037" y="674"/>
                  <a:pt x="2037" y="675"/>
                </a:cubicBezTo>
                <a:cubicBezTo>
                  <a:pt x="2037" y="674"/>
                  <a:pt x="2038" y="674"/>
                  <a:pt x="2038" y="674"/>
                </a:cubicBezTo>
                <a:cubicBezTo>
                  <a:pt x="2037" y="673"/>
                  <a:pt x="2037" y="673"/>
                  <a:pt x="2037" y="674"/>
                </a:cubicBezTo>
                <a:close/>
                <a:moveTo>
                  <a:pt x="820" y="255"/>
                </a:moveTo>
                <a:cubicBezTo>
                  <a:pt x="820" y="255"/>
                  <a:pt x="820" y="255"/>
                  <a:pt x="820" y="255"/>
                </a:cubicBezTo>
                <a:cubicBezTo>
                  <a:pt x="820" y="255"/>
                  <a:pt x="820" y="255"/>
                  <a:pt x="820" y="255"/>
                </a:cubicBezTo>
                <a:cubicBezTo>
                  <a:pt x="820" y="255"/>
                  <a:pt x="820" y="255"/>
                  <a:pt x="820" y="255"/>
                </a:cubicBezTo>
                <a:cubicBezTo>
                  <a:pt x="820" y="255"/>
                  <a:pt x="820" y="255"/>
                  <a:pt x="820" y="255"/>
                </a:cubicBezTo>
                <a:close/>
                <a:moveTo>
                  <a:pt x="819" y="253"/>
                </a:moveTo>
                <a:cubicBezTo>
                  <a:pt x="818" y="253"/>
                  <a:pt x="818" y="254"/>
                  <a:pt x="817" y="254"/>
                </a:cubicBezTo>
                <a:cubicBezTo>
                  <a:pt x="818" y="254"/>
                  <a:pt x="818" y="255"/>
                  <a:pt x="819" y="255"/>
                </a:cubicBezTo>
                <a:cubicBezTo>
                  <a:pt x="819" y="255"/>
                  <a:pt x="820" y="255"/>
                  <a:pt x="820" y="255"/>
                </a:cubicBezTo>
                <a:cubicBezTo>
                  <a:pt x="820" y="254"/>
                  <a:pt x="820" y="254"/>
                  <a:pt x="820" y="253"/>
                </a:cubicBezTo>
                <a:cubicBezTo>
                  <a:pt x="820" y="253"/>
                  <a:pt x="819" y="253"/>
                  <a:pt x="819" y="253"/>
                </a:cubicBezTo>
                <a:close/>
                <a:moveTo>
                  <a:pt x="763" y="137"/>
                </a:moveTo>
                <a:cubicBezTo>
                  <a:pt x="763" y="136"/>
                  <a:pt x="762" y="136"/>
                  <a:pt x="762" y="136"/>
                </a:cubicBezTo>
                <a:cubicBezTo>
                  <a:pt x="762" y="136"/>
                  <a:pt x="761" y="136"/>
                  <a:pt x="761" y="136"/>
                </a:cubicBezTo>
                <a:cubicBezTo>
                  <a:pt x="761" y="137"/>
                  <a:pt x="762" y="137"/>
                  <a:pt x="762" y="137"/>
                </a:cubicBezTo>
                <a:cubicBezTo>
                  <a:pt x="763" y="137"/>
                  <a:pt x="763" y="137"/>
                  <a:pt x="763" y="137"/>
                </a:cubicBezTo>
                <a:close/>
                <a:moveTo>
                  <a:pt x="1287" y="638"/>
                </a:moveTo>
                <a:cubicBezTo>
                  <a:pt x="1287" y="637"/>
                  <a:pt x="1287" y="637"/>
                  <a:pt x="1287" y="637"/>
                </a:cubicBezTo>
                <a:cubicBezTo>
                  <a:pt x="1286" y="638"/>
                  <a:pt x="1286" y="638"/>
                  <a:pt x="1286" y="638"/>
                </a:cubicBezTo>
                <a:lnTo>
                  <a:pt x="1287" y="638"/>
                </a:lnTo>
                <a:close/>
                <a:moveTo>
                  <a:pt x="581" y="745"/>
                </a:moveTo>
                <a:cubicBezTo>
                  <a:pt x="581" y="745"/>
                  <a:pt x="581" y="745"/>
                  <a:pt x="581" y="745"/>
                </a:cubicBezTo>
                <a:cubicBezTo>
                  <a:pt x="581" y="745"/>
                  <a:pt x="581" y="746"/>
                  <a:pt x="581" y="746"/>
                </a:cubicBezTo>
                <a:cubicBezTo>
                  <a:pt x="581" y="746"/>
                  <a:pt x="581" y="745"/>
                  <a:pt x="581" y="745"/>
                </a:cubicBezTo>
                <a:cubicBezTo>
                  <a:pt x="581" y="745"/>
                  <a:pt x="581" y="745"/>
                  <a:pt x="581" y="745"/>
                </a:cubicBezTo>
                <a:close/>
                <a:moveTo>
                  <a:pt x="1181" y="586"/>
                </a:moveTo>
                <a:cubicBezTo>
                  <a:pt x="1181" y="586"/>
                  <a:pt x="1181" y="586"/>
                  <a:pt x="1181" y="586"/>
                </a:cubicBezTo>
                <a:cubicBezTo>
                  <a:pt x="1181" y="586"/>
                  <a:pt x="1181" y="586"/>
                  <a:pt x="1181" y="586"/>
                </a:cubicBezTo>
                <a:cubicBezTo>
                  <a:pt x="1181" y="586"/>
                  <a:pt x="1181" y="586"/>
                  <a:pt x="1181" y="586"/>
                </a:cubicBezTo>
                <a:cubicBezTo>
                  <a:pt x="1181" y="586"/>
                  <a:pt x="1181" y="586"/>
                  <a:pt x="1181" y="586"/>
                </a:cubicBezTo>
                <a:close/>
                <a:moveTo>
                  <a:pt x="1180" y="587"/>
                </a:moveTo>
                <a:cubicBezTo>
                  <a:pt x="1180" y="587"/>
                  <a:pt x="1181" y="586"/>
                  <a:pt x="1181" y="586"/>
                </a:cubicBezTo>
                <a:cubicBezTo>
                  <a:pt x="1180" y="586"/>
                  <a:pt x="1180" y="586"/>
                  <a:pt x="1180" y="587"/>
                </a:cubicBezTo>
                <a:cubicBezTo>
                  <a:pt x="1180" y="587"/>
                  <a:pt x="1180" y="587"/>
                  <a:pt x="1180" y="587"/>
                </a:cubicBezTo>
                <a:close/>
                <a:moveTo>
                  <a:pt x="1234" y="146"/>
                </a:moveTo>
                <a:cubicBezTo>
                  <a:pt x="1234" y="146"/>
                  <a:pt x="1234" y="147"/>
                  <a:pt x="1235" y="147"/>
                </a:cubicBezTo>
                <a:cubicBezTo>
                  <a:pt x="1235" y="147"/>
                  <a:pt x="1235" y="147"/>
                  <a:pt x="1235" y="147"/>
                </a:cubicBezTo>
                <a:cubicBezTo>
                  <a:pt x="1236" y="146"/>
                  <a:pt x="1235" y="145"/>
                  <a:pt x="1235" y="145"/>
                </a:cubicBezTo>
                <a:cubicBezTo>
                  <a:pt x="1234" y="145"/>
                  <a:pt x="1234" y="146"/>
                  <a:pt x="1234" y="146"/>
                </a:cubicBezTo>
                <a:close/>
                <a:moveTo>
                  <a:pt x="1529" y="154"/>
                </a:moveTo>
                <a:cubicBezTo>
                  <a:pt x="1529" y="154"/>
                  <a:pt x="1529" y="154"/>
                  <a:pt x="1528" y="154"/>
                </a:cubicBezTo>
                <a:cubicBezTo>
                  <a:pt x="1528" y="153"/>
                  <a:pt x="1528" y="153"/>
                  <a:pt x="1528" y="153"/>
                </a:cubicBezTo>
                <a:cubicBezTo>
                  <a:pt x="1527" y="154"/>
                  <a:pt x="1527" y="154"/>
                  <a:pt x="1528" y="154"/>
                </a:cubicBezTo>
                <a:cubicBezTo>
                  <a:pt x="1528" y="155"/>
                  <a:pt x="1528" y="154"/>
                  <a:pt x="1529" y="154"/>
                </a:cubicBezTo>
                <a:close/>
                <a:moveTo>
                  <a:pt x="1523" y="156"/>
                </a:moveTo>
                <a:cubicBezTo>
                  <a:pt x="1523" y="156"/>
                  <a:pt x="1523" y="156"/>
                  <a:pt x="1523" y="156"/>
                </a:cubicBezTo>
                <a:cubicBezTo>
                  <a:pt x="1523" y="156"/>
                  <a:pt x="1524" y="156"/>
                  <a:pt x="1524" y="156"/>
                </a:cubicBezTo>
                <a:cubicBezTo>
                  <a:pt x="1523" y="155"/>
                  <a:pt x="1523" y="155"/>
                  <a:pt x="1523" y="156"/>
                </a:cubicBezTo>
                <a:close/>
                <a:moveTo>
                  <a:pt x="2158" y="818"/>
                </a:moveTo>
                <a:cubicBezTo>
                  <a:pt x="2157" y="818"/>
                  <a:pt x="2157" y="818"/>
                  <a:pt x="2157" y="818"/>
                </a:cubicBezTo>
                <a:cubicBezTo>
                  <a:pt x="2157" y="819"/>
                  <a:pt x="2157" y="819"/>
                  <a:pt x="2157" y="819"/>
                </a:cubicBezTo>
                <a:cubicBezTo>
                  <a:pt x="2158" y="818"/>
                  <a:pt x="2158" y="818"/>
                  <a:pt x="2158" y="818"/>
                </a:cubicBezTo>
                <a:cubicBezTo>
                  <a:pt x="2158" y="818"/>
                  <a:pt x="2158" y="818"/>
                  <a:pt x="2158" y="818"/>
                </a:cubicBezTo>
                <a:close/>
                <a:moveTo>
                  <a:pt x="1072" y="465"/>
                </a:moveTo>
                <a:cubicBezTo>
                  <a:pt x="1073" y="465"/>
                  <a:pt x="1073" y="465"/>
                  <a:pt x="1073" y="465"/>
                </a:cubicBezTo>
                <a:cubicBezTo>
                  <a:pt x="1073" y="465"/>
                  <a:pt x="1073" y="465"/>
                  <a:pt x="1073" y="465"/>
                </a:cubicBezTo>
                <a:cubicBezTo>
                  <a:pt x="1073" y="465"/>
                  <a:pt x="1073" y="465"/>
                  <a:pt x="1073" y="465"/>
                </a:cubicBezTo>
                <a:cubicBezTo>
                  <a:pt x="1073" y="465"/>
                  <a:pt x="1072" y="465"/>
                  <a:pt x="1072" y="465"/>
                </a:cubicBezTo>
                <a:close/>
                <a:moveTo>
                  <a:pt x="1071" y="466"/>
                </a:moveTo>
                <a:cubicBezTo>
                  <a:pt x="1071" y="466"/>
                  <a:pt x="1071" y="467"/>
                  <a:pt x="1072" y="466"/>
                </a:cubicBezTo>
                <a:cubicBezTo>
                  <a:pt x="1072" y="466"/>
                  <a:pt x="1072" y="466"/>
                  <a:pt x="1072" y="465"/>
                </a:cubicBezTo>
                <a:cubicBezTo>
                  <a:pt x="1072" y="465"/>
                  <a:pt x="1072" y="465"/>
                  <a:pt x="1071" y="465"/>
                </a:cubicBezTo>
                <a:cubicBezTo>
                  <a:pt x="1071" y="465"/>
                  <a:pt x="1071" y="466"/>
                  <a:pt x="1071" y="466"/>
                </a:cubicBezTo>
                <a:close/>
                <a:moveTo>
                  <a:pt x="673" y="831"/>
                </a:moveTo>
                <a:cubicBezTo>
                  <a:pt x="674" y="831"/>
                  <a:pt x="674" y="831"/>
                  <a:pt x="674" y="830"/>
                </a:cubicBezTo>
                <a:cubicBezTo>
                  <a:pt x="674" y="830"/>
                  <a:pt x="673" y="830"/>
                  <a:pt x="673" y="830"/>
                </a:cubicBezTo>
                <a:cubicBezTo>
                  <a:pt x="673" y="830"/>
                  <a:pt x="673" y="830"/>
                  <a:pt x="673" y="831"/>
                </a:cubicBezTo>
                <a:close/>
                <a:moveTo>
                  <a:pt x="27" y="379"/>
                </a:moveTo>
                <a:cubicBezTo>
                  <a:pt x="27" y="379"/>
                  <a:pt x="27" y="379"/>
                  <a:pt x="27" y="380"/>
                </a:cubicBezTo>
                <a:cubicBezTo>
                  <a:pt x="27" y="379"/>
                  <a:pt x="28" y="379"/>
                  <a:pt x="28" y="379"/>
                </a:cubicBezTo>
                <a:cubicBezTo>
                  <a:pt x="28" y="379"/>
                  <a:pt x="28" y="378"/>
                  <a:pt x="27" y="378"/>
                </a:cubicBezTo>
                <a:cubicBezTo>
                  <a:pt x="27" y="378"/>
                  <a:pt x="27" y="379"/>
                  <a:pt x="27" y="379"/>
                </a:cubicBezTo>
                <a:close/>
                <a:moveTo>
                  <a:pt x="1781" y="841"/>
                </a:moveTo>
                <a:cubicBezTo>
                  <a:pt x="1781" y="841"/>
                  <a:pt x="1781" y="841"/>
                  <a:pt x="1781" y="841"/>
                </a:cubicBezTo>
                <a:cubicBezTo>
                  <a:pt x="1782" y="841"/>
                  <a:pt x="1782" y="841"/>
                  <a:pt x="1782" y="841"/>
                </a:cubicBezTo>
                <a:cubicBezTo>
                  <a:pt x="1782" y="841"/>
                  <a:pt x="1782" y="840"/>
                  <a:pt x="1781" y="840"/>
                </a:cubicBezTo>
                <a:cubicBezTo>
                  <a:pt x="1781" y="840"/>
                  <a:pt x="1781" y="841"/>
                  <a:pt x="1781" y="841"/>
                </a:cubicBezTo>
                <a:close/>
                <a:moveTo>
                  <a:pt x="243" y="376"/>
                </a:moveTo>
                <a:cubicBezTo>
                  <a:pt x="243" y="376"/>
                  <a:pt x="244" y="375"/>
                  <a:pt x="244" y="375"/>
                </a:cubicBezTo>
                <a:cubicBezTo>
                  <a:pt x="244" y="375"/>
                  <a:pt x="243" y="374"/>
                  <a:pt x="243" y="374"/>
                </a:cubicBezTo>
                <a:cubicBezTo>
                  <a:pt x="243" y="374"/>
                  <a:pt x="243" y="375"/>
                  <a:pt x="243" y="375"/>
                </a:cubicBezTo>
                <a:cubicBezTo>
                  <a:pt x="242" y="376"/>
                  <a:pt x="243" y="376"/>
                  <a:pt x="243" y="376"/>
                </a:cubicBezTo>
                <a:close/>
                <a:moveTo>
                  <a:pt x="1959" y="860"/>
                </a:moveTo>
                <a:cubicBezTo>
                  <a:pt x="1959" y="861"/>
                  <a:pt x="1959" y="861"/>
                  <a:pt x="1959" y="861"/>
                </a:cubicBezTo>
                <a:cubicBezTo>
                  <a:pt x="1959" y="860"/>
                  <a:pt x="1959" y="860"/>
                  <a:pt x="1959" y="860"/>
                </a:cubicBezTo>
                <a:close/>
                <a:moveTo>
                  <a:pt x="1792" y="867"/>
                </a:moveTo>
                <a:cubicBezTo>
                  <a:pt x="1791" y="867"/>
                  <a:pt x="1791" y="868"/>
                  <a:pt x="1791" y="868"/>
                </a:cubicBezTo>
                <a:cubicBezTo>
                  <a:pt x="1791" y="868"/>
                  <a:pt x="1792" y="869"/>
                  <a:pt x="1792" y="869"/>
                </a:cubicBezTo>
                <a:cubicBezTo>
                  <a:pt x="1792" y="868"/>
                  <a:pt x="1792" y="868"/>
                  <a:pt x="1792" y="867"/>
                </a:cubicBezTo>
                <a:cubicBezTo>
                  <a:pt x="1792" y="867"/>
                  <a:pt x="1792" y="867"/>
                  <a:pt x="1792" y="867"/>
                </a:cubicBezTo>
                <a:close/>
                <a:moveTo>
                  <a:pt x="1989" y="876"/>
                </a:moveTo>
                <a:cubicBezTo>
                  <a:pt x="1989" y="876"/>
                  <a:pt x="1989" y="876"/>
                  <a:pt x="1989" y="876"/>
                </a:cubicBezTo>
                <a:cubicBezTo>
                  <a:pt x="1989" y="876"/>
                  <a:pt x="1989" y="876"/>
                  <a:pt x="1989" y="876"/>
                </a:cubicBezTo>
                <a:cubicBezTo>
                  <a:pt x="1990" y="876"/>
                  <a:pt x="1990" y="876"/>
                  <a:pt x="1990" y="876"/>
                </a:cubicBezTo>
                <a:cubicBezTo>
                  <a:pt x="1990" y="876"/>
                  <a:pt x="1990" y="876"/>
                  <a:pt x="1989" y="876"/>
                </a:cubicBezTo>
                <a:close/>
                <a:moveTo>
                  <a:pt x="1982" y="881"/>
                </a:moveTo>
                <a:cubicBezTo>
                  <a:pt x="1982" y="882"/>
                  <a:pt x="1982" y="882"/>
                  <a:pt x="1982" y="882"/>
                </a:cubicBezTo>
                <a:cubicBezTo>
                  <a:pt x="1982" y="882"/>
                  <a:pt x="1982" y="881"/>
                  <a:pt x="1982" y="881"/>
                </a:cubicBezTo>
                <a:cubicBezTo>
                  <a:pt x="1982" y="881"/>
                  <a:pt x="1981" y="881"/>
                  <a:pt x="1982" y="881"/>
                </a:cubicBezTo>
                <a:close/>
                <a:moveTo>
                  <a:pt x="2031" y="889"/>
                </a:moveTo>
                <a:cubicBezTo>
                  <a:pt x="2031" y="889"/>
                  <a:pt x="2032" y="889"/>
                  <a:pt x="2032" y="889"/>
                </a:cubicBezTo>
                <a:cubicBezTo>
                  <a:pt x="2032" y="889"/>
                  <a:pt x="2032" y="889"/>
                  <a:pt x="2032" y="889"/>
                </a:cubicBezTo>
                <a:cubicBezTo>
                  <a:pt x="2032" y="888"/>
                  <a:pt x="2032" y="888"/>
                  <a:pt x="2031" y="889"/>
                </a:cubicBezTo>
                <a:close/>
                <a:moveTo>
                  <a:pt x="756" y="917"/>
                </a:moveTo>
                <a:cubicBezTo>
                  <a:pt x="756" y="917"/>
                  <a:pt x="755" y="917"/>
                  <a:pt x="755" y="917"/>
                </a:cubicBezTo>
                <a:cubicBezTo>
                  <a:pt x="755" y="917"/>
                  <a:pt x="755" y="917"/>
                  <a:pt x="755" y="917"/>
                </a:cubicBezTo>
                <a:cubicBezTo>
                  <a:pt x="755" y="917"/>
                  <a:pt x="755" y="917"/>
                  <a:pt x="755" y="917"/>
                </a:cubicBezTo>
                <a:cubicBezTo>
                  <a:pt x="755" y="917"/>
                  <a:pt x="755" y="917"/>
                  <a:pt x="756" y="917"/>
                </a:cubicBezTo>
                <a:close/>
                <a:moveTo>
                  <a:pt x="759" y="919"/>
                </a:moveTo>
                <a:cubicBezTo>
                  <a:pt x="758" y="917"/>
                  <a:pt x="757" y="917"/>
                  <a:pt x="756" y="917"/>
                </a:cubicBezTo>
                <a:cubicBezTo>
                  <a:pt x="756" y="919"/>
                  <a:pt x="757" y="919"/>
                  <a:pt x="759" y="919"/>
                </a:cubicBezTo>
                <a:close/>
                <a:moveTo>
                  <a:pt x="1872" y="923"/>
                </a:moveTo>
                <a:cubicBezTo>
                  <a:pt x="1872" y="923"/>
                  <a:pt x="1872" y="924"/>
                  <a:pt x="1872" y="924"/>
                </a:cubicBezTo>
                <a:cubicBezTo>
                  <a:pt x="1872" y="924"/>
                  <a:pt x="1873" y="924"/>
                  <a:pt x="1873" y="924"/>
                </a:cubicBezTo>
                <a:cubicBezTo>
                  <a:pt x="1873" y="924"/>
                  <a:pt x="1874" y="924"/>
                  <a:pt x="1874" y="923"/>
                </a:cubicBezTo>
                <a:cubicBezTo>
                  <a:pt x="1873" y="923"/>
                  <a:pt x="1873" y="922"/>
                  <a:pt x="1872" y="923"/>
                </a:cubicBezTo>
                <a:close/>
                <a:moveTo>
                  <a:pt x="1871" y="925"/>
                </a:moveTo>
                <a:cubicBezTo>
                  <a:pt x="1871" y="924"/>
                  <a:pt x="1872" y="924"/>
                  <a:pt x="1872" y="924"/>
                </a:cubicBezTo>
                <a:cubicBezTo>
                  <a:pt x="1872" y="924"/>
                  <a:pt x="1872" y="924"/>
                  <a:pt x="1872" y="924"/>
                </a:cubicBezTo>
                <a:cubicBezTo>
                  <a:pt x="1872" y="924"/>
                  <a:pt x="1872" y="924"/>
                  <a:pt x="1871" y="924"/>
                </a:cubicBezTo>
                <a:cubicBezTo>
                  <a:pt x="1871" y="924"/>
                  <a:pt x="1871" y="924"/>
                  <a:pt x="1871" y="925"/>
                </a:cubicBezTo>
                <a:close/>
                <a:moveTo>
                  <a:pt x="1871" y="926"/>
                </a:moveTo>
                <a:cubicBezTo>
                  <a:pt x="1871" y="925"/>
                  <a:pt x="1871" y="925"/>
                  <a:pt x="1871" y="925"/>
                </a:cubicBezTo>
                <a:cubicBezTo>
                  <a:pt x="1871" y="925"/>
                  <a:pt x="1871" y="925"/>
                  <a:pt x="1871" y="925"/>
                </a:cubicBezTo>
                <a:cubicBezTo>
                  <a:pt x="1871" y="925"/>
                  <a:pt x="1871" y="926"/>
                  <a:pt x="1871" y="926"/>
                </a:cubicBezTo>
                <a:close/>
                <a:moveTo>
                  <a:pt x="2202" y="940"/>
                </a:moveTo>
                <a:cubicBezTo>
                  <a:pt x="2201" y="941"/>
                  <a:pt x="2202" y="941"/>
                  <a:pt x="2202" y="941"/>
                </a:cubicBezTo>
                <a:cubicBezTo>
                  <a:pt x="2202" y="941"/>
                  <a:pt x="2202" y="940"/>
                  <a:pt x="2202" y="940"/>
                </a:cubicBezTo>
                <a:cubicBezTo>
                  <a:pt x="2202" y="940"/>
                  <a:pt x="2202" y="940"/>
                  <a:pt x="2202" y="940"/>
                </a:cubicBezTo>
                <a:cubicBezTo>
                  <a:pt x="2202" y="940"/>
                  <a:pt x="2202" y="940"/>
                  <a:pt x="2202" y="940"/>
                </a:cubicBezTo>
                <a:close/>
                <a:moveTo>
                  <a:pt x="1840" y="944"/>
                </a:moveTo>
                <a:cubicBezTo>
                  <a:pt x="1840" y="944"/>
                  <a:pt x="1840" y="944"/>
                  <a:pt x="1840" y="944"/>
                </a:cubicBezTo>
                <a:cubicBezTo>
                  <a:pt x="1840" y="944"/>
                  <a:pt x="1840" y="945"/>
                  <a:pt x="1840" y="945"/>
                </a:cubicBezTo>
                <a:cubicBezTo>
                  <a:pt x="1841" y="945"/>
                  <a:pt x="1841" y="944"/>
                  <a:pt x="1841" y="944"/>
                </a:cubicBezTo>
                <a:cubicBezTo>
                  <a:pt x="1841" y="944"/>
                  <a:pt x="1841" y="944"/>
                  <a:pt x="1840" y="944"/>
                </a:cubicBezTo>
                <a:close/>
                <a:moveTo>
                  <a:pt x="1995" y="960"/>
                </a:moveTo>
                <a:cubicBezTo>
                  <a:pt x="1995" y="961"/>
                  <a:pt x="1995" y="961"/>
                  <a:pt x="1995" y="961"/>
                </a:cubicBezTo>
                <a:cubicBezTo>
                  <a:pt x="1996" y="961"/>
                  <a:pt x="1996" y="961"/>
                  <a:pt x="1996" y="961"/>
                </a:cubicBezTo>
                <a:cubicBezTo>
                  <a:pt x="1996" y="960"/>
                  <a:pt x="1995" y="960"/>
                  <a:pt x="1995" y="960"/>
                </a:cubicBezTo>
                <a:cubicBezTo>
                  <a:pt x="1995" y="960"/>
                  <a:pt x="1995" y="960"/>
                  <a:pt x="1995" y="960"/>
                </a:cubicBezTo>
                <a:close/>
                <a:moveTo>
                  <a:pt x="2184" y="962"/>
                </a:moveTo>
                <a:cubicBezTo>
                  <a:pt x="2184" y="963"/>
                  <a:pt x="2184" y="963"/>
                  <a:pt x="2184" y="963"/>
                </a:cubicBezTo>
                <a:cubicBezTo>
                  <a:pt x="2184" y="963"/>
                  <a:pt x="2184" y="963"/>
                  <a:pt x="2185" y="963"/>
                </a:cubicBezTo>
                <a:cubicBezTo>
                  <a:pt x="2185" y="963"/>
                  <a:pt x="2185" y="963"/>
                  <a:pt x="2185" y="963"/>
                </a:cubicBezTo>
                <a:cubicBezTo>
                  <a:pt x="2185" y="962"/>
                  <a:pt x="2184" y="962"/>
                  <a:pt x="2184" y="962"/>
                </a:cubicBezTo>
                <a:close/>
                <a:moveTo>
                  <a:pt x="1985" y="967"/>
                </a:moveTo>
                <a:cubicBezTo>
                  <a:pt x="1985" y="967"/>
                  <a:pt x="1985" y="967"/>
                  <a:pt x="1985" y="967"/>
                </a:cubicBezTo>
                <a:cubicBezTo>
                  <a:pt x="1985" y="967"/>
                  <a:pt x="1985" y="966"/>
                  <a:pt x="1985" y="966"/>
                </a:cubicBezTo>
                <a:cubicBezTo>
                  <a:pt x="1985" y="966"/>
                  <a:pt x="1984" y="966"/>
                  <a:pt x="1984" y="966"/>
                </a:cubicBezTo>
                <a:cubicBezTo>
                  <a:pt x="1984" y="967"/>
                  <a:pt x="1984" y="967"/>
                  <a:pt x="1985" y="967"/>
                </a:cubicBezTo>
                <a:close/>
                <a:moveTo>
                  <a:pt x="2006" y="984"/>
                </a:moveTo>
                <a:cubicBezTo>
                  <a:pt x="2006" y="985"/>
                  <a:pt x="2006" y="985"/>
                  <a:pt x="2007" y="985"/>
                </a:cubicBezTo>
                <a:cubicBezTo>
                  <a:pt x="2007" y="985"/>
                  <a:pt x="2007" y="985"/>
                  <a:pt x="2007" y="985"/>
                </a:cubicBezTo>
                <a:cubicBezTo>
                  <a:pt x="2007" y="985"/>
                  <a:pt x="2007" y="984"/>
                  <a:pt x="2007" y="984"/>
                </a:cubicBezTo>
                <a:cubicBezTo>
                  <a:pt x="2007" y="984"/>
                  <a:pt x="2007" y="984"/>
                  <a:pt x="2006" y="984"/>
                </a:cubicBezTo>
                <a:close/>
                <a:moveTo>
                  <a:pt x="2002" y="1003"/>
                </a:moveTo>
                <a:cubicBezTo>
                  <a:pt x="2003" y="1002"/>
                  <a:pt x="2003" y="1002"/>
                  <a:pt x="2003" y="1001"/>
                </a:cubicBezTo>
                <a:cubicBezTo>
                  <a:pt x="2002" y="1001"/>
                  <a:pt x="2002" y="1001"/>
                  <a:pt x="2001" y="1001"/>
                </a:cubicBezTo>
                <a:cubicBezTo>
                  <a:pt x="2001" y="1002"/>
                  <a:pt x="2001" y="1002"/>
                  <a:pt x="2001" y="1002"/>
                </a:cubicBezTo>
                <a:cubicBezTo>
                  <a:pt x="2001" y="1003"/>
                  <a:pt x="2002" y="1003"/>
                  <a:pt x="2002" y="1003"/>
                </a:cubicBezTo>
                <a:close/>
                <a:moveTo>
                  <a:pt x="1436" y="1013"/>
                </a:moveTo>
                <a:cubicBezTo>
                  <a:pt x="1436" y="1013"/>
                  <a:pt x="1436" y="1013"/>
                  <a:pt x="1436" y="1013"/>
                </a:cubicBezTo>
                <a:cubicBezTo>
                  <a:pt x="1436" y="1013"/>
                  <a:pt x="1436" y="1013"/>
                  <a:pt x="1436" y="1014"/>
                </a:cubicBezTo>
                <a:cubicBezTo>
                  <a:pt x="1436" y="1014"/>
                  <a:pt x="1436" y="1014"/>
                  <a:pt x="1437" y="1014"/>
                </a:cubicBezTo>
                <a:cubicBezTo>
                  <a:pt x="1436" y="1013"/>
                  <a:pt x="1436" y="1013"/>
                  <a:pt x="1436" y="1013"/>
                </a:cubicBezTo>
                <a:close/>
                <a:moveTo>
                  <a:pt x="2325" y="1049"/>
                </a:moveTo>
                <a:cubicBezTo>
                  <a:pt x="2325" y="1049"/>
                  <a:pt x="2325" y="1049"/>
                  <a:pt x="2325" y="1049"/>
                </a:cubicBezTo>
                <a:cubicBezTo>
                  <a:pt x="2325" y="1048"/>
                  <a:pt x="2325" y="1048"/>
                  <a:pt x="2325" y="1048"/>
                </a:cubicBezTo>
                <a:cubicBezTo>
                  <a:pt x="2325" y="1048"/>
                  <a:pt x="2324" y="1048"/>
                  <a:pt x="2324" y="1048"/>
                </a:cubicBezTo>
                <a:cubicBezTo>
                  <a:pt x="2324" y="1049"/>
                  <a:pt x="2324" y="1049"/>
                  <a:pt x="2325" y="1049"/>
                </a:cubicBezTo>
                <a:close/>
                <a:moveTo>
                  <a:pt x="2325" y="1060"/>
                </a:moveTo>
                <a:cubicBezTo>
                  <a:pt x="2326" y="1060"/>
                  <a:pt x="2326" y="1060"/>
                  <a:pt x="2327" y="1060"/>
                </a:cubicBezTo>
                <a:cubicBezTo>
                  <a:pt x="2326" y="1060"/>
                  <a:pt x="2326" y="1059"/>
                  <a:pt x="2326" y="1059"/>
                </a:cubicBezTo>
                <a:cubicBezTo>
                  <a:pt x="2326" y="1059"/>
                  <a:pt x="2325" y="1059"/>
                  <a:pt x="2325" y="1060"/>
                </a:cubicBezTo>
                <a:cubicBezTo>
                  <a:pt x="2325" y="1060"/>
                  <a:pt x="2325" y="1060"/>
                  <a:pt x="2325" y="1060"/>
                </a:cubicBezTo>
                <a:close/>
                <a:moveTo>
                  <a:pt x="2330" y="1069"/>
                </a:moveTo>
                <a:cubicBezTo>
                  <a:pt x="2330" y="1069"/>
                  <a:pt x="2330" y="1069"/>
                  <a:pt x="2330" y="1069"/>
                </a:cubicBezTo>
                <a:cubicBezTo>
                  <a:pt x="2330" y="1070"/>
                  <a:pt x="2330" y="1070"/>
                  <a:pt x="2330" y="1070"/>
                </a:cubicBezTo>
                <a:lnTo>
                  <a:pt x="2330" y="1069"/>
                </a:lnTo>
                <a:close/>
                <a:moveTo>
                  <a:pt x="2319" y="1093"/>
                </a:moveTo>
                <a:cubicBezTo>
                  <a:pt x="2319" y="1093"/>
                  <a:pt x="2318" y="1094"/>
                  <a:pt x="2319" y="1094"/>
                </a:cubicBezTo>
                <a:cubicBezTo>
                  <a:pt x="2319" y="1095"/>
                  <a:pt x="2319" y="1095"/>
                  <a:pt x="2319" y="1095"/>
                </a:cubicBezTo>
                <a:cubicBezTo>
                  <a:pt x="2320" y="1095"/>
                  <a:pt x="2320" y="1094"/>
                  <a:pt x="2320" y="1094"/>
                </a:cubicBezTo>
                <a:cubicBezTo>
                  <a:pt x="2320" y="1093"/>
                  <a:pt x="2319" y="1093"/>
                  <a:pt x="2319" y="1093"/>
                </a:cubicBezTo>
                <a:close/>
                <a:moveTo>
                  <a:pt x="2138" y="1275"/>
                </a:moveTo>
                <a:cubicBezTo>
                  <a:pt x="2138" y="1275"/>
                  <a:pt x="2137" y="1275"/>
                  <a:pt x="2137" y="1275"/>
                </a:cubicBezTo>
                <a:cubicBezTo>
                  <a:pt x="2137" y="1276"/>
                  <a:pt x="2138" y="1276"/>
                  <a:pt x="2138" y="1276"/>
                </a:cubicBezTo>
                <a:cubicBezTo>
                  <a:pt x="2139" y="1276"/>
                  <a:pt x="2139" y="1276"/>
                  <a:pt x="2139" y="1276"/>
                </a:cubicBezTo>
                <a:cubicBezTo>
                  <a:pt x="2139" y="1275"/>
                  <a:pt x="2138" y="1275"/>
                  <a:pt x="2138" y="1275"/>
                </a:cubicBezTo>
                <a:close/>
                <a:moveTo>
                  <a:pt x="1082" y="481"/>
                </a:moveTo>
                <a:cubicBezTo>
                  <a:pt x="1082" y="481"/>
                  <a:pt x="1081" y="481"/>
                  <a:pt x="1081" y="481"/>
                </a:cubicBezTo>
                <a:cubicBezTo>
                  <a:pt x="1081" y="482"/>
                  <a:pt x="1081" y="482"/>
                  <a:pt x="1081" y="482"/>
                </a:cubicBezTo>
                <a:cubicBezTo>
                  <a:pt x="1082" y="482"/>
                  <a:pt x="1082" y="482"/>
                  <a:pt x="1082" y="482"/>
                </a:cubicBezTo>
                <a:cubicBezTo>
                  <a:pt x="1082" y="482"/>
                  <a:pt x="1082" y="481"/>
                  <a:pt x="1082" y="481"/>
                </a:cubicBezTo>
                <a:close/>
                <a:moveTo>
                  <a:pt x="1418" y="294"/>
                </a:moveTo>
                <a:cubicBezTo>
                  <a:pt x="1418" y="294"/>
                  <a:pt x="1417" y="294"/>
                  <a:pt x="1417" y="294"/>
                </a:cubicBezTo>
                <a:cubicBezTo>
                  <a:pt x="1417" y="294"/>
                  <a:pt x="1416" y="295"/>
                  <a:pt x="1416" y="295"/>
                </a:cubicBezTo>
                <a:cubicBezTo>
                  <a:pt x="1417" y="295"/>
                  <a:pt x="1417" y="295"/>
                  <a:pt x="1417" y="295"/>
                </a:cubicBezTo>
                <a:cubicBezTo>
                  <a:pt x="1418" y="295"/>
                  <a:pt x="1418" y="294"/>
                  <a:pt x="1418" y="294"/>
                </a:cubicBezTo>
                <a:close/>
                <a:moveTo>
                  <a:pt x="1416" y="295"/>
                </a:moveTo>
                <a:cubicBezTo>
                  <a:pt x="1416" y="295"/>
                  <a:pt x="1416" y="295"/>
                  <a:pt x="1416" y="295"/>
                </a:cubicBezTo>
                <a:cubicBezTo>
                  <a:pt x="1416" y="295"/>
                  <a:pt x="1416" y="295"/>
                  <a:pt x="1416" y="295"/>
                </a:cubicBezTo>
                <a:cubicBezTo>
                  <a:pt x="1416" y="295"/>
                  <a:pt x="1416" y="295"/>
                  <a:pt x="1416" y="295"/>
                </a:cubicBezTo>
                <a:cubicBezTo>
                  <a:pt x="1416" y="295"/>
                  <a:pt x="1416" y="295"/>
                  <a:pt x="1416" y="295"/>
                </a:cubicBezTo>
                <a:close/>
                <a:moveTo>
                  <a:pt x="1218" y="292"/>
                </a:moveTo>
                <a:cubicBezTo>
                  <a:pt x="1218" y="292"/>
                  <a:pt x="1219" y="292"/>
                  <a:pt x="1219" y="292"/>
                </a:cubicBezTo>
                <a:cubicBezTo>
                  <a:pt x="1219" y="292"/>
                  <a:pt x="1219" y="292"/>
                  <a:pt x="1219" y="292"/>
                </a:cubicBezTo>
                <a:cubicBezTo>
                  <a:pt x="1219" y="291"/>
                  <a:pt x="1219" y="291"/>
                  <a:pt x="1218" y="292"/>
                </a:cubicBezTo>
                <a:close/>
                <a:moveTo>
                  <a:pt x="701" y="1379"/>
                </a:moveTo>
                <a:cubicBezTo>
                  <a:pt x="701" y="1379"/>
                  <a:pt x="702" y="1379"/>
                  <a:pt x="702" y="1379"/>
                </a:cubicBezTo>
                <a:cubicBezTo>
                  <a:pt x="702" y="1379"/>
                  <a:pt x="701" y="1379"/>
                  <a:pt x="701" y="1379"/>
                </a:cubicBezTo>
                <a:cubicBezTo>
                  <a:pt x="700" y="1379"/>
                  <a:pt x="700" y="1379"/>
                  <a:pt x="701" y="1379"/>
                </a:cubicBezTo>
                <a:close/>
                <a:moveTo>
                  <a:pt x="807" y="243"/>
                </a:moveTo>
                <a:cubicBezTo>
                  <a:pt x="807" y="244"/>
                  <a:pt x="807" y="244"/>
                  <a:pt x="808" y="244"/>
                </a:cubicBezTo>
                <a:cubicBezTo>
                  <a:pt x="808" y="244"/>
                  <a:pt x="808" y="243"/>
                  <a:pt x="808" y="243"/>
                </a:cubicBezTo>
                <a:cubicBezTo>
                  <a:pt x="808" y="243"/>
                  <a:pt x="808" y="243"/>
                  <a:pt x="807" y="243"/>
                </a:cubicBezTo>
                <a:close/>
                <a:moveTo>
                  <a:pt x="647" y="265"/>
                </a:moveTo>
                <a:cubicBezTo>
                  <a:pt x="647" y="265"/>
                  <a:pt x="647" y="265"/>
                  <a:pt x="647" y="265"/>
                </a:cubicBezTo>
                <a:cubicBezTo>
                  <a:pt x="647" y="265"/>
                  <a:pt x="647" y="265"/>
                  <a:pt x="647" y="266"/>
                </a:cubicBezTo>
                <a:cubicBezTo>
                  <a:pt x="647" y="266"/>
                  <a:pt x="647" y="266"/>
                  <a:pt x="647" y="266"/>
                </a:cubicBezTo>
                <a:lnTo>
                  <a:pt x="647" y="265"/>
                </a:lnTo>
                <a:close/>
                <a:moveTo>
                  <a:pt x="2121" y="268"/>
                </a:moveTo>
                <a:cubicBezTo>
                  <a:pt x="2121" y="268"/>
                  <a:pt x="2121" y="268"/>
                  <a:pt x="2121" y="269"/>
                </a:cubicBezTo>
                <a:cubicBezTo>
                  <a:pt x="2121" y="269"/>
                  <a:pt x="2121" y="269"/>
                  <a:pt x="2121" y="269"/>
                </a:cubicBezTo>
                <a:cubicBezTo>
                  <a:pt x="2121" y="269"/>
                  <a:pt x="2121" y="268"/>
                  <a:pt x="2121" y="268"/>
                </a:cubicBezTo>
                <a:close/>
                <a:moveTo>
                  <a:pt x="2121" y="269"/>
                </a:moveTo>
                <a:cubicBezTo>
                  <a:pt x="2121" y="269"/>
                  <a:pt x="2120" y="269"/>
                  <a:pt x="2120" y="269"/>
                </a:cubicBezTo>
                <a:cubicBezTo>
                  <a:pt x="2120" y="269"/>
                  <a:pt x="2120" y="269"/>
                  <a:pt x="2120" y="269"/>
                </a:cubicBezTo>
                <a:cubicBezTo>
                  <a:pt x="2120" y="269"/>
                  <a:pt x="2120" y="269"/>
                  <a:pt x="2121" y="269"/>
                </a:cubicBezTo>
                <a:cubicBezTo>
                  <a:pt x="2121" y="269"/>
                  <a:pt x="2121" y="269"/>
                  <a:pt x="2121" y="269"/>
                </a:cubicBezTo>
                <a:close/>
                <a:moveTo>
                  <a:pt x="1236" y="283"/>
                </a:moveTo>
                <a:cubicBezTo>
                  <a:pt x="1236" y="283"/>
                  <a:pt x="1236" y="283"/>
                  <a:pt x="1235" y="283"/>
                </a:cubicBezTo>
                <a:cubicBezTo>
                  <a:pt x="1235" y="283"/>
                  <a:pt x="1235" y="283"/>
                  <a:pt x="1235" y="283"/>
                </a:cubicBezTo>
                <a:cubicBezTo>
                  <a:pt x="1236" y="283"/>
                  <a:pt x="1236" y="283"/>
                  <a:pt x="1236" y="283"/>
                </a:cubicBezTo>
                <a:cubicBezTo>
                  <a:pt x="1236" y="283"/>
                  <a:pt x="1236" y="283"/>
                  <a:pt x="1236" y="283"/>
                </a:cubicBezTo>
                <a:close/>
                <a:moveTo>
                  <a:pt x="1236" y="282"/>
                </a:moveTo>
                <a:cubicBezTo>
                  <a:pt x="1236" y="282"/>
                  <a:pt x="1236" y="283"/>
                  <a:pt x="1236" y="283"/>
                </a:cubicBezTo>
                <a:cubicBezTo>
                  <a:pt x="1236" y="283"/>
                  <a:pt x="1236" y="282"/>
                  <a:pt x="1236" y="282"/>
                </a:cubicBezTo>
                <a:close/>
                <a:moveTo>
                  <a:pt x="1286" y="609"/>
                </a:moveTo>
                <a:cubicBezTo>
                  <a:pt x="1286" y="609"/>
                  <a:pt x="1286" y="609"/>
                  <a:pt x="1286" y="609"/>
                </a:cubicBezTo>
                <a:cubicBezTo>
                  <a:pt x="1286" y="609"/>
                  <a:pt x="1287" y="609"/>
                  <a:pt x="1287" y="609"/>
                </a:cubicBezTo>
                <a:cubicBezTo>
                  <a:pt x="1287" y="609"/>
                  <a:pt x="1286" y="609"/>
                  <a:pt x="1286" y="609"/>
                </a:cubicBezTo>
                <a:close/>
                <a:moveTo>
                  <a:pt x="1210" y="648"/>
                </a:moveTo>
                <a:cubicBezTo>
                  <a:pt x="1210" y="648"/>
                  <a:pt x="1210" y="648"/>
                  <a:pt x="1210" y="648"/>
                </a:cubicBezTo>
                <a:cubicBezTo>
                  <a:pt x="1210" y="648"/>
                  <a:pt x="1210" y="648"/>
                  <a:pt x="1210" y="648"/>
                </a:cubicBezTo>
                <a:close/>
                <a:moveTo>
                  <a:pt x="587" y="749"/>
                </a:moveTo>
                <a:cubicBezTo>
                  <a:pt x="587" y="749"/>
                  <a:pt x="587" y="749"/>
                  <a:pt x="587" y="749"/>
                </a:cubicBezTo>
                <a:cubicBezTo>
                  <a:pt x="587" y="748"/>
                  <a:pt x="587" y="748"/>
                  <a:pt x="587" y="749"/>
                </a:cubicBezTo>
                <a:close/>
                <a:moveTo>
                  <a:pt x="663" y="785"/>
                </a:moveTo>
                <a:cubicBezTo>
                  <a:pt x="664" y="785"/>
                  <a:pt x="664" y="785"/>
                  <a:pt x="664" y="785"/>
                </a:cubicBezTo>
                <a:cubicBezTo>
                  <a:pt x="664" y="785"/>
                  <a:pt x="664" y="785"/>
                  <a:pt x="664" y="785"/>
                </a:cubicBezTo>
                <a:lnTo>
                  <a:pt x="663" y="785"/>
                </a:lnTo>
                <a:close/>
                <a:moveTo>
                  <a:pt x="1122" y="622"/>
                </a:moveTo>
                <a:cubicBezTo>
                  <a:pt x="1123" y="622"/>
                  <a:pt x="1123" y="622"/>
                  <a:pt x="1123" y="622"/>
                </a:cubicBezTo>
                <a:cubicBezTo>
                  <a:pt x="1122" y="622"/>
                  <a:pt x="1122" y="622"/>
                  <a:pt x="1122" y="622"/>
                </a:cubicBezTo>
                <a:close/>
                <a:moveTo>
                  <a:pt x="953" y="28"/>
                </a:moveTo>
                <a:cubicBezTo>
                  <a:pt x="953" y="28"/>
                  <a:pt x="953" y="29"/>
                  <a:pt x="953" y="29"/>
                </a:cubicBezTo>
                <a:cubicBezTo>
                  <a:pt x="953" y="28"/>
                  <a:pt x="953" y="28"/>
                  <a:pt x="953" y="28"/>
                </a:cubicBezTo>
                <a:cubicBezTo>
                  <a:pt x="953" y="28"/>
                  <a:pt x="953" y="28"/>
                  <a:pt x="953" y="28"/>
                </a:cubicBezTo>
                <a:close/>
                <a:moveTo>
                  <a:pt x="2077" y="467"/>
                </a:moveTo>
                <a:cubicBezTo>
                  <a:pt x="2077" y="467"/>
                  <a:pt x="2077" y="467"/>
                  <a:pt x="2077" y="467"/>
                </a:cubicBezTo>
                <a:cubicBezTo>
                  <a:pt x="2077" y="467"/>
                  <a:pt x="2077" y="467"/>
                  <a:pt x="2077" y="467"/>
                </a:cubicBezTo>
                <a:cubicBezTo>
                  <a:pt x="2077" y="467"/>
                  <a:pt x="2077" y="467"/>
                  <a:pt x="2077" y="467"/>
                </a:cubicBezTo>
                <a:cubicBezTo>
                  <a:pt x="2077" y="467"/>
                  <a:pt x="2077" y="467"/>
                  <a:pt x="2077" y="467"/>
                </a:cubicBezTo>
                <a:close/>
                <a:moveTo>
                  <a:pt x="2078" y="468"/>
                </a:moveTo>
                <a:cubicBezTo>
                  <a:pt x="2078" y="468"/>
                  <a:pt x="2078" y="467"/>
                  <a:pt x="2077" y="467"/>
                </a:cubicBezTo>
                <a:cubicBezTo>
                  <a:pt x="2077" y="468"/>
                  <a:pt x="2077" y="468"/>
                  <a:pt x="2078" y="468"/>
                </a:cubicBezTo>
                <a:close/>
                <a:moveTo>
                  <a:pt x="72" y="372"/>
                </a:moveTo>
                <a:cubicBezTo>
                  <a:pt x="72" y="372"/>
                  <a:pt x="72" y="372"/>
                  <a:pt x="72" y="372"/>
                </a:cubicBezTo>
                <a:cubicBezTo>
                  <a:pt x="72" y="372"/>
                  <a:pt x="72" y="372"/>
                  <a:pt x="72" y="372"/>
                </a:cubicBezTo>
                <a:cubicBezTo>
                  <a:pt x="72" y="372"/>
                  <a:pt x="72" y="372"/>
                  <a:pt x="72" y="372"/>
                </a:cubicBezTo>
                <a:close/>
                <a:moveTo>
                  <a:pt x="72" y="373"/>
                </a:moveTo>
                <a:cubicBezTo>
                  <a:pt x="72" y="373"/>
                  <a:pt x="72" y="373"/>
                  <a:pt x="72" y="372"/>
                </a:cubicBezTo>
                <a:cubicBezTo>
                  <a:pt x="71" y="373"/>
                  <a:pt x="71" y="373"/>
                  <a:pt x="72" y="373"/>
                </a:cubicBezTo>
                <a:close/>
                <a:moveTo>
                  <a:pt x="2079" y="469"/>
                </a:moveTo>
                <a:cubicBezTo>
                  <a:pt x="2079" y="469"/>
                  <a:pt x="2079" y="469"/>
                  <a:pt x="2079" y="468"/>
                </a:cubicBezTo>
                <a:cubicBezTo>
                  <a:pt x="2078" y="468"/>
                  <a:pt x="2078" y="468"/>
                  <a:pt x="2078" y="468"/>
                </a:cubicBezTo>
                <a:cubicBezTo>
                  <a:pt x="2078" y="468"/>
                  <a:pt x="2078" y="468"/>
                  <a:pt x="2078" y="469"/>
                </a:cubicBezTo>
                <a:cubicBezTo>
                  <a:pt x="2078" y="469"/>
                  <a:pt x="2079" y="469"/>
                  <a:pt x="2079" y="469"/>
                </a:cubicBezTo>
                <a:close/>
                <a:moveTo>
                  <a:pt x="2080" y="470"/>
                </a:moveTo>
                <a:cubicBezTo>
                  <a:pt x="2080" y="469"/>
                  <a:pt x="2079" y="469"/>
                  <a:pt x="2079" y="469"/>
                </a:cubicBezTo>
                <a:cubicBezTo>
                  <a:pt x="2079" y="469"/>
                  <a:pt x="2079" y="470"/>
                  <a:pt x="2080" y="470"/>
                </a:cubicBezTo>
                <a:close/>
                <a:moveTo>
                  <a:pt x="2023" y="895"/>
                </a:moveTo>
                <a:cubicBezTo>
                  <a:pt x="2023" y="895"/>
                  <a:pt x="2023" y="895"/>
                  <a:pt x="2023" y="895"/>
                </a:cubicBezTo>
                <a:cubicBezTo>
                  <a:pt x="2023" y="895"/>
                  <a:pt x="2023" y="895"/>
                  <a:pt x="2023" y="895"/>
                </a:cubicBezTo>
                <a:close/>
                <a:moveTo>
                  <a:pt x="1807" y="901"/>
                </a:moveTo>
                <a:cubicBezTo>
                  <a:pt x="1808" y="901"/>
                  <a:pt x="1808" y="901"/>
                  <a:pt x="1808" y="901"/>
                </a:cubicBezTo>
                <a:cubicBezTo>
                  <a:pt x="1808" y="900"/>
                  <a:pt x="1808" y="900"/>
                  <a:pt x="1808" y="900"/>
                </a:cubicBezTo>
                <a:lnTo>
                  <a:pt x="1807" y="901"/>
                </a:lnTo>
                <a:close/>
                <a:moveTo>
                  <a:pt x="2042" y="926"/>
                </a:moveTo>
                <a:cubicBezTo>
                  <a:pt x="2042" y="926"/>
                  <a:pt x="2042" y="926"/>
                  <a:pt x="2042" y="926"/>
                </a:cubicBezTo>
                <a:cubicBezTo>
                  <a:pt x="2042" y="926"/>
                  <a:pt x="2042" y="926"/>
                  <a:pt x="2041" y="926"/>
                </a:cubicBezTo>
                <a:cubicBezTo>
                  <a:pt x="2042" y="926"/>
                  <a:pt x="2042" y="926"/>
                  <a:pt x="2042" y="926"/>
                </a:cubicBezTo>
                <a:cubicBezTo>
                  <a:pt x="2042" y="926"/>
                  <a:pt x="2042" y="926"/>
                  <a:pt x="2042" y="926"/>
                </a:cubicBezTo>
                <a:close/>
                <a:moveTo>
                  <a:pt x="2042" y="926"/>
                </a:moveTo>
                <a:cubicBezTo>
                  <a:pt x="2042" y="926"/>
                  <a:pt x="2042" y="926"/>
                  <a:pt x="2042" y="926"/>
                </a:cubicBezTo>
                <a:cubicBezTo>
                  <a:pt x="2042" y="926"/>
                  <a:pt x="2042" y="927"/>
                  <a:pt x="2042" y="926"/>
                </a:cubicBezTo>
                <a:close/>
                <a:moveTo>
                  <a:pt x="100" y="355"/>
                </a:moveTo>
                <a:cubicBezTo>
                  <a:pt x="100" y="355"/>
                  <a:pt x="100" y="355"/>
                  <a:pt x="100" y="355"/>
                </a:cubicBezTo>
                <a:cubicBezTo>
                  <a:pt x="100" y="355"/>
                  <a:pt x="100" y="355"/>
                  <a:pt x="100" y="355"/>
                </a:cubicBezTo>
                <a:cubicBezTo>
                  <a:pt x="100" y="355"/>
                  <a:pt x="100" y="355"/>
                  <a:pt x="100" y="355"/>
                </a:cubicBezTo>
                <a:close/>
                <a:moveTo>
                  <a:pt x="811" y="74"/>
                </a:moveTo>
                <a:cubicBezTo>
                  <a:pt x="811" y="74"/>
                  <a:pt x="811" y="74"/>
                  <a:pt x="812" y="74"/>
                </a:cubicBezTo>
                <a:cubicBezTo>
                  <a:pt x="812" y="74"/>
                  <a:pt x="812" y="74"/>
                  <a:pt x="812" y="74"/>
                </a:cubicBezTo>
                <a:cubicBezTo>
                  <a:pt x="812" y="74"/>
                  <a:pt x="812" y="74"/>
                  <a:pt x="812" y="74"/>
                </a:cubicBezTo>
                <a:cubicBezTo>
                  <a:pt x="812" y="74"/>
                  <a:pt x="811" y="74"/>
                  <a:pt x="811" y="74"/>
                </a:cubicBezTo>
                <a:close/>
                <a:moveTo>
                  <a:pt x="2208" y="941"/>
                </a:moveTo>
                <a:cubicBezTo>
                  <a:pt x="2208" y="942"/>
                  <a:pt x="2208" y="942"/>
                  <a:pt x="2208" y="942"/>
                </a:cubicBezTo>
                <a:cubicBezTo>
                  <a:pt x="2208" y="942"/>
                  <a:pt x="2208" y="942"/>
                  <a:pt x="2208" y="942"/>
                </a:cubicBezTo>
                <a:cubicBezTo>
                  <a:pt x="2208" y="942"/>
                  <a:pt x="2208" y="942"/>
                  <a:pt x="2208" y="942"/>
                </a:cubicBezTo>
                <a:lnTo>
                  <a:pt x="2208" y="941"/>
                </a:lnTo>
                <a:close/>
                <a:moveTo>
                  <a:pt x="1994" y="817"/>
                </a:moveTo>
                <a:cubicBezTo>
                  <a:pt x="1994" y="817"/>
                  <a:pt x="1994" y="817"/>
                  <a:pt x="1994" y="817"/>
                </a:cubicBezTo>
                <a:cubicBezTo>
                  <a:pt x="1994" y="817"/>
                  <a:pt x="1994" y="817"/>
                  <a:pt x="1994" y="817"/>
                </a:cubicBezTo>
                <a:cubicBezTo>
                  <a:pt x="1994" y="817"/>
                  <a:pt x="1994" y="817"/>
                  <a:pt x="1994" y="817"/>
                </a:cubicBezTo>
                <a:cubicBezTo>
                  <a:pt x="1994" y="817"/>
                  <a:pt x="1994" y="817"/>
                  <a:pt x="1994" y="817"/>
                </a:cubicBezTo>
                <a:close/>
                <a:moveTo>
                  <a:pt x="1994" y="818"/>
                </a:moveTo>
                <a:cubicBezTo>
                  <a:pt x="1994" y="818"/>
                  <a:pt x="1994" y="818"/>
                  <a:pt x="1994" y="817"/>
                </a:cubicBezTo>
                <a:cubicBezTo>
                  <a:pt x="1994" y="818"/>
                  <a:pt x="1993" y="818"/>
                  <a:pt x="1993" y="818"/>
                </a:cubicBezTo>
                <a:cubicBezTo>
                  <a:pt x="1993" y="818"/>
                  <a:pt x="1994" y="818"/>
                  <a:pt x="1994" y="818"/>
                </a:cubicBezTo>
                <a:close/>
                <a:moveTo>
                  <a:pt x="2080" y="471"/>
                </a:moveTo>
                <a:cubicBezTo>
                  <a:pt x="2080" y="470"/>
                  <a:pt x="2080" y="470"/>
                  <a:pt x="2080" y="470"/>
                </a:cubicBezTo>
                <a:cubicBezTo>
                  <a:pt x="2080" y="470"/>
                  <a:pt x="2080" y="470"/>
                  <a:pt x="2080" y="470"/>
                </a:cubicBezTo>
                <a:cubicBezTo>
                  <a:pt x="2080" y="470"/>
                  <a:pt x="2080" y="470"/>
                  <a:pt x="2080" y="470"/>
                </a:cubicBezTo>
                <a:cubicBezTo>
                  <a:pt x="2080" y="470"/>
                  <a:pt x="2080" y="471"/>
                  <a:pt x="2080" y="471"/>
                </a:cubicBezTo>
                <a:close/>
                <a:moveTo>
                  <a:pt x="2248" y="971"/>
                </a:moveTo>
                <a:cubicBezTo>
                  <a:pt x="2248" y="971"/>
                  <a:pt x="2248" y="971"/>
                  <a:pt x="2248" y="971"/>
                </a:cubicBezTo>
                <a:cubicBezTo>
                  <a:pt x="2248" y="971"/>
                  <a:pt x="2248" y="971"/>
                  <a:pt x="2248" y="971"/>
                </a:cubicBezTo>
                <a:cubicBezTo>
                  <a:pt x="2247" y="971"/>
                  <a:pt x="2248" y="971"/>
                  <a:pt x="2248" y="971"/>
                </a:cubicBezTo>
                <a:close/>
                <a:moveTo>
                  <a:pt x="1366" y="86"/>
                </a:moveTo>
                <a:cubicBezTo>
                  <a:pt x="1366" y="86"/>
                  <a:pt x="1366" y="86"/>
                  <a:pt x="1366" y="86"/>
                </a:cubicBezTo>
                <a:cubicBezTo>
                  <a:pt x="1366" y="86"/>
                  <a:pt x="1366" y="86"/>
                  <a:pt x="1366" y="86"/>
                </a:cubicBezTo>
                <a:close/>
                <a:moveTo>
                  <a:pt x="2251" y="980"/>
                </a:moveTo>
                <a:cubicBezTo>
                  <a:pt x="2252" y="980"/>
                  <a:pt x="2252" y="980"/>
                  <a:pt x="2252" y="980"/>
                </a:cubicBezTo>
                <a:cubicBezTo>
                  <a:pt x="2252" y="980"/>
                  <a:pt x="2252" y="980"/>
                  <a:pt x="2252" y="980"/>
                </a:cubicBezTo>
                <a:cubicBezTo>
                  <a:pt x="2252" y="980"/>
                  <a:pt x="2252" y="980"/>
                  <a:pt x="2252" y="980"/>
                </a:cubicBezTo>
                <a:lnTo>
                  <a:pt x="2251" y="980"/>
                </a:lnTo>
                <a:close/>
                <a:moveTo>
                  <a:pt x="2005" y="1000"/>
                </a:moveTo>
                <a:cubicBezTo>
                  <a:pt x="2005" y="1000"/>
                  <a:pt x="2005" y="1000"/>
                  <a:pt x="2005" y="999"/>
                </a:cubicBezTo>
                <a:cubicBezTo>
                  <a:pt x="2005" y="999"/>
                  <a:pt x="2005" y="999"/>
                  <a:pt x="2005" y="999"/>
                </a:cubicBezTo>
                <a:cubicBezTo>
                  <a:pt x="2004" y="1000"/>
                  <a:pt x="2004" y="1001"/>
                  <a:pt x="2003" y="1001"/>
                </a:cubicBezTo>
                <a:cubicBezTo>
                  <a:pt x="2003" y="1001"/>
                  <a:pt x="2003" y="1001"/>
                  <a:pt x="2003" y="1001"/>
                </a:cubicBezTo>
                <a:cubicBezTo>
                  <a:pt x="2003" y="1001"/>
                  <a:pt x="2003" y="1001"/>
                  <a:pt x="2003" y="1001"/>
                </a:cubicBezTo>
                <a:cubicBezTo>
                  <a:pt x="2004" y="1001"/>
                  <a:pt x="2004" y="1000"/>
                  <a:pt x="2005" y="1000"/>
                </a:cubicBezTo>
                <a:close/>
                <a:moveTo>
                  <a:pt x="1460" y="1017"/>
                </a:moveTo>
                <a:cubicBezTo>
                  <a:pt x="1460" y="1017"/>
                  <a:pt x="1460" y="1017"/>
                  <a:pt x="1460" y="1017"/>
                </a:cubicBezTo>
                <a:cubicBezTo>
                  <a:pt x="1460" y="1017"/>
                  <a:pt x="1460" y="1017"/>
                  <a:pt x="1460" y="1017"/>
                </a:cubicBezTo>
                <a:cubicBezTo>
                  <a:pt x="1460" y="1017"/>
                  <a:pt x="1460" y="1017"/>
                  <a:pt x="1460" y="1017"/>
                </a:cubicBezTo>
                <a:close/>
                <a:moveTo>
                  <a:pt x="612" y="114"/>
                </a:moveTo>
                <a:cubicBezTo>
                  <a:pt x="611" y="114"/>
                  <a:pt x="611" y="114"/>
                  <a:pt x="611" y="114"/>
                </a:cubicBezTo>
                <a:cubicBezTo>
                  <a:pt x="612" y="115"/>
                  <a:pt x="612" y="115"/>
                  <a:pt x="612" y="115"/>
                </a:cubicBezTo>
                <a:cubicBezTo>
                  <a:pt x="612" y="115"/>
                  <a:pt x="612" y="115"/>
                  <a:pt x="612" y="115"/>
                </a:cubicBezTo>
                <a:lnTo>
                  <a:pt x="612" y="114"/>
                </a:lnTo>
                <a:close/>
                <a:moveTo>
                  <a:pt x="1234" y="116"/>
                </a:moveTo>
                <a:cubicBezTo>
                  <a:pt x="1234" y="116"/>
                  <a:pt x="1234" y="116"/>
                  <a:pt x="1234" y="116"/>
                </a:cubicBezTo>
                <a:cubicBezTo>
                  <a:pt x="1234" y="116"/>
                  <a:pt x="1234" y="116"/>
                  <a:pt x="1234" y="116"/>
                </a:cubicBezTo>
                <a:close/>
                <a:moveTo>
                  <a:pt x="1234" y="116"/>
                </a:moveTo>
                <a:cubicBezTo>
                  <a:pt x="1234" y="116"/>
                  <a:pt x="1234" y="116"/>
                  <a:pt x="1234" y="116"/>
                </a:cubicBezTo>
                <a:cubicBezTo>
                  <a:pt x="1234" y="116"/>
                  <a:pt x="1234" y="116"/>
                  <a:pt x="1234" y="117"/>
                </a:cubicBezTo>
                <a:cubicBezTo>
                  <a:pt x="1234" y="117"/>
                  <a:pt x="1234" y="117"/>
                  <a:pt x="1234" y="117"/>
                </a:cubicBezTo>
                <a:cubicBezTo>
                  <a:pt x="1234" y="117"/>
                  <a:pt x="1234" y="116"/>
                  <a:pt x="1234" y="116"/>
                </a:cubicBezTo>
                <a:close/>
                <a:moveTo>
                  <a:pt x="1593" y="120"/>
                </a:moveTo>
                <a:cubicBezTo>
                  <a:pt x="1593" y="120"/>
                  <a:pt x="1593" y="120"/>
                  <a:pt x="1593" y="120"/>
                </a:cubicBezTo>
                <a:cubicBezTo>
                  <a:pt x="1593" y="120"/>
                  <a:pt x="1593" y="120"/>
                  <a:pt x="1593" y="120"/>
                </a:cubicBezTo>
                <a:cubicBezTo>
                  <a:pt x="1593" y="120"/>
                  <a:pt x="1593" y="120"/>
                  <a:pt x="1593" y="120"/>
                </a:cubicBezTo>
                <a:close/>
                <a:moveTo>
                  <a:pt x="186" y="317"/>
                </a:moveTo>
                <a:cubicBezTo>
                  <a:pt x="186" y="317"/>
                  <a:pt x="186" y="317"/>
                  <a:pt x="186" y="317"/>
                </a:cubicBezTo>
                <a:cubicBezTo>
                  <a:pt x="186" y="317"/>
                  <a:pt x="186" y="317"/>
                  <a:pt x="186" y="316"/>
                </a:cubicBezTo>
                <a:cubicBezTo>
                  <a:pt x="186" y="317"/>
                  <a:pt x="186" y="317"/>
                  <a:pt x="186" y="317"/>
                </a:cubicBezTo>
                <a:close/>
                <a:moveTo>
                  <a:pt x="186" y="317"/>
                </a:moveTo>
                <a:cubicBezTo>
                  <a:pt x="186" y="317"/>
                  <a:pt x="186" y="318"/>
                  <a:pt x="186" y="318"/>
                </a:cubicBezTo>
                <a:cubicBezTo>
                  <a:pt x="186" y="318"/>
                  <a:pt x="186" y="318"/>
                  <a:pt x="186" y="318"/>
                </a:cubicBezTo>
                <a:cubicBezTo>
                  <a:pt x="185" y="319"/>
                  <a:pt x="184" y="320"/>
                  <a:pt x="184" y="321"/>
                </a:cubicBezTo>
                <a:cubicBezTo>
                  <a:pt x="183" y="322"/>
                  <a:pt x="183" y="323"/>
                  <a:pt x="184" y="323"/>
                </a:cubicBezTo>
                <a:cubicBezTo>
                  <a:pt x="184" y="323"/>
                  <a:pt x="185" y="323"/>
                  <a:pt x="185" y="323"/>
                </a:cubicBezTo>
                <a:cubicBezTo>
                  <a:pt x="187" y="321"/>
                  <a:pt x="189" y="320"/>
                  <a:pt x="190" y="318"/>
                </a:cubicBezTo>
                <a:cubicBezTo>
                  <a:pt x="190" y="317"/>
                  <a:pt x="190" y="317"/>
                  <a:pt x="189" y="317"/>
                </a:cubicBezTo>
                <a:cubicBezTo>
                  <a:pt x="189" y="316"/>
                  <a:pt x="188" y="316"/>
                  <a:pt x="188" y="316"/>
                </a:cubicBezTo>
                <a:cubicBezTo>
                  <a:pt x="187" y="317"/>
                  <a:pt x="187" y="317"/>
                  <a:pt x="186" y="318"/>
                </a:cubicBezTo>
                <a:cubicBezTo>
                  <a:pt x="186" y="318"/>
                  <a:pt x="186" y="317"/>
                  <a:pt x="186" y="317"/>
                </a:cubicBezTo>
                <a:close/>
                <a:moveTo>
                  <a:pt x="1767" y="134"/>
                </a:moveTo>
                <a:cubicBezTo>
                  <a:pt x="1767" y="134"/>
                  <a:pt x="1768" y="133"/>
                  <a:pt x="1768" y="133"/>
                </a:cubicBezTo>
                <a:cubicBezTo>
                  <a:pt x="1768" y="133"/>
                  <a:pt x="1767" y="133"/>
                  <a:pt x="1767" y="133"/>
                </a:cubicBezTo>
                <a:cubicBezTo>
                  <a:pt x="1767" y="133"/>
                  <a:pt x="1767" y="133"/>
                  <a:pt x="1767" y="133"/>
                </a:cubicBezTo>
                <a:cubicBezTo>
                  <a:pt x="1767" y="133"/>
                  <a:pt x="1767" y="134"/>
                  <a:pt x="1767" y="134"/>
                </a:cubicBezTo>
                <a:close/>
                <a:moveTo>
                  <a:pt x="267" y="450"/>
                </a:moveTo>
                <a:cubicBezTo>
                  <a:pt x="268" y="451"/>
                  <a:pt x="268" y="451"/>
                  <a:pt x="268" y="451"/>
                </a:cubicBezTo>
                <a:cubicBezTo>
                  <a:pt x="268" y="450"/>
                  <a:pt x="268" y="450"/>
                  <a:pt x="267" y="450"/>
                </a:cubicBezTo>
                <a:close/>
                <a:moveTo>
                  <a:pt x="745" y="311"/>
                </a:moveTo>
                <a:cubicBezTo>
                  <a:pt x="745" y="312"/>
                  <a:pt x="745" y="312"/>
                  <a:pt x="745" y="312"/>
                </a:cubicBezTo>
                <a:cubicBezTo>
                  <a:pt x="746" y="312"/>
                  <a:pt x="746" y="312"/>
                  <a:pt x="745" y="311"/>
                </a:cubicBezTo>
                <a:close/>
                <a:moveTo>
                  <a:pt x="1707" y="151"/>
                </a:moveTo>
                <a:cubicBezTo>
                  <a:pt x="1707" y="151"/>
                  <a:pt x="1707" y="151"/>
                  <a:pt x="1707" y="152"/>
                </a:cubicBezTo>
                <a:cubicBezTo>
                  <a:pt x="1707" y="152"/>
                  <a:pt x="1707" y="152"/>
                  <a:pt x="1707" y="152"/>
                </a:cubicBezTo>
                <a:cubicBezTo>
                  <a:pt x="1707" y="151"/>
                  <a:pt x="1707" y="151"/>
                  <a:pt x="1707" y="151"/>
                </a:cubicBezTo>
                <a:cubicBezTo>
                  <a:pt x="1707" y="151"/>
                  <a:pt x="1707" y="151"/>
                  <a:pt x="1707" y="151"/>
                </a:cubicBezTo>
                <a:close/>
                <a:moveTo>
                  <a:pt x="1706" y="151"/>
                </a:moveTo>
                <a:cubicBezTo>
                  <a:pt x="1706" y="151"/>
                  <a:pt x="1707" y="151"/>
                  <a:pt x="1707" y="151"/>
                </a:cubicBezTo>
                <a:cubicBezTo>
                  <a:pt x="1707" y="151"/>
                  <a:pt x="1706" y="151"/>
                  <a:pt x="1706" y="151"/>
                </a:cubicBezTo>
                <a:close/>
                <a:moveTo>
                  <a:pt x="709" y="154"/>
                </a:moveTo>
                <a:cubicBezTo>
                  <a:pt x="708" y="154"/>
                  <a:pt x="708" y="154"/>
                  <a:pt x="708" y="155"/>
                </a:cubicBezTo>
                <a:cubicBezTo>
                  <a:pt x="709" y="155"/>
                  <a:pt x="709" y="154"/>
                  <a:pt x="709" y="154"/>
                </a:cubicBezTo>
                <a:cubicBezTo>
                  <a:pt x="709" y="154"/>
                  <a:pt x="709" y="154"/>
                  <a:pt x="709" y="154"/>
                </a:cubicBezTo>
                <a:close/>
                <a:moveTo>
                  <a:pt x="599" y="158"/>
                </a:moveTo>
                <a:cubicBezTo>
                  <a:pt x="599" y="157"/>
                  <a:pt x="599" y="157"/>
                  <a:pt x="599" y="157"/>
                </a:cubicBezTo>
                <a:cubicBezTo>
                  <a:pt x="598" y="158"/>
                  <a:pt x="598" y="158"/>
                  <a:pt x="598" y="158"/>
                </a:cubicBezTo>
                <a:lnTo>
                  <a:pt x="599" y="158"/>
                </a:lnTo>
                <a:close/>
                <a:moveTo>
                  <a:pt x="1542" y="187"/>
                </a:moveTo>
                <a:cubicBezTo>
                  <a:pt x="1541" y="187"/>
                  <a:pt x="1541" y="187"/>
                  <a:pt x="1541" y="187"/>
                </a:cubicBezTo>
                <a:cubicBezTo>
                  <a:pt x="1541" y="188"/>
                  <a:pt x="1541" y="188"/>
                  <a:pt x="1541" y="188"/>
                </a:cubicBezTo>
                <a:lnTo>
                  <a:pt x="1542" y="187"/>
                </a:lnTo>
                <a:close/>
                <a:moveTo>
                  <a:pt x="648" y="1376"/>
                </a:moveTo>
                <a:cubicBezTo>
                  <a:pt x="648" y="1376"/>
                  <a:pt x="649" y="1376"/>
                  <a:pt x="649" y="1376"/>
                </a:cubicBezTo>
                <a:cubicBezTo>
                  <a:pt x="649" y="1376"/>
                  <a:pt x="649" y="1376"/>
                  <a:pt x="649" y="1376"/>
                </a:cubicBezTo>
                <a:cubicBezTo>
                  <a:pt x="649" y="1376"/>
                  <a:pt x="649" y="1376"/>
                  <a:pt x="648" y="1376"/>
                </a:cubicBezTo>
                <a:cubicBezTo>
                  <a:pt x="648" y="1376"/>
                  <a:pt x="648" y="1376"/>
                  <a:pt x="648" y="1376"/>
                </a:cubicBezTo>
                <a:close/>
                <a:moveTo>
                  <a:pt x="648" y="1376"/>
                </a:moveTo>
                <a:cubicBezTo>
                  <a:pt x="648" y="1376"/>
                  <a:pt x="647" y="1376"/>
                  <a:pt x="647" y="1376"/>
                </a:cubicBezTo>
                <a:cubicBezTo>
                  <a:pt x="648" y="1377"/>
                  <a:pt x="648" y="1377"/>
                  <a:pt x="648" y="1376"/>
                </a:cubicBezTo>
                <a:close/>
                <a:moveTo>
                  <a:pt x="1224" y="452"/>
                </a:moveTo>
                <a:cubicBezTo>
                  <a:pt x="1224" y="452"/>
                  <a:pt x="1224" y="453"/>
                  <a:pt x="1225" y="453"/>
                </a:cubicBezTo>
                <a:cubicBezTo>
                  <a:pt x="1225" y="454"/>
                  <a:pt x="1226" y="453"/>
                  <a:pt x="1227" y="452"/>
                </a:cubicBezTo>
                <a:cubicBezTo>
                  <a:pt x="1229" y="450"/>
                  <a:pt x="1229" y="447"/>
                  <a:pt x="1228" y="444"/>
                </a:cubicBezTo>
                <a:cubicBezTo>
                  <a:pt x="1227" y="444"/>
                  <a:pt x="1226" y="444"/>
                  <a:pt x="1225" y="446"/>
                </a:cubicBezTo>
                <a:cubicBezTo>
                  <a:pt x="1223" y="447"/>
                  <a:pt x="1223" y="448"/>
                  <a:pt x="1223" y="450"/>
                </a:cubicBezTo>
                <a:cubicBezTo>
                  <a:pt x="1223" y="451"/>
                  <a:pt x="1223" y="451"/>
                  <a:pt x="1224" y="452"/>
                </a:cubicBezTo>
                <a:close/>
                <a:moveTo>
                  <a:pt x="1232" y="418"/>
                </a:moveTo>
                <a:cubicBezTo>
                  <a:pt x="1232" y="418"/>
                  <a:pt x="1233" y="418"/>
                  <a:pt x="1233" y="418"/>
                </a:cubicBezTo>
                <a:cubicBezTo>
                  <a:pt x="1234" y="417"/>
                  <a:pt x="1234" y="416"/>
                  <a:pt x="1233" y="415"/>
                </a:cubicBezTo>
                <a:cubicBezTo>
                  <a:pt x="1233" y="415"/>
                  <a:pt x="1232" y="414"/>
                  <a:pt x="1232" y="414"/>
                </a:cubicBezTo>
                <a:cubicBezTo>
                  <a:pt x="1231" y="414"/>
                  <a:pt x="1231" y="414"/>
                  <a:pt x="1231" y="414"/>
                </a:cubicBezTo>
                <a:cubicBezTo>
                  <a:pt x="1230" y="415"/>
                  <a:pt x="1230" y="416"/>
                  <a:pt x="1230" y="416"/>
                </a:cubicBezTo>
                <a:cubicBezTo>
                  <a:pt x="1231" y="417"/>
                  <a:pt x="1231" y="418"/>
                  <a:pt x="1232" y="418"/>
                </a:cubicBezTo>
                <a:close/>
                <a:moveTo>
                  <a:pt x="1204" y="473"/>
                </a:moveTo>
                <a:cubicBezTo>
                  <a:pt x="1205" y="473"/>
                  <a:pt x="1205" y="473"/>
                  <a:pt x="1205" y="473"/>
                </a:cubicBezTo>
                <a:cubicBezTo>
                  <a:pt x="1205" y="472"/>
                  <a:pt x="1205" y="472"/>
                  <a:pt x="1204" y="471"/>
                </a:cubicBezTo>
                <a:cubicBezTo>
                  <a:pt x="1204" y="471"/>
                  <a:pt x="1203" y="471"/>
                  <a:pt x="1203" y="471"/>
                </a:cubicBezTo>
                <a:cubicBezTo>
                  <a:pt x="1203" y="472"/>
                  <a:pt x="1203" y="472"/>
                  <a:pt x="1203" y="473"/>
                </a:cubicBezTo>
                <a:cubicBezTo>
                  <a:pt x="1203" y="473"/>
                  <a:pt x="1204" y="473"/>
                  <a:pt x="1204" y="473"/>
                </a:cubicBezTo>
                <a:close/>
                <a:moveTo>
                  <a:pt x="1250" y="433"/>
                </a:moveTo>
                <a:cubicBezTo>
                  <a:pt x="1251" y="433"/>
                  <a:pt x="1251" y="432"/>
                  <a:pt x="1252" y="432"/>
                </a:cubicBezTo>
                <a:cubicBezTo>
                  <a:pt x="1252" y="431"/>
                  <a:pt x="1252" y="431"/>
                  <a:pt x="1252" y="431"/>
                </a:cubicBezTo>
                <a:cubicBezTo>
                  <a:pt x="1252" y="430"/>
                  <a:pt x="1251" y="430"/>
                  <a:pt x="1250" y="430"/>
                </a:cubicBezTo>
                <a:cubicBezTo>
                  <a:pt x="1250" y="430"/>
                  <a:pt x="1249" y="431"/>
                  <a:pt x="1249" y="431"/>
                </a:cubicBezTo>
                <a:cubicBezTo>
                  <a:pt x="1249" y="432"/>
                  <a:pt x="1250" y="432"/>
                  <a:pt x="1250" y="433"/>
                </a:cubicBezTo>
                <a:close/>
                <a:moveTo>
                  <a:pt x="1229" y="444"/>
                </a:moveTo>
                <a:cubicBezTo>
                  <a:pt x="1228" y="444"/>
                  <a:pt x="1228" y="444"/>
                  <a:pt x="1228" y="444"/>
                </a:cubicBezTo>
                <a:cubicBezTo>
                  <a:pt x="1228" y="444"/>
                  <a:pt x="1228" y="444"/>
                  <a:pt x="1228" y="444"/>
                </a:cubicBezTo>
                <a:cubicBezTo>
                  <a:pt x="1228" y="444"/>
                  <a:pt x="1228" y="444"/>
                  <a:pt x="1228" y="444"/>
                </a:cubicBezTo>
                <a:lnTo>
                  <a:pt x="1229" y="444"/>
                </a:lnTo>
                <a:close/>
                <a:moveTo>
                  <a:pt x="1247" y="441"/>
                </a:moveTo>
                <a:cubicBezTo>
                  <a:pt x="1248" y="441"/>
                  <a:pt x="1248" y="441"/>
                  <a:pt x="1248" y="441"/>
                </a:cubicBezTo>
                <a:cubicBezTo>
                  <a:pt x="1248" y="441"/>
                  <a:pt x="1248" y="440"/>
                  <a:pt x="1248" y="440"/>
                </a:cubicBezTo>
                <a:cubicBezTo>
                  <a:pt x="1248" y="440"/>
                  <a:pt x="1248" y="440"/>
                  <a:pt x="1248" y="440"/>
                </a:cubicBezTo>
                <a:lnTo>
                  <a:pt x="1247" y="441"/>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34" name="Straight Connector 33">
            <a:extLst>
              <a:ext uri="{FF2B5EF4-FFF2-40B4-BE49-F238E27FC236}">
                <a16:creationId xmlns:a16="http://schemas.microsoft.com/office/drawing/2014/main" id="{03D167CC-46F4-BC8D-D4D6-2DA39675D46E}"/>
              </a:ext>
            </a:extLst>
          </p:cNvPr>
          <p:cNvCxnSpPr>
            <a:cxnSpLocks/>
          </p:cNvCxnSpPr>
          <p:nvPr userDrawn="1"/>
        </p:nvCxnSpPr>
        <p:spPr>
          <a:xfrm>
            <a:off x="431800" y="3785984"/>
            <a:ext cx="3382433"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5" name="Text Placeholder 9">
            <a:extLst>
              <a:ext uri="{FF2B5EF4-FFF2-40B4-BE49-F238E27FC236}">
                <a16:creationId xmlns:a16="http://schemas.microsoft.com/office/drawing/2014/main" id="{4D26FB35-09C7-0717-3795-F8F0DEA6A696}"/>
              </a:ext>
            </a:extLst>
          </p:cNvPr>
          <p:cNvSpPr>
            <a:spLocks noGrp="1"/>
          </p:cNvSpPr>
          <p:nvPr>
            <p:ph type="body" sz="quarter" idx="23"/>
          </p:nvPr>
        </p:nvSpPr>
        <p:spPr>
          <a:xfrm>
            <a:off x="308610" y="3954639"/>
            <a:ext cx="3505622" cy="1361206"/>
          </a:xfrm>
          <a:prstGeom prst="rect">
            <a:avLst/>
          </a:prstGeom>
        </p:spPr>
        <p:txBody>
          <a:bodyPr anchor="t"/>
          <a:lstStyle>
            <a:lvl1pPr marL="0" indent="0" algn="l" defTabSz="914400" rtl="0" eaLnBrk="1" latinLnBrk="0" hangingPunct="1">
              <a:lnSpc>
                <a:spcPct val="110000"/>
              </a:lnSpc>
              <a:spcAft>
                <a:spcPts val="1200"/>
              </a:spcAft>
              <a:buNone/>
              <a:defRPr kumimoji="0" lang="de-DE" sz="2000" b="0" i="0" u="none" strike="noStrike" kern="1200" cap="none" spc="0" normalizeH="0" baseline="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vl2pPr marL="0" indent="0" algn="l" defTabSz="914400" rtl="0" eaLnBrk="1" latinLnBrk="0" hangingPunct="1">
              <a:buNone/>
              <a:defRPr lang="de-DE" sz="1400" kern="1200" dirty="0">
                <a:solidFill>
                  <a:prstClr val="black">
                    <a:lumMod val="75000"/>
                    <a:lumOff val="25000"/>
                  </a:prstClr>
                </a:solidFill>
                <a:latin typeface="Arial"/>
                <a:ea typeface="+mn-ea"/>
                <a:cs typeface="+mn-cs"/>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de-DE" dirty="0"/>
          </a:p>
        </p:txBody>
      </p:sp>
      <p:sp>
        <p:nvSpPr>
          <p:cNvPr id="36" name="Text Placeholder 9">
            <a:extLst>
              <a:ext uri="{FF2B5EF4-FFF2-40B4-BE49-F238E27FC236}">
                <a16:creationId xmlns:a16="http://schemas.microsoft.com/office/drawing/2014/main" id="{9F075B9C-92FE-6ECE-7D5B-46A9347BEE7F}"/>
              </a:ext>
            </a:extLst>
          </p:cNvPr>
          <p:cNvSpPr>
            <a:spLocks noGrp="1"/>
          </p:cNvSpPr>
          <p:nvPr>
            <p:ph type="body" sz="quarter" idx="24"/>
          </p:nvPr>
        </p:nvSpPr>
        <p:spPr>
          <a:xfrm>
            <a:off x="308610" y="2417001"/>
            <a:ext cx="3505622" cy="1200329"/>
          </a:xfrm>
          <a:prstGeom prst="rect">
            <a:avLst/>
          </a:prstGeom>
        </p:spPr>
        <p:txBody>
          <a:bodyPr anchor="t"/>
          <a:lstStyle>
            <a:lvl1pPr marL="0" indent="0" algn="l" defTabSz="914400" rtl="0" eaLnBrk="1" latinLnBrk="0" hangingPunct="1">
              <a:lnSpc>
                <a:spcPct val="110000"/>
              </a:lnSpc>
              <a:spcAft>
                <a:spcPts val="1200"/>
              </a:spcAft>
              <a:buNone/>
              <a:defRPr kumimoji="0" lang="de-DE" sz="2400" b="1" i="0" u="none" strike="noStrike" kern="1200" cap="none" spc="0" normalizeH="0" baseline="0" dirty="0">
                <a:ln>
                  <a:noFill/>
                </a:ln>
                <a:solidFill>
                  <a:schemeClr val="accent1"/>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vl2pPr marL="0" indent="0" algn="l" defTabSz="914400" rtl="0" eaLnBrk="1" latinLnBrk="0" hangingPunct="1">
              <a:buNone/>
              <a:defRPr lang="de-DE" sz="1400" kern="1200" dirty="0">
                <a:solidFill>
                  <a:prstClr val="black">
                    <a:lumMod val="75000"/>
                    <a:lumOff val="25000"/>
                  </a:prstClr>
                </a:solidFill>
                <a:latin typeface="Arial"/>
                <a:ea typeface="+mn-ea"/>
                <a:cs typeface="+mn-cs"/>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11" name="Footer Placeholder 3">
            <a:extLst>
              <a:ext uri="{FF2B5EF4-FFF2-40B4-BE49-F238E27FC236}">
                <a16:creationId xmlns:a16="http://schemas.microsoft.com/office/drawing/2014/main" id="{CA662148-041A-E578-EB59-4DFB3AE4CB37}"/>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1">
                    <a:lumMod val="7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p>
        </p:txBody>
      </p:sp>
      <p:sp>
        <p:nvSpPr>
          <p:cNvPr id="56" name="Text Placeholder 55">
            <a:extLst>
              <a:ext uri="{FF2B5EF4-FFF2-40B4-BE49-F238E27FC236}">
                <a16:creationId xmlns:a16="http://schemas.microsoft.com/office/drawing/2014/main" id="{DB2148F4-78E9-72D4-1331-99757C3866FA}"/>
              </a:ext>
            </a:extLst>
          </p:cNvPr>
          <p:cNvSpPr>
            <a:spLocks noGrp="1"/>
          </p:cNvSpPr>
          <p:nvPr>
            <p:ph type="body" idx="1" hasCustomPrompt="1"/>
          </p:nvPr>
        </p:nvSpPr>
        <p:spPr>
          <a:xfrm>
            <a:off x="6176431" y="4039421"/>
            <a:ext cx="590073" cy="958480"/>
          </a:xfrm>
          <a:custGeom>
            <a:avLst/>
            <a:gdLst>
              <a:gd name="connsiteX0" fmla="*/ 199373 w 398745"/>
              <a:gd name="connsiteY0" fmla="*/ 0 h 647700"/>
              <a:gd name="connsiteX1" fmla="*/ 364155 w 398745"/>
              <a:gd name="connsiteY1" fmla="*/ 87630 h 647700"/>
              <a:gd name="connsiteX2" fmla="*/ 385110 w 398745"/>
              <a:gd name="connsiteY2" fmla="*/ 273368 h 647700"/>
              <a:gd name="connsiteX3" fmla="*/ 294623 w 398745"/>
              <a:gd name="connsiteY3" fmla="*/ 473393 h 647700"/>
              <a:gd name="connsiteX4" fmla="*/ 216518 w 398745"/>
              <a:gd name="connsiteY4" fmla="*/ 637223 h 647700"/>
              <a:gd name="connsiteX5" fmla="*/ 199373 w 398745"/>
              <a:gd name="connsiteY5" fmla="*/ 647700 h 647700"/>
              <a:gd name="connsiteX6" fmla="*/ 182228 w 398745"/>
              <a:gd name="connsiteY6" fmla="*/ 637223 h 647700"/>
              <a:gd name="connsiteX7" fmla="*/ 104123 w 398745"/>
              <a:gd name="connsiteY7" fmla="*/ 473393 h 647700"/>
              <a:gd name="connsiteX8" fmla="*/ 13635 w 398745"/>
              <a:gd name="connsiteY8" fmla="*/ 273368 h 647700"/>
              <a:gd name="connsiteX9" fmla="*/ 34590 w 398745"/>
              <a:gd name="connsiteY9" fmla="*/ 87630 h 647700"/>
              <a:gd name="connsiteX10" fmla="*/ 199373 w 398745"/>
              <a:gd name="connsiteY10"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8745" h="647700">
                <a:moveTo>
                  <a:pt x="199373" y="0"/>
                </a:moveTo>
                <a:cubicBezTo>
                  <a:pt x="265095" y="0"/>
                  <a:pt x="327008" y="32385"/>
                  <a:pt x="364155" y="87630"/>
                </a:cubicBezTo>
                <a:cubicBezTo>
                  <a:pt x="401303" y="141923"/>
                  <a:pt x="408923" y="211455"/>
                  <a:pt x="385110" y="273368"/>
                </a:cubicBezTo>
                <a:lnTo>
                  <a:pt x="294623" y="473393"/>
                </a:lnTo>
                <a:lnTo>
                  <a:pt x="216518" y="637223"/>
                </a:lnTo>
                <a:cubicBezTo>
                  <a:pt x="213660" y="643890"/>
                  <a:pt x="206993" y="647700"/>
                  <a:pt x="199373" y="647700"/>
                </a:cubicBezTo>
                <a:cubicBezTo>
                  <a:pt x="191753" y="647700"/>
                  <a:pt x="185085" y="643890"/>
                  <a:pt x="182228" y="637223"/>
                </a:cubicBezTo>
                <a:lnTo>
                  <a:pt x="104123" y="473393"/>
                </a:lnTo>
                <a:lnTo>
                  <a:pt x="13635" y="273368"/>
                </a:lnTo>
                <a:cubicBezTo>
                  <a:pt x="-10177" y="211455"/>
                  <a:pt x="-2557" y="141923"/>
                  <a:pt x="34590" y="87630"/>
                </a:cubicBezTo>
                <a:cubicBezTo>
                  <a:pt x="71738" y="32385"/>
                  <a:pt x="133650" y="0"/>
                  <a:pt x="199373" y="0"/>
                </a:cubicBezTo>
                <a:close/>
              </a:path>
            </a:pathLst>
          </a:custGeom>
          <a:solidFill>
            <a:srgbClr val="407CC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0" rIns="36000" bIns="360000" rtlCol="0" anchor="ctr">
            <a:noAutofit/>
          </a:bodyPr>
          <a:lstStyle>
            <a:lvl1pPr marL="0" indent="0" algn="ctr">
              <a:buNone/>
              <a:defRPr kumimoji="0" lang="de-DE" sz="1200" b="1" i="0" u="none" strike="noStrike" kern="1200" cap="none" spc="0" normalizeH="0" baseline="0" dirty="0">
                <a:ln>
                  <a:noFill/>
                </a:ln>
                <a:solidFill>
                  <a:schemeClr val="bg2"/>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stStyle>
          <a:p>
            <a:pPr marL="228600" marR="0" lvl="0" indent="-228600" algn="ctr" defTabSz="914400" rtl="0" eaLnBrk="1" fontAlgn="auto" latinLnBrk="0" hangingPunct="1">
              <a:lnSpc>
                <a:spcPct val="100000"/>
              </a:lnSpc>
              <a:spcBef>
                <a:spcPts val="0"/>
              </a:spcBef>
              <a:spcAft>
                <a:spcPts val="0"/>
              </a:spcAft>
              <a:buClrTx/>
              <a:buSzTx/>
              <a:tabLst/>
              <a:defRPr/>
            </a:pPr>
            <a:r>
              <a:rPr lang="de-DE" dirty="0"/>
              <a:t>XX%</a:t>
            </a:r>
          </a:p>
        </p:txBody>
      </p:sp>
      <p:sp>
        <p:nvSpPr>
          <p:cNvPr id="57" name="Text Placeholder 56">
            <a:extLst>
              <a:ext uri="{FF2B5EF4-FFF2-40B4-BE49-F238E27FC236}">
                <a16:creationId xmlns:a16="http://schemas.microsoft.com/office/drawing/2014/main" id="{47F242FD-7F47-9EAA-2AFB-EB3F16F56DD5}"/>
              </a:ext>
            </a:extLst>
          </p:cNvPr>
          <p:cNvSpPr>
            <a:spLocks noGrp="1"/>
          </p:cNvSpPr>
          <p:nvPr>
            <p:ph type="body" idx="25" hasCustomPrompt="1"/>
          </p:nvPr>
        </p:nvSpPr>
        <p:spPr>
          <a:xfrm>
            <a:off x="5090786" y="2667582"/>
            <a:ext cx="590073" cy="958480"/>
          </a:xfrm>
          <a:custGeom>
            <a:avLst/>
            <a:gdLst>
              <a:gd name="connsiteX0" fmla="*/ 199373 w 398745"/>
              <a:gd name="connsiteY0" fmla="*/ 0 h 647700"/>
              <a:gd name="connsiteX1" fmla="*/ 364155 w 398745"/>
              <a:gd name="connsiteY1" fmla="*/ 87630 h 647700"/>
              <a:gd name="connsiteX2" fmla="*/ 385110 w 398745"/>
              <a:gd name="connsiteY2" fmla="*/ 273368 h 647700"/>
              <a:gd name="connsiteX3" fmla="*/ 294623 w 398745"/>
              <a:gd name="connsiteY3" fmla="*/ 473393 h 647700"/>
              <a:gd name="connsiteX4" fmla="*/ 216518 w 398745"/>
              <a:gd name="connsiteY4" fmla="*/ 637223 h 647700"/>
              <a:gd name="connsiteX5" fmla="*/ 199373 w 398745"/>
              <a:gd name="connsiteY5" fmla="*/ 647700 h 647700"/>
              <a:gd name="connsiteX6" fmla="*/ 182228 w 398745"/>
              <a:gd name="connsiteY6" fmla="*/ 637223 h 647700"/>
              <a:gd name="connsiteX7" fmla="*/ 104123 w 398745"/>
              <a:gd name="connsiteY7" fmla="*/ 473393 h 647700"/>
              <a:gd name="connsiteX8" fmla="*/ 13635 w 398745"/>
              <a:gd name="connsiteY8" fmla="*/ 273368 h 647700"/>
              <a:gd name="connsiteX9" fmla="*/ 34590 w 398745"/>
              <a:gd name="connsiteY9" fmla="*/ 87630 h 647700"/>
              <a:gd name="connsiteX10" fmla="*/ 199373 w 398745"/>
              <a:gd name="connsiteY10"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8745" h="647700">
                <a:moveTo>
                  <a:pt x="199373" y="0"/>
                </a:moveTo>
                <a:cubicBezTo>
                  <a:pt x="265095" y="0"/>
                  <a:pt x="327008" y="32385"/>
                  <a:pt x="364155" y="87630"/>
                </a:cubicBezTo>
                <a:cubicBezTo>
                  <a:pt x="401303" y="141923"/>
                  <a:pt x="408923" y="211455"/>
                  <a:pt x="385110" y="273368"/>
                </a:cubicBezTo>
                <a:lnTo>
                  <a:pt x="294623" y="473393"/>
                </a:lnTo>
                <a:lnTo>
                  <a:pt x="216518" y="637223"/>
                </a:lnTo>
                <a:cubicBezTo>
                  <a:pt x="213660" y="643890"/>
                  <a:pt x="206993" y="647700"/>
                  <a:pt x="199373" y="647700"/>
                </a:cubicBezTo>
                <a:cubicBezTo>
                  <a:pt x="191753" y="647700"/>
                  <a:pt x="185085" y="643890"/>
                  <a:pt x="182228" y="637223"/>
                </a:cubicBezTo>
                <a:lnTo>
                  <a:pt x="104123" y="473393"/>
                </a:lnTo>
                <a:lnTo>
                  <a:pt x="13635" y="273368"/>
                </a:lnTo>
                <a:cubicBezTo>
                  <a:pt x="-10177" y="211455"/>
                  <a:pt x="-2557" y="141923"/>
                  <a:pt x="34590" y="87630"/>
                </a:cubicBezTo>
                <a:cubicBezTo>
                  <a:pt x="71738" y="32385"/>
                  <a:pt x="133650" y="0"/>
                  <a:pt x="199373" y="0"/>
                </a:cubicBezTo>
                <a:close/>
              </a:path>
            </a:pathLst>
          </a:custGeom>
          <a:solidFill>
            <a:srgbClr val="00AC6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0" rIns="36000" bIns="360000" rtlCol="0" anchor="ctr">
            <a:noAutofit/>
          </a:bodyPr>
          <a:lstStyle>
            <a:lvl1pPr marL="0" indent="0" algn="ctr">
              <a:buNone/>
              <a:defRPr kumimoji="0" lang="de-DE" sz="1200" b="1" i="0" u="none" strike="noStrike" kern="1200" cap="none" spc="0" normalizeH="0" baseline="0" dirty="0">
                <a:ln>
                  <a:noFill/>
                </a:ln>
                <a:solidFill>
                  <a:schemeClr val="bg2"/>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stStyle>
          <a:p>
            <a:pPr marL="228600" marR="0" lvl="0" indent="-228600" algn="ctr" defTabSz="914400" rtl="0" eaLnBrk="1" fontAlgn="auto" latinLnBrk="0" hangingPunct="1">
              <a:lnSpc>
                <a:spcPct val="100000"/>
              </a:lnSpc>
              <a:spcBef>
                <a:spcPts val="0"/>
              </a:spcBef>
              <a:spcAft>
                <a:spcPts val="0"/>
              </a:spcAft>
              <a:buClrTx/>
              <a:buSzTx/>
              <a:tabLst/>
              <a:defRPr/>
            </a:pPr>
            <a:r>
              <a:rPr lang="de-DE" dirty="0"/>
              <a:t>XX%</a:t>
            </a:r>
          </a:p>
        </p:txBody>
      </p:sp>
      <p:sp>
        <p:nvSpPr>
          <p:cNvPr id="58" name="Text Placeholder 57">
            <a:extLst>
              <a:ext uri="{FF2B5EF4-FFF2-40B4-BE49-F238E27FC236}">
                <a16:creationId xmlns:a16="http://schemas.microsoft.com/office/drawing/2014/main" id="{EE00448A-A7E7-32FF-1910-F11F88732D06}"/>
              </a:ext>
            </a:extLst>
          </p:cNvPr>
          <p:cNvSpPr>
            <a:spLocks noGrp="1"/>
          </p:cNvSpPr>
          <p:nvPr>
            <p:ph type="body" idx="26" hasCustomPrompt="1"/>
          </p:nvPr>
        </p:nvSpPr>
        <p:spPr>
          <a:xfrm>
            <a:off x="7576088" y="2362860"/>
            <a:ext cx="590073" cy="958480"/>
          </a:xfrm>
          <a:custGeom>
            <a:avLst/>
            <a:gdLst>
              <a:gd name="connsiteX0" fmla="*/ 199373 w 398745"/>
              <a:gd name="connsiteY0" fmla="*/ 0 h 647700"/>
              <a:gd name="connsiteX1" fmla="*/ 364155 w 398745"/>
              <a:gd name="connsiteY1" fmla="*/ 87630 h 647700"/>
              <a:gd name="connsiteX2" fmla="*/ 385110 w 398745"/>
              <a:gd name="connsiteY2" fmla="*/ 273368 h 647700"/>
              <a:gd name="connsiteX3" fmla="*/ 294623 w 398745"/>
              <a:gd name="connsiteY3" fmla="*/ 473393 h 647700"/>
              <a:gd name="connsiteX4" fmla="*/ 216518 w 398745"/>
              <a:gd name="connsiteY4" fmla="*/ 637223 h 647700"/>
              <a:gd name="connsiteX5" fmla="*/ 199373 w 398745"/>
              <a:gd name="connsiteY5" fmla="*/ 647700 h 647700"/>
              <a:gd name="connsiteX6" fmla="*/ 182228 w 398745"/>
              <a:gd name="connsiteY6" fmla="*/ 637223 h 647700"/>
              <a:gd name="connsiteX7" fmla="*/ 104123 w 398745"/>
              <a:gd name="connsiteY7" fmla="*/ 473393 h 647700"/>
              <a:gd name="connsiteX8" fmla="*/ 13635 w 398745"/>
              <a:gd name="connsiteY8" fmla="*/ 273368 h 647700"/>
              <a:gd name="connsiteX9" fmla="*/ 34590 w 398745"/>
              <a:gd name="connsiteY9" fmla="*/ 87630 h 647700"/>
              <a:gd name="connsiteX10" fmla="*/ 199373 w 398745"/>
              <a:gd name="connsiteY10"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8745" h="647700">
                <a:moveTo>
                  <a:pt x="199373" y="0"/>
                </a:moveTo>
                <a:cubicBezTo>
                  <a:pt x="265095" y="0"/>
                  <a:pt x="327008" y="32385"/>
                  <a:pt x="364155" y="87630"/>
                </a:cubicBezTo>
                <a:cubicBezTo>
                  <a:pt x="401303" y="141923"/>
                  <a:pt x="408923" y="211455"/>
                  <a:pt x="385110" y="273368"/>
                </a:cubicBezTo>
                <a:lnTo>
                  <a:pt x="294623" y="473393"/>
                </a:lnTo>
                <a:lnTo>
                  <a:pt x="216518" y="637223"/>
                </a:lnTo>
                <a:cubicBezTo>
                  <a:pt x="213660" y="643890"/>
                  <a:pt x="206993" y="647700"/>
                  <a:pt x="199373" y="647700"/>
                </a:cubicBezTo>
                <a:cubicBezTo>
                  <a:pt x="191753" y="647700"/>
                  <a:pt x="185085" y="643890"/>
                  <a:pt x="182228" y="637223"/>
                </a:cubicBezTo>
                <a:lnTo>
                  <a:pt x="104123" y="473393"/>
                </a:lnTo>
                <a:lnTo>
                  <a:pt x="13635" y="273368"/>
                </a:lnTo>
                <a:cubicBezTo>
                  <a:pt x="-10177" y="211455"/>
                  <a:pt x="-2557" y="141923"/>
                  <a:pt x="34590" y="87630"/>
                </a:cubicBezTo>
                <a:cubicBezTo>
                  <a:pt x="71738" y="32385"/>
                  <a:pt x="133650" y="0"/>
                  <a:pt x="199373" y="0"/>
                </a:cubicBez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0" rIns="36000" bIns="360000" rtlCol="0" anchor="ctr">
            <a:noAutofit/>
          </a:bodyPr>
          <a:lstStyle>
            <a:lvl1pPr marL="0" indent="0" algn="ctr">
              <a:buNone/>
              <a:defRPr kumimoji="0" lang="de-DE" sz="1200" b="1" i="0" u="none" strike="noStrike" kern="1200" cap="none" spc="0" normalizeH="0" baseline="0" dirty="0">
                <a:ln>
                  <a:noFill/>
                </a:ln>
                <a:solidFill>
                  <a:schemeClr val="bg2"/>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stStyle>
          <a:p>
            <a:pPr marL="228600" marR="0" lvl="0" indent="-228600" algn="ctr" defTabSz="914400" rtl="0" eaLnBrk="1" fontAlgn="auto" latinLnBrk="0" hangingPunct="1">
              <a:lnSpc>
                <a:spcPct val="100000"/>
              </a:lnSpc>
              <a:spcBef>
                <a:spcPts val="0"/>
              </a:spcBef>
              <a:spcAft>
                <a:spcPts val="0"/>
              </a:spcAft>
              <a:buClrTx/>
              <a:buSzTx/>
              <a:tabLst/>
              <a:defRPr/>
            </a:pPr>
            <a:r>
              <a:rPr lang="de-DE" dirty="0"/>
              <a:t>XX%</a:t>
            </a:r>
          </a:p>
        </p:txBody>
      </p:sp>
      <p:sp>
        <p:nvSpPr>
          <p:cNvPr id="59" name="Text Placeholder 58">
            <a:extLst>
              <a:ext uri="{FF2B5EF4-FFF2-40B4-BE49-F238E27FC236}">
                <a16:creationId xmlns:a16="http://schemas.microsoft.com/office/drawing/2014/main" id="{8A7F5F57-E296-C108-6329-AEE7F6A7F651}"/>
              </a:ext>
            </a:extLst>
          </p:cNvPr>
          <p:cNvSpPr>
            <a:spLocks noGrp="1"/>
          </p:cNvSpPr>
          <p:nvPr>
            <p:ph type="body" idx="27" hasCustomPrompt="1"/>
          </p:nvPr>
        </p:nvSpPr>
        <p:spPr>
          <a:xfrm>
            <a:off x="8085676" y="3552320"/>
            <a:ext cx="590073" cy="958480"/>
          </a:xfrm>
          <a:custGeom>
            <a:avLst/>
            <a:gdLst>
              <a:gd name="connsiteX0" fmla="*/ 199373 w 398745"/>
              <a:gd name="connsiteY0" fmla="*/ 0 h 647700"/>
              <a:gd name="connsiteX1" fmla="*/ 364155 w 398745"/>
              <a:gd name="connsiteY1" fmla="*/ 87630 h 647700"/>
              <a:gd name="connsiteX2" fmla="*/ 385110 w 398745"/>
              <a:gd name="connsiteY2" fmla="*/ 273368 h 647700"/>
              <a:gd name="connsiteX3" fmla="*/ 294623 w 398745"/>
              <a:gd name="connsiteY3" fmla="*/ 473393 h 647700"/>
              <a:gd name="connsiteX4" fmla="*/ 216518 w 398745"/>
              <a:gd name="connsiteY4" fmla="*/ 637223 h 647700"/>
              <a:gd name="connsiteX5" fmla="*/ 199373 w 398745"/>
              <a:gd name="connsiteY5" fmla="*/ 647700 h 647700"/>
              <a:gd name="connsiteX6" fmla="*/ 182228 w 398745"/>
              <a:gd name="connsiteY6" fmla="*/ 637223 h 647700"/>
              <a:gd name="connsiteX7" fmla="*/ 104123 w 398745"/>
              <a:gd name="connsiteY7" fmla="*/ 473393 h 647700"/>
              <a:gd name="connsiteX8" fmla="*/ 13635 w 398745"/>
              <a:gd name="connsiteY8" fmla="*/ 273368 h 647700"/>
              <a:gd name="connsiteX9" fmla="*/ 34590 w 398745"/>
              <a:gd name="connsiteY9" fmla="*/ 87630 h 647700"/>
              <a:gd name="connsiteX10" fmla="*/ 199373 w 398745"/>
              <a:gd name="connsiteY10"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8745" h="647700">
                <a:moveTo>
                  <a:pt x="199373" y="0"/>
                </a:moveTo>
                <a:cubicBezTo>
                  <a:pt x="265095" y="0"/>
                  <a:pt x="327008" y="32385"/>
                  <a:pt x="364155" y="87630"/>
                </a:cubicBezTo>
                <a:cubicBezTo>
                  <a:pt x="401303" y="141923"/>
                  <a:pt x="408923" y="211455"/>
                  <a:pt x="385110" y="273368"/>
                </a:cubicBezTo>
                <a:lnTo>
                  <a:pt x="294623" y="473393"/>
                </a:lnTo>
                <a:lnTo>
                  <a:pt x="216518" y="637223"/>
                </a:lnTo>
                <a:cubicBezTo>
                  <a:pt x="213660" y="643890"/>
                  <a:pt x="206993" y="647700"/>
                  <a:pt x="199373" y="647700"/>
                </a:cubicBezTo>
                <a:cubicBezTo>
                  <a:pt x="191753" y="647700"/>
                  <a:pt x="185085" y="643890"/>
                  <a:pt x="182228" y="637223"/>
                </a:cubicBezTo>
                <a:lnTo>
                  <a:pt x="104123" y="473393"/>
                </a:lnTo>
                <a:lnTo>
                  <a:pt x="13635" y="273368"/>
                </a:lnTo>
                <a:cubicBezTo>
                  <a:pt x="-10177" y="211455"/>
                  <a:pt x="-2557" y="141923"/>
                  <a:pt x="34590" y="87630"/>
                </a:cubicBezTo>
                <a:cubicBezTo>
                  <a:pt x="71738" y="32385"/>
                  <a:pt x="133650" y="0"/>
                  <a:pt x="199373" y="0"/>
                </a:cubicBezTo>
                <a:close/>
              </a:path>
            </a:pathLst>
          </a:custGeom>
          <a:solidFill>
            <a:srgbClr val="7A268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0" rIns="36000" bIns="360000" rtlCol="0" anchor="ctr">
            <a:noAutofit/>
          </a:bodyPr>
          <a:lstStyle>
            <a:lvl1pPr marL="0" indent="0" algn="ctr">
              <a:buNone/>
              <a:defRPr kumimoji="0" lang="de-DE" sz="1200" b="1" i="0" u="none" strike="noStrike" kern="1200" cap="none" spc="0" normalizeH="0" baseline="0" dirty="0">
                <a:ln>
                  <a:noFill/>
                </a:ln>
                <a:solidFill>
                  <a:schemeClr val="bg2"/>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stStyle>
          <a:p>
            <a:pPr marL="228600" marR="0" lvl="0" indent="-228600" algn="ctr" defTabSz="914400" rtl="0" eaLnBrk="1" fontAlgn="auto" latinLnBrk="0" hangingPunct="1">
              <a:lnSpc>
                <a:spcPct val="100000"/>
              </a:lnSpc>
              <a:spcBef>
                <a:spcPts val="0"/>
              </a:spcBef>
              <a:spcAft>
                <a:spcPts val="0"/>
              </a:spcAft>
              <a:buClrTx/>
              <a:buSzTx/>
              <a:tabLst/>
              <a:defRPr/>
            </a:pPr>
            <a:r>
              <a:rPr lang="de-DE" dirty="0"/>
              <a:t>XX%</a:t>
            </a:r>
          </a:p>
        </p:txBody>
      </p:sp>
      <p:sp>
        <p:nvSpPr>
          <p:cNvPr id="60" name="Text Placeholder 59">
            <a:extLst>
              <a:ext uri="{FF2B5EF4-FFF2-40B4-BE49-F238E27FC236}">
                <a16:creationId xmlns:a16="http://schemas.microsoft.com/office/drawing/2014/main" id="{974196E8-29A9-454C-4818-C3FC722670A0}"/>
              </a:ext>
            </a:extLst>
          </p:cNvPr>
          <p:cNvSpPr>
            <a:spLocks noGrp="1"/>
          </p:cNvSpPr>
          <p:nvPr>
            <p:ph type="body" idx="28" hasCustomPrompt="1"/>
          </p:nvPr>
        </p:nvSpPr>
        <p:spPr>
          <a:xfrm>
            <a:off x="9619201" y="2680012"/>
            <a:ext cx="590073" cy="958480"/>
          </a:xfrm>
          <a:custGeom>
            <a:avLst/>
            <a:gdLst>
              <a:gd name="connsiteX0" fmla="*/ 199373 w 398745"/>
              <a:gd name="connsiteY0" fmla="*/ 0 h 647700"/>
              <a:gd name="connsiteX1" fmla="*/ 364155 w 398745"/>
              <a:gd name="connsiteY1" fmla="*/ 87630 h 647700"/>
              <a:gd name="connsiteX2" fmla="*/ 385110 w 398745"/>
              <a:gd name="connsiteY2" fmla="*/ 273368 h 647700"/>
              <a:gd name="connsiteX3" fmla="*/ 294623 w 398745"/>
              <a:gd name="connsiteY3" fmla="*/ 473393 h 647700"/>
              <a:gd name="connsiteX4" fmla="*/ 216518 w 398745"/>
              <a:gd name="connsiteY4" fmla="*/ 637223 h 647700"/>
              <a:gd name="connsiteX5" fmla="*/ 199373 w 398745"/>
              <a:gd name="connsiteY5" fmla="*/ 647700 h 647700"/>
              <a:gd name="connsiteX6" fmla="*/ 182228 w 398745"/>
              <a:gd name="connsiteY6" fmla="*/ 637223 h 647700"/>
              <a:gd name="connsiteX7" fmla="*/ 104123 w 398745"/>
              <a:gd name="connsiteY7" fmla="*/ 473393 h 647700"/>
              <a:gd name="connsiteX8" fmla="*/ 13635 w 398745"/>
              <a:gd name="connsiteY8" fmla="*/ 273368 h 647700"/>
              <a:gd name="connsiteX9" fmla="*/ 34590 w 398745"/>
              <a:gd name="connsiteY9" fmla="*/ 87630 h 647700"/>
              <a:gd name="connsiteX10" fmla="*/ 199373 w 398745"/>
              <a:gd name="connsiteY10"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8745" h="647700">
                <a:moveTo>
                  <a:pt x="199373" y="0"/>
                </a:moveTo>
                <a:cubicBezTo>
                  <a:pt x="265095" y="0"/>
                  <a:pt x="327008" y="32385"/>
                  <a:pt x="364155" y="87630"/>
                </a:cubicBezTo>
                <a:cubicBezTo>
                  <a:pt x="401303" y="141923"/>
                  <a:pt x="408923" y="211455"/>
                  <a:pt x="385110" y="273368"/>
                </a:cubicBezTo>
                <a:lnTo>
                  <a:pt x="294623" y="473393"/>
                </a:lnTo>
                <a:lnTo>
                  <a:pt x="216518" y="637223"/>
                </a:lnTo>
                <a:cubicBezTo>
                  <a:pt x="213660" y="643890"/>
                  <a:pt x="206993" y="647700"/>
                  <a:pt x="199373" y="647700"/>
                </a:cubicBezTo>
                <a:cubicBezTo>
                  <a:pt x="191753" y="647700"/>
                  <a:pt x="185085" y="643890"/>
                  <a:pt x="182228" y="637223"/>
                </a:cubicBezTo>
                <a:lnTo>
                  <a:pt x="104123" y="473393"/>
                </a:lnTo>
                <a:lnTo>
                  <a:pt x="13635" y="273368"/>
                </a:lnTo>
                <a:cubicBezTo>
                  <a:pt x="-10177" y="211455"/>
                  <a:pt x="-2557" y="141923"/>
                  <a:pt x="34590" y="87630"/>
                </a:cubicBezTo>
                <a:cubicBezTo>
                  <a:pt x="71738" y="32385"/>
                  <a:pt x="133650" y="0"/>
                  <a:pt x="199373" y="0"/>
                </a:cubicBezTo>
                <a:close/>
              </a:path>
            </a:pathLst>
          </a:custGeom>
          <a:solidFill>
            <a:srgbClr val="FF5C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0" rIns="36000" bIns="360000" rtlCol="0" anchor="ctr">
            <a:noAutofit/>
          </a:bodyPr>
          <a:lstStyle>
            <a:lvl1pPr marL="0" indent="0" algn="ctr">
              <a:buNone/>
              <a:defRPr kumimoji="0" lang="de-DE" sz="1200" b="1" i="0" u="none" strike="noStrike" kern="1200" cap="none" spc="0" normalizeH="0" baseline="0" dirty="0">
                <a:ln>
                  <a:noFill/>
                </a:ln>
                <a:solidFill>
                  <a:schemeClr val="bg2"/>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stStyle>
          <a:p>
            <a:pPr marL="228600" marR="0" lvl="0" indent="-228600" algn="ctr" defTabSz="914400" rtl="0" eaLnBrk="1" fontAlgn="auto" latinLnBrk="0" hangingPunct="1">
              <a:lnSpc>
                <a:spcPct val="100000"/>
              </a:lnSpc>
              <a:spcBef>
                <a:spcPts val="0"/>
              </a:spcBef>
              <a:spcAft>
                <a:spcPts val="0"/>
              </a:spcAft>
              <a:buClrTx/>
              <a:buSzTx/>
              <a:tabLst/>
              <a:defRPr/>
            </a:pPr>
            <a:r>
              <a:rPr lang="de-DE" dirty="0"/>
              <a:t>XX%</a:t>
            </a:r>
          </a:p>
        </p:txBody>
      </p:sp>
      <p:sp>
        <p:nvSpPr>
          <p:cNvPr id="61" name="Text Placeholder 60">
            <a:extLst>
              <a:ext uri="{FF2B5EF4-FFF2-40B4-BE49-F238E27FC236}">
                <a16:creationId xmlns:a16="http://schemas.microsoft.com/office/drawing/2014/main" id="{17B36E7E-5363-C1FB-A97D-0DBE0489DCEA}"/>
              </a:ext>
            </a:extLst>
          </p:cNvPr>
          <p:cNvSpPr>
            <a:spLocks noGrp="1"/>
          </p:cNvSpPr>
          <p:nvPr>
            <p:ph type="body" idx="29" hasCustomPrompt="1"/>
          </p:nvPr>
        </p:nvSpPr>
        <p:spPr>
          <a:xfrm>
            <a:off x="10482687" y="4246875"/>
            <a:ext cx="590073" cy="958480"/>
          </a:xfrm>
          <a:custGeom>
            <a:avLst/>
            <a:gdLst>
              <a:gd name="connsiteX0" fmla="*/ 199373 w 398745"/>
              <a:gd name="connsiteY0" fmla="*/ 0 h 647700"/>
              <a:gd name="connsiteX1" fmla="*/ 364155 w 398745"/>
              <a:gd name="connsiteY1" fmla="*/ 87630 h 647700"/>
              <a:gd name="connsiteX2" fmla="*/ 385110 w 398745"/>
              <a:gd name="connsiteY2" fmla="*/ 273368 h 647700"/>
              <a:gd name="connsiteX3" fmla="*/ 294623 w 398745"/>
              <a:gd name="connsiteY3" fmla="*/ 473393 h 647700"/>
              <a:gd name="connsiteX4" fmla="*/ 216518 w 398745"/>
              <a:gd name="connsiteY4" fmla="*/ 637223 h 647700"/>
              <a:gd name="connsiteX5" fmla="*/ 199373 w 398745"/>
              <a:gd name="connsiteY5" fmla="*/ 647700 h 647700"/>
              <a:gd name="connsiteX6" fmla="*/ 182228 w 398745"/>
              <a:gd name="connsiteY6" fmla="*/ 637223 h 647700"/>
              <a:gd name="connsiteX7" fmla="*/ 104123 w 398745"/>
              <a:gd name="connsiteY7" fmla="*/ 473393 h 647700"/>
              <a:gd name="connsiteX8" fmla="*/ 13635 w 398745"/>
              <a:gd name="connsiteY8" fmla="*/ 273368 h 647700"/>
              <a:gd name="connsiteX9" fmla="*/ 34590 w 398745"/>
              <a:gd name="connsiteY9" fmla="*/ 87630 h 647700"/>
              <a:gd name="connsiteX10" fmla="*/ 199373 w 398745"/>
              <a:gd name="connsiteY10"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8745" h="647700">
                <a:moveTo>
                  <a:pt x="199373" y="0"/>
                </a:moveTo>
                <a:cubicBezTo>
                  <a:pt x="265095" y="0"/>
                  <a:pt x="327008" y="32385"/>
                  <a:pt x="364155" y="87630"/>
                </a:cubicBezTo>
                <a:cubicBezTo>
                  <a:pt x="401303" y="141923"/>
                  <a:pt x="408923" y="211455"/>
                  <a:pt x="385110" y="273368"/>
                </a:cubicBezTo>
                <a:lnTo>
                  <a:pt x="294623" y="473393"/>
                </a:lnTo>
                <a:lnTo>
                  <a:pt x="216518" y="637223"/>
                </a:lnTo>
                <a:cubicBezTo>
                  <a:pt x="213660" y="643890"/>
                  <a:pt x="206993" y="647700"/>
                  <a:pt x="199373" y="647700"/>
                </a:cubicBezTo>
                <a:cubicBezTo>
                  <a:pt x="191753" y="647700"/>
                  <a:pt x="185085" y="643890"/>
                  <a:pt x="182228" y="637223"/>
                </a:cubicBezTo>
                <a:lnTo>
                  <a:pt x="104123" y="473393"/>
                </a:lnTo>
                <a:lnTo>
                  <a:pt x="13635" y="273368"/>
                </a:lnTo>
                <a:cubicBezTo>
                  <a:pt x="-10177" y="211455"/>
                  <a:pt x="-2557" y="141923"/>
                  <a:pt x="34590" y="87630"/>
                </a:cubicBezTo>
                <a:cubicBezTo>
                  <a:pt x="71738" y="32385"/>
                  <a:pt x="133650" y="0"/>
                  <a:pt x="199373" y="0"/>
                </a:cubicBezTo>
                <a:close/>
              </a:path>
            </a:pathLst>
          </a:custGeom>
          <a:solidFill>
            <a:srgbClr val="EBB7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0" rIns="36000" bIns="360000" rtlCol="0" anchor="ctr">
            <a:noAutofit/>
          </a:bodyPr>
          <a:lstStyle>
            <a:lvl1pPr marL="0" indent="0" algn="ctr">
              <a:buNone/>
              <a:defRPr kumimoji="0" lang="de-DE" sz="1200" b="1" i="0" u="none" strike="noStrike" kern="1200" cap="none" spc="0" normalizeH="0" baseline="0" dirty="0">
                <a:ln>
                  <a:noFill/>
                </a:ln>
                <a:solidFill>
                  <a:schemeClr val="bg2"/>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stStyle>
          <a:p>
            <a:pPr marL="228600" marR="0" lvl="0" indent="-228600" algn="ctr" defTabSz="914400" rtl="0" eaLnBrk="1" fontAlgn="auto" latinLnBrk="0" hangingPunct="1">
              <a:lnSpc>
                <a:spcPct val="100000"/>
              </a:lnSpc>
              <a:spcBef>
                <a:spcPts val="0"/>
              </a:spcBef>
              <a:spcAft>
                <a:spcPts val="0"/>
              </a:spcAft>
              <a:buClrTx/>
              <a:buSzTx/>
              <a:tabLst/>
              <a:defRPr/>
            </a:pPr>
            <a:r>
              <a:rPr lang="de-DE" dirty="0"/>
              <a:t>XX%</a:t>
            </a:r>
          </a:p>
        </p:txBody>
      </p:sp>
      <p:sp>
        <p:nvSpPr>
          <p:cNvPr id="7" name="Text Placeholder 9">
            <a:extLst>
              <a:ext uri="{FF2B5EF4-FFF2-40B4-BE49-F238E27FC236}">
                <a16:creationId xmlns:a16="http://schemas.microsoft.com/office/drawing/2014/main" id="{9FEA4C4D-A18B-E6EF-7A83-F3F4ACED8F7D}"/>
              </a:ext>
            </a:extLst>
          </p:cNvPr>
          <p:cNvSpPr>
            <a:spLocks noGrp="1"/>
          </p:cNvSpPr>
          <p:nvPr>
            <p:ph type="body" sz="quarter" idx="11"/>
          </p:nvPr>
        </p:nvSpPr>
        <p:spPr>
          <a:xfrm>
            <a:off x="323129" y="1055965"/>
            <a:ext cx="10283908" cy="338554"/>
          </a:xfrm>
          <a:prstGeom prst="rect">
            <a:avLst/>
          </a:prstGeom>
        </p:spPr>
        <p:txBody>
          <a:bodyPr/>
          <a:lstStyle>
            <a:lvl1pPr marL="0" indent="0" algn="l" defTabSz="914400" rtl="0" eaLnBrk="1" latinLnBrk="0" hangingPunct="1">
              <a:buNone/>
              <a:defRPr lang="en-US" sz="2400" kern="1200" dirty="0" smtClean="0">
                <a:solidFill>
                  <a:schemeClr val="tx1">
                    <a:lumMod val="75000"/>
                    <a:lumOff val="25000"/>
                  </a:schemeClr>
                </a:solidFill>
                <a:latin typeface="Arial" panose="020B0604020202020204" pitchFamily="34" charset="0"/>
                <a:ea typeface="+mn-ea"/>
                <a:cs typeface="Arial" panose="020B0604020202020204" pitchFamily="34" charset="0"/>
                <a:sym typeface="Arial" panose="020B0604020202020204" pitchFamily="34" charset="0"/>
              </a:defRPr>
            </a:lvl1pPr>
            <a:lvl2pPr marL="0" algn="l" defTabSz="914400" rtl="0" eaLnBrk="1" latinLnBrk="0" hangingPunct="1">
              <a:defRPr lang="en-US" sz="1600" kern="1200" dirty="0" smtClean="0">
                <a:solidFill>
                  <a:schemeClr val="tx1">
                    <a:lumMod val="75000"/>
                    <a:lumOff val="25000"/>
                  </a:schemeClr>
                </a:solidFill>
                <a:latin typeface="+mn-lt"/>
                <a:ea typeface="+mn-ea"/>
                <a:cs typeface="+mn-cs"/>
              </a:defRPr>
            </a:lvl2pPr>
            <a:lvl3pPr marL="0" algn="l" defTabSz="914400" rtl="0" eaLnBrk="1" latinLnBrk="0" hangingPunct="1">
              <a:defRPr lang="en-US" sz="1600" kern="1200" dirty="0" smtClean="0">
                <a:solidFill>
                  <a:schemeClr val="tx1">
                    <a:lumMod val="75000"/>
                    <a:lumOff val="25000"/>
                  </a:schemeClr>
                </a:solidFill>
                <a:latin typeface="+mn-lt"/>
                <a:ea typeface="+mn-ea"/>
                <a:cs typeface="+mn-cs"/>
              </a:defRPr>
            </a:lvl3pPr>
            <a:lvl4pPr marL="0" algn="l" defTabSz="914400" rtl="0" eaLnBrk="1" latinLnBrk="0" hangingPunct="1">
              <a:defRPr lang="en-US" sz="1600" kern="1200" dirty="0" smtClean="0">
                <a:solidFill>
                  <a:schemeClr val="tx1">
                    <a:lumMod val="75000"/>
                    <a:lumOff val="25000"/>
                  </a:schemeClr>
                </a:solidFill>
                <a:latin typeface="+mn-lt"/>
                <a:ea typeface="+mn-ea"/>
                <a:cs typeface="+mn-cs"/>
              </a:defRPr>
            </a:lvl4pPr>
            <a:lvl5pPr marL="0" algn="l" defTabSz="914400" rtl="0" eaLnBrk="1" latinLnBrk="0" hangingPunct="1">
              <a:defRPr lang="de-DE" sz="1600" kern="1200" dirty="0">
                <a:solidFill>
                  <a:schemeClr val="tx1">
                    <a:lumMod val="75000"/>
                    <a:lumOff val="25000"/>
                  </a:schemeClr>
                </a:solidFill>
                <a:latin typeface="+mn-lt"/>
                <a:ea typeface="+mn-ea"/>
                <a:cs typeface="+mn-cs"/>
              </a:defRPr>
            </a:lvl5pPr>
          </a:lstStyle>
          <a:p>
            <a:pPr lvl="0"/>
            <a:endParaRPr lang="de-DE" dirty="0"/>
          </a:p>
        </p:txBody>
      </p:sp>
      <p:pic>
        <p:nvPicPr>
          <p:cNvPr id="9" name="Picture 8">
            <a:extLst>
              <a:ext uri="{FF2B5EF4-FFF2-40B4-BE49-F238E27FC236}">
                <a16:creationId xmlns:a16="http://schemas.microsoft.com/office/drawing/2014/main" id="{7FEFBC4F-683A-9348-E036-D1F956F5E5B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22015" y="6266696"/>
            <a:ext cx="2044957" cy="430131"/>
          </a:xfrm>
          <a:prstGeom prst="rect">
            <a:avLst/>
          </a:prstGeom>
        </p:spPr>
      </p:pic>
    </p:spTree>
    <p:extLst>
      <p:ext uri="{BB962C8B-B14F-4D97-AF65-F5344CB8AC3E}">
        <p14:creationId xmlns:p14="http://schemas.microsoft.com/office/powerpoint/2010/main" val="6260887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_Thank you">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18299BE-7882-EFBD-5B59-5DD073C575E4}"/>
              </a:ext>
            </a:extLst>
          </p:cNvPr>
          <p:cNvGraphicFramePr>
            <a:graphicFrameLocks noChangeAspect="1"/>
          </p:cNvGraphicFramePr>
          <p:nvPr userDrawn="1">
            <p:custDataLst>
              <p:tags r:id="rId1"/>
            </p:custDataLst>
            <p:extLst>
              <p:ext uri="{D42A27DB-BD31-4B8C-83A1-F6EECF244321}">
                <p14:modId xmlns:p14="http://schemas.microsoft.com/office/powerpoint/2010/main" val="3971461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8F09FE6-37FB-E21D-3E94-1B1DB247310D}"/>
              </a:ext>
            </a:extLst>
          </p:cNvPr>
          <p:cNvPicPr>
            <a:picLocks noChangeAspect="1"/>
          </p:cNvPicPr>
          <p:nvPr userDrawn="1"/>
        </p:nvPicPr>
        <p:blipFill>
          <a:blip r:embed="rId5"/>
          <a:stretch>
            <a:fillRect/>
          </a:stretch>
        </p:blipFill>
        <p:spPr>
          <a:xfrm>
            <a:off x="-1" y="0"/>
            <a:ext cx="12192001" cy="6858000"/>
          </a:xfrm>
          <a:prstGeom prst="rect">
            <a:avLst/>
          </a:prstGeom>
        </p:spPr>
      </p:pic>
      <p:sp>
        <p:nvSpPr>
          <p:cNvPr id="2" name="Background - Overlay">
            <a:extLst>
              <a:ext uri="{FF2B5EF4-FFF2-40B4-BE49-F238E27FC236}">
                <a16:creationId xmlns:a16="http://schemas.microsoft.com/office/drawing/2014/main" id="{75D88D43-51A3-CB03-DF88-F977E9D6687D}"/>
              </a:ext>
            </a:extLst>
          </p:cNvPr>
          <p:cNvSpPr/>
          <p:nvPr userDrawn="1"/>
        </p:nvSpPr>
        <p:spPr>
          <a:xfrm>
            <a:off x="0" y="-1"/>
            <a:ext cx="12191999" cy="6858000"/>
          </a:xfrm>
          <a:prstGeom prst="rect">
            <a:avLst/>
          </a:prstGeom>
          <a:gradFill flip="none" rotWithShape="0">
            <a:gsLst>
              <a:gs pos="0">
                <a:srgbClr val="00338D">
                  <a:alpha val="90980"/>
                </a:srgbClr>
              </a:gs>
              <a:gs pos="100000">
                <a:srgbClr val="7A2582">
                  <a:alpha val="9098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dirty="0">
              <a:ln>
                <a:noFill/>
              </a:ln>
              <a:solidFill>
                <a:srgbClr val="FFFFFF">
                  <a:alpha val="44000"/>
                </a:srgbClr>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 name="Background - Solid">
            <a:extLst>
              <a:ext uri="{FF2B5EF4-FFF2-40B4-BE49-F238E27FC236}">
                <a16:creationId xmlns:a16="http://schemas.microsoft.com/office/drawing/2014/main" id="{841E4FA6-7F3C-2C2D-37F1-7444C6BF7F13}"/>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26" name="Straight Connector 25">
            <a:extLst>
              <a:ext uri="{FF2B5EF4-FFF2-40B4-BE49-F238E27FC236}">
                <a16:creationId xmlns:a16="http://schemas.microsoft.com/office/drawing/2014/main" id="{AA0F9576-2685-2FD3-37BF-6ACEC620FFA2}"/>
              </a:ext>
            </a:extLst>
          </p:cNvPr>
          <p:cNvCxnSpPr>
            <a:cxnSpLocks/>
          </p:cNvCxnSpPr>
          <p:nvPr userDrawn="1"/>
        </p:nvCxnSpPr>
        <p:spPr>
          <a:xfrm>
            <a:off x="4754154" y="4028262"/>
            <a:ext cx="2683692"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Text Placeholder 7">
            <a:extLst>
              <a:ext uri="{FF2B5EF4-FFF2-40B4-BE49-F238E27FC236}">
                <a16:creationId xmlns:a16="http://schemas.microsoft.com/office/drawing/2014/main" id="{CB84FA91-9888-9182-1D71-3AEC3DAEEB33}"/>
              </a:ext>
            </a:extLst>
          </p:cNvPr>
          <p:cNvSpPr>
            <a:spLocks noGrp="1"/>
          </p:cNvSpPr>
          <p:nvPr>
            <p:ph type="body" sz="quarter" idx="11"/>
          </p:nvPr>
        </p:nvSpPr>
        <p:spPr>
          <a:xfrm>
            <a:off x="1498602" y="4270295"/>
            <a:ext cx="9194798" cy="904863"/>
          </a:xfrm>
          <a:prstGeom prst="rect">
            <a:avLst/>
          </a:prstGeom>
        </p:spPr>
        <p:txBody>
          <a:bodyPr/>
          <a:lstStyle>
            <a:lvl1pPr marL="0" indent="0" algn="ctr" defTabSz="914400" rtl="0" eaLnBrk="1" latinLnBrk="0" hangingPunct="1">
              <a:lnSpc>
                <a:spcPct val="90000"/>
              </a:lnSpc>
              <a:buNone/>
              <a:defRPr lang="de-DE" sz="6600" b="1" kern="1200" dirty="0">
                <a:solidFill>
                  <a:schemeClr val="bg2"/>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vl2pPr marL="0" algn="l" defTabSz="914400" rtl="0" eaLnBrk="1" latinLnBrk="0" hangingPunct="1">
              <a:lnSpc>
                <a:spcPct val="90000"/>
              </a:lnSpc>
              <a:defRPr lang="en-US" sz="2800" b="1" kern="1200" dirty="0" smtClean="0">
                <a:solidFill>
                  <a:schemeClr val="accent1"/>
                </a:solidFill>
                <a:latin typeface="Arial"/>
                <a:ea typeface="+mn-ea"/>
                <a:cs typeface="+mn-cs"/>
              </a:defRPr>
            </a:lvl2pPr>
            <a:lvl3pPr marL="0" algn="l" defTabSz="914400" rtl="0" eaLnBrk="1" latinLnBrk="0" hangingPunct="1">
              <a:lnSpc>
                <a:spcPct val="90000"/>
              </a:lnSpc>
              <a:defRPr lang="en-US" sz="2800" b="1" kern="1200" dirty="0" smtClean="0">
                <a:solidFill>
                  <a:schemeClr val="accent1"/>
                </a:solidFill>
                <a:latin typeface="Arial"/>
                <a:ea typeface="+mn-ea"/>
                <a:cs typeface="+mn-cs"/>
              </a:defRPr>
            </a:lvl3pPr>
            <a:lvl4pPr marL="0" algn="l" defTabSz="914400" rtl="0" eaLnBrk="1" latinLnBrk="0" hangingPunct="1">
              <a:lnSpc>
                <a:spcPct val="90000"/>
              </a:lnSpc>
              <a:defRPr lang="en-US" sz="2800" b="1" kern="1200" dirty="0" smtClean="0">
                <a:solidFill>
                  <a:schemeClr val="accent1"/>
                </a:solidFill>
                <a:latin typeface="Arial"/>
                <a:ea typeface="+mn-ea"/>
                <a:cs typeface="+mn-cs"/>
              </a:defRPr>
            </a:lvl4pPr>
            <a:lvl5pPr marL="0" algn="l" defTabSz="914400" rtl="0" eaLnBrk="1" latinLnBrk="0" hangingPunct="1">
              <a:lnSpc>
                <a:spcPct val="90000"/>
              </a:lnSpc>
              <a:defRPr lang="de-DE" sz="2800" b="1" kern="1200" dirty="0">
                <a:solidFill>
                  <a:schemeClr val="accent1"/>
                </a:solidFill>
                <a:latin typeface="Arial"/>
                <a:ea typeface="+mn-ea"/>
                <a:cs typeface="+mn-cs"/>
              </a:defRPr>
            </a:lvl5pPr>
          </a:lstStyle>
          <a:p>
            <a:pPr marL="0" marR="0" lvl="0" indent="0" algn="ctr" defTabSz="914400" rtl="0" eaLnBrk="1" fontAlgn="base" latinLnBrk="0" hangingPunct="1">
              <a:lnSpc>
                <a:spcPct val="80000"/>
              </a:lnSpc>
              <a:spcBef>
                <a:spcPct val="0"/>
              </a:spcBef>
              <a:spcAft>
                <a:spcPts val="600"/>
              </a:spcAft>
              <a:buClrTx/>
              <a:buSzTx/>
              <a:buFontTx/>
              <a:buNone/>
              <a:tabLst/>
              <a:defRPr/>
            </a:pPr>
            <a:endParaRPr lang="de-DE" dirty="0"/>
          </a:p>
        </p:txBody>
      </p:sp>
      <p:pic>
        <p:nvPicPr>
          <p:cNvPr id="7" name="Picture 6" descr="A black and white sign with white text&#10;&#10;Description automatically generated">
            <a:extLst>
              <a:ext uri="{FF2B5EF4-FFF2-40B4-BE49-F238E27FC236}">
                <a16:creationId xmlns:a16="http://schemas.microsoft.com/office/drawing/2014/main" id="{D90BE77B-234C-0A3D-7FB0-F885592D5CE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89092" y="2172929"/>
            <a:ext cx="4813817" cy="1012526"/>
          </a:xfrm>
          <a:prstGeom prst="rect">
            <a:avLst/>
          </a:prstGeom>
        </p:spPr>
      </p:pic>
    </p:spTree>
    <p:extLst>
      <p:ext uri="{BB962C8B-B14F-4D97-AF65-F5344CB8AC3E}">
        <p14:creationId xmlns:p14="http://schemas.microsoft.com/office/powerpoint/2010/main" val="34616238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con Bibliothek">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F5CE0FD-097E-600A-A4C7-2F423F672BD6}"/>
              </a:ext>
            </a:extLst>
          </p:cNvPr>
          <p:cNvGraphicFramePr>
            <a:graphicFrameLocks noChangeAspect="1"/>
          </p:cNvGraphicFramePr>
          <p:nvPr userDrawn="1">
            <p:custDataLst>
              <p:tags r:id="rId1"/>
            </p:custDataLst>
            <p:extLst>
              <p:ext uri="{D42A27DB-BD31-4B8C-83A1-F6EECF244321}">
                <p14:modId xmlns:p14="http://schemas.microsoft.com/office/powerpoint/2010/main" val="2116213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ackground - Solid">
            <a:extLst>
              <a:ext uri="{FF2B5EF4-FFF2-40B4-BE49-F238E27FC236}">
                <a16:creationId xmlns:a16="http://schemas.microsoft.com/office/drawing/2014/main" id="{841E4FA6-7F3C-2C2D-37F1-7444C6BF7F13}"/>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5">
            <a:extLst>
              <a:ext uri="{FF2B5EF4-FFF2-40B4-BE49-F238E27FC236}">
                <a16:creationId xmlns:a16="http://schemas.microsoft.com/office/drawing/2014/main" id="{4A1036E1-081C-3694-F336-57602AF2D084}"/>
              </a:ext>
            </a:extLst>
          </p:cNvPr>
          <p:cNvSpPr txBox="1">
            <a:spLocks/>
          </p:cNvSpPr>
          <p:nvPr userDrawn="1"/>
        </p:nvSpPr>
        <p:spPr>
          <a:xfrm>
            <a:off x="9141577" y="629920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EB7FA4-D16D-498B-9843-862279835448}" type="slidenum">
              <a:rPr lang="en-GB" sz="1100" b="1" smtClean="0">
                <a:solidFill>
                  <a:schemeClr val="accent1"/>
                </a:solidFill>
                <a:latin typeface="Arial" panose="020B0604020202020204" pitchFamily="34" charset="0"/>
                <a:cs typeface="Arial" panose="020B0604020202020204" pitchFamily="34" charset="0"/>
                <a:sym typeface="Arial" panose="020B0604020202020204" pitchFamily="34" charset="0"/>
              </a:rPr>
              <a:pPr/>
              <a:t>‹Nr.›</a:t>
            </a:fld>
            <a:endParaRPr lang="en-GB" sz="1100" b="1" dirty="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grpSp>
        <p:nvGrpSpPr>
          <p:cNvPr id="11" name="Group 10">
            <a:extLst>
              <a:ext uri="{FF2B5EF4-FFF2-40B4-BE49-F238E27FC236}">
                <a16:creationId xmlns:a16="http://schemas.microsoft.com/office/drawing/2014/main" id="{11C83193-1A83-9A94-A385-D9F2374EBE56}"/>
              </a:ext>
            </a:extLst>
          </p:cNvPr>
          <p:cNvGrpSpPr/>
          <p:nvPr userDrawn="1"/>
        </p:nvGrpSpPr>
        <p:grpSpPr>
          <a:xfrm>
            <a:off x="10312668" y="1036919"/>
            <a:ext cx="674100" cy="4784163"/>
            <a:chOff x="10349454" y="1036919"/>
            <a:chExt cx="674100" cy="4784163"/>
          </a:xfrm>
          <a:solidFill>
            <a:schemeClr val="accent1"/>
          </a:solidFill>
        </p:grpSpPr>
        <p:pic>
          <p:nvPicPr>
            <p:cNvPr id="13" name="Graphic 12" descr="Good Idea with solid fill">
              <a:extLst>
                <a:ext uri="{FF2B5EF4-FFF2-40B4-BE49-F238E27FC236}">
                  <a16:creationId xmlns:a16="http://schemas.microsoft.com/office/drawing/2014/main" id="{CA46F820-5E5F-2962-D6B4-B9D489442B8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49454" y="1036919"/>
              <a:ext cx="674100" cy="674100"/>
            </a:xfrm>
            <a:prstGeom prst="rect">
              <a:avLst/>
            </a:prstGeom>
          </p:spPr>
        </p:pic>
        <p:pic>
          <p:nvPicPr>
            <p:cNvPr id="17" name="Graphic 16" descr="Presentation with bar chart with solid fill">
              <a:extLst>
                <a:ext uri="{FF2B5EF4-FFF2-40B4-BE49-F238E27FC236}">
                  <a16:creationId xmlns:a16="http://schemas.microsoft.com/office/drawing/2014/main" id="{8AC0CE4C-A6CD-B9C6-C557-A8150034022D}"/>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49454" y="2406940"/>
              <a:ext cx="674100" cy="674100"/>
            </a:xfrm>
            <a:prstGeom prst="rect">
              <a:avLst/>
            </a:prstGeom>
          </p:spPr>
        </p:pic>
        <p:pic>
          <p:nvPicPr>
            <p:cNvPr id="26" name="Graphic 25" descr="Paperclip with solid fill">
              <a:extLst>
                <a:ext uri="{FF2B5EF4-FFF2-40B4-BE49-F238E27FC236}">
                  <a16:creationId xmlns:a16="http://schemas.microsoft.com/office/drawing/2014/main" id="{7A356D02-50A4-2EC4-F2A3-6C9818CE77C4}"/>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349454" y="3776961"/>
              <a:ext cx="674100" cy="674100"/>
            </a:xfrm>
            <a:prstGeom prst="rect">
              <a:avLst/>
            </a:prstGeom>
          </p:spPr>
        </p:pic>
        <p:pic>
          <p:nvPicPr>
            <p:cNvPr id="31" name="Graphic 30" descr="Signature with solid fill">
              <a:extLst>
                <a:ext uri="{FF2B5EF4-FFF2-40B4-BE49-F238E27FC236}">
                  <a16:creationId xmlns:a16="http://schemas.microsoft.com/office/drawing/2014/main" id="{07E6CE16-2903-A5DE-9780-935C2CFBD73F}"/>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349454" y="5146982"/>
              <a:ext cx="674100" cy="674100"/>
            </a:xfrm>
            <a:prstGeom prst="rect">
              <a:avLst/>
            </a:prstGeom>
          </p:spPr>
        </p:pic>
      </p:grpSp>
      <p:grpSp>
        <p:nvGrpSpPr>
          <p:cNvPr id="32" name="Group 31">
            <a:extLst>
              <a:ext uri="{FF2B5EF4-FFF2-40B4-BE49-F238E27FC236}">
                <a16:creationId xmlns:a16="http://schemas.microsoft.com/office/drawing/2014/main" id="{9C267CEF-2DEB-AA14-2CC5-E680C0036134}"/>
              </a:ext>
            </a:extLst>
          </p:cNvPr>
          <p:cNvGrpSpPr/>
          <p:nvPr userDrawn="1"/>
        </p:nvGrpSpPr>
        <p:grpSpPr>
          <a:xfrm>
            <a:off x="9011605" y="1036919"/>
            <a:ext cx="674100" cy="4784163"/>
            <a:chOff x="8662766" y="1036919"/>
            <a:chExt cx="674100" cy="4784163"/>
          </a:xfrm>
          <a:solidFill>
            <a:schemeClr val="accent1"/>
          </a:solidFill>
        </p:grpSpPr>
        <p:pic>
          <p:nvPicPr>
            <p:cNvPr id="33" name="Graphic 32" descr="Inventory with solid fill">
              <a:extLst>
                <a:ext uri="{FF2B5EF4-FFF2-40B4-BE49-F238E27FC236}">
                  <a16:creationId xmlns:a16="http://schemas.microsoft.com/office/drawing/2014/main" id="{D562F6E6-F704-BD99-8098-9D3EB2B6E11E}"/>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662766" y="1036919"/>
              <a:ext cx="674100" cy="674100"/>
            </a:xfrm>
            <a:prstGeom prst="rect">
              <a:avLst/>
            </a:prstGeom>
          </p:spPr>
        </p:pic>
        <p:pic>
          <p:nvPicPr>
            <p:cNvPr id="37" name="Graphic 36" descr="Bar chart with solid fill">
              <a:extLst>
                <a:ext uri="{FF2B5EF4-FFF2-40B4-BE49-F238E27FC236}">
                  <a16:creationId xmlns:a16="http://schemas.microsoft.com/office/drawing/2014/main" id="{1224FEB7-0637-5217-ED30-74E435CB6037}"/>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662766" y="2406940"/>
              <a:ext cx="674100" cy="674100"/>
            </a:xfrm>
            <a:prstGeom prst="rect">
              <a:avLst/>
            </a:prstGeom>
          </p:spPr>
        </p:pic>
        <p:pic>
          <p:nvPicPr>
            <p:cNvPr id="38" name="Graphic 37" descr="Open folder with solid fill">
              <a:extLst>
                <a:ext uri="{FF2B5EF4-FFF2-40B4-BE49-F238E27FC236}">
                  <a16:creationId xmlns:a16="http://schemas.microsoft.com/office/drawing/2014/main" id="{18808B81-F1F3-3C47-1F59-22C8EA3D8C44}"/>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8662766" y="3776961"/>
              <a:ext cx="674100" cy="674100"/>
            </a:xfrm>
            <a:prstGeom prst="rect">
              <a:avLst/>
            </a:prstGeom>
          </p:spPr>
        </p:pic>
        <p:pic>
          <p:nvPicPr>
            <p:cNvPr id="39" name="Graphic 38" descr="Customer review with solid fill">
              <a:extLst>
                <a:ext uri="{FF2B5EF4-FFF2-40B4-BE49-F238E27FC236}">
                  <a16:creationId xmlns:a16="http://schemas.microsoft.com/office/drawing/2014/main" id="{CF3871E7-E74F-E3B4-D98A-40783FD3ADC2}"/>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8662766" y="5146982"/>
              <a:ext cx="674100" cy="674100"/>
            </a:xfrm>
            <a:prstGeom prst="rect">
              <a:avLst/>
            </a:prstGeom>
          </p:spPr>
        </p:pic>
      </p:grpSp>
      <p:grpSp>
        <p:nvGrpSpPr>
          <p:cNvPr id="40" name="Group 39">
            <a:extLst>
              <a:ext uri="{FF2B5EF4-FFF2-40B4-BE49-F238E27FC236}">
                <a16:creationId xmlns:a16="http://schemas.microsoft.com/office/drawing/2014/main" id="{4513E844-C995-D7FF-07A1-D88341524D7D}"/>
              </a:ext>
            </a:extLst>
          </p:cNvPr>
          <p:cNvGrpSpPr/>
          <p:nvPr userDrawn="1"/>
        </p:nvGrpSpPr>
        <p:grpSpPr>
          <a:xfrm>
            <a:off x="7710543" y="1036919"/>
            <a:ext cx="674100" cy="4784163"/>
            <a:chOff x="7523504" y="1036919"/>
            <a:chExt cx="674100" cy="4784163"/>
          </a:xfrm>
          <a:solidFill>
            <a:schemeClr val="accent1"/>
          </a:solidFill>
        </p:grpSpPr>
        <p:pic>
          <p:nvPicPr>
            <p:cNvPr id="41" name="Graphic 40" descr="Produce with solid fill">
              <a:extLst>
                <a:ext uri="{FF2B5EF4-FFF2-40B4-BE49-F238E27FC236}">
                  <a16:creationId xmlns:a16="http://schemas.microsoft.com/office/drawing/2014/main" id="{D2A6A0DC-6E2F-FFB1-0581-1A68A45C67D7}"/>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7523504" y="1036919"/>
              <a:ext cx="674100" cy="674100"/>
            </a:xfrm>
            <a:prstGeom prst="rect">
              <a:avLst/>
            </a:prstGeom>
          </p:spPr>
        </p:pic>
        <p:pic>
          <p:nvPicPr>
            <p:cNvPr id="42" name="Graphic 41" descr="Pie chart with solid fill">
              <a:extLst>
                <a:ext uri="{FF2B5EF4-FFF2-40B4-BE49-F238E27FC236}">
                  <a16:creationId xmlns:a16="http://schemas.microsoft.com/office/drawing/2014/main" id="{D118D5D7-5DF3-14BE-869D-F6984F5F4A68}"/>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7523504" y="2406940"/>
              <a:ext cx="674100" cy="674100"/>
            </a:xfrm>
            <a:prstGeom prst="rect">
              <a:avLst/>
            </a:prstGeom>
          </p:spPr>
        </p:pic>
        <p:pic>
          <p:nvPicPr>
            <p:cNvPr id="43" name="Graphic 42" descr="Pen with solid fill">
              <a:extLst>
                <a:ext uri="{FF2B5EF4-FFF2-40B4-BE49-F238E27FC236}">
                  <a16:creationId xmlns:a16="http://schemas.microsoft.com/office/drawing/2014/main" id="{065BFB35-E6D1-079B-8231-2D631C7EA2CC}"/>
                </a:ext>
              </a:extLst>
            </p:cNvPr>
            <p:cNvPicPr>
              <a:picLocks noChangeAspect="1"/>
            </p:cNvPicPr>
            <p:nvPr/>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7523504" y="3776961"/>
              <a:ext cx="674100" cy="674100"/>
            </a:xfrm>
            <a:prstGeom prst="rect">
              <a:avLst/>
            </a:prstGeom>
          </p:spPr>
        </p:pic>
        <p:pic>
          <p:nvPicPr>
            <p:cNvPr id="44" name="Graphic 43" descr="Management with solid fill">
              <a:extLst>
                <a:ext uri="{FF2B5EF4-FFF2-40B4-BE49-F238E27FC236}">
                  <a16:creationId xmlns:a16="http://schemas.microsoft.com/office/drawing/2014/main" id="{690AEEEB-793C-44D1-8D60-164D5FE8081A}"/>
                </a:ext>
              </a:extLst>
            </p:cNvPr>
            <p:cNvPicPr>
              <a:picLocks noChangeAspect="1"/>
            </p:cNvPicPr>
            <p:nvPr/>
          </p:nvPicPr>
          <p:blipFill>
            <a:blip r:embed="rId27">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7523504" y="5146982"/>
              <a:ext cx="674100" cy="674100"/>
            </a:xfrm>
            <a:prstGeom prst="rect">
              <a:avLst/>
            </a:prstGeom>
          </p:spPr>
        </p:pic>
      </p:grpSp>
      <p:grpSp>
        <p:nvGrpSpPr>
          <p:cNvPr id="45" name="Group 44">
            <a:extLst>
              <a:ext uri="{FF2B5EF4-FFF2-40B4-BE49-F238E27FC236}">
                <a16:creationId xmlns:a16="http://schemas.microsoft.com/office/drawing/2014/main" id="{3D017C61-CD4A-5814-8B74-DA95365C28A9}"/>
              </a:ext>
            </a:extLst>
          </p:cNvPr>
          <p:cNvGrpSpPr/>
          <p:nvPr userDrawn="1"/>
        </p:nvGrpSpPr>
        <p:grpSpPr>
          <a:xfrm>
            <a:off x="6409481" y="1036919"/>
            <a:ext cx="674100" cy="4784163"/>
            <a:chOff x="6355301" y="1036919"/>
            <a:chExt cx="674100" cy="4784163"/>
          </a:xfrm>
          <a:solidFill>
            <a:schemeClr val="accent1"/>
          </a:solidFill>
        </p:grpSpPr>
        <p:pic>
          <p:nvPicPr>
            <p:cNvPr id="46" name="Graphic 45" descr="Freight with solid fill">
              <a:extLst>
                <a:ext uri="{FF2B5EF4-FFF2-40B4-BE49-F238E27FC236}">
                  <a16:creationId xmlns:a16="http://schemas.microsoft.com/office/drawing/2014/main" id="{C2F067E3-B967-5F0F-DC12-354748C82E6A}"/>
                </a:ext>
              </a:extLst>
            </p:cNvPr>
            <p:cNvPicPr>
              <a:picLocks noChangeAspect="1"/>
            </p:cNvPicPr>
            <p:nvPr/>
          </p:nvPicPr>
          <p:blipFill>
            <a:blip r:embed="rId29">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6355301" y="1036919"/>
              <a:ext cx="674100" cy="674100"/>
            </a:xfrm>
            <a:prstGeom prst="rect">
              <a:avLst/>
            </a:prstGeom>
          </p:spPr>
        </p:pic>
        <p:pic>
          <p:nvPicPr>
            <p:cNvPr id="47" name="Graphic 46" descr="Folder with solid fill">
              <a:extLst>
                <a:ext uri="{FF2B5EF4-FFF2-40B4-BE49-F238E27FC236}">
                  <a16:creationId xmlns:a16="http://schemas.microsoft.com/office/drawing/2014/main" id="{2670E6D0-8E6A-06AA-F258-E29340F8FC88}"/>
                </a:ext>
              </a:extLst>
            </p:cNvPr>
            <p:cNvPicPr>
              <a:picLocks noChangeAspect="1"/>
            </p:cNvPicPr>
            <p:nvPr/>
          </p:nvPicPr>
          <p:blipFill>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6355301" y="2406940"/>
              <a:ext cx="674100" cy="674100"/>
            </a:xfrm>
            <a:prstGeom prst="rect">
              <a:avLst/>
            </a:prstGeom>
          </p:spPr>
        </p:pic>
        <p:pic>
          <p:nvPicPr>
            <p:cNvPr id="48" name="Graphic 47" descr="Business Growth with solid fill">
              <a:extLst>
                <a:ext uri="{FF2B5EF4-FFF2-40B4-BE49-F238E27FC236}">
                  <a16:creationId xmlns:a16="http://schemas.microsoft.com/office/drawing/2014/main" id="{B8E663CD-B378-A281-D676-8DDEBBC74183}"/>
                </a:ext>
              </a:extLst>
            </p:cNvPr>
            <p:cNvPicPr>
              <a:picLocks noChangeAspect="1"/>
            </p:cNvPicPr>
            <p:nvPr/>
          </p:nvPicPr>
          <p:blipFill>
            <a:blip r:embed="rId33">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6355301" y="3776961"/>
              <a:ext cx="674100" cy="674100"/>
            </a:xfrm>
            <a:prstGeom prst="rect">
              <a:avLst/>
            </a:prstGeom>
          </p:spPr>
        </p:pic>
        <p:pic>
          <p:nvPicPr>
            <p:cNvPr id="49" name="Graphic 48" descr="Office Chair with solid fill">
              <a:extLst>
                <a:ext uri="{FF2B5EF4-FFF2-40B4-BE49-F238E27FC236}">
                  <a16:creationId xmlns:a16="http://schemas.microsoft.com/office/drawing/2014/main" id="{59989F45-F8C9-72DA-0274-BD2A38C963DE}"/>
                </a:ext>
              </a:extLst>
            </p:cNvPr>
            <p:cNvPicPr>
              <a:picLocks noChangeAspect="1"/>
            </p:cNvPicPr>
            <p:nvPr/>
          </p:nvPicPr>
          <p:blipFill>
            <a:blip r:embed="rId35">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6355301" y="5146982"/>
              <a:ext cx="674100" cy="674100"/>
            </a:xfrm>
            <a:prstGeom prst="rect">
              <a:avLst/>
            </a:prstGeom>
          </p:spPr>
        </p:pic>
      </p:grpSp>
      <p:grpSp>
        <p:nvGrpSpPr>
          <p:cNvPr id="50" name="Group 49">
            <a:extLst>
              <a:ext uri="{FF2B5EF4-FFF2-40B4-BE49-F238E27FC236}">
                <a16:creationId xmlns:a16="http://schemas.microsoft.com/office/drawing/2014/main" id="{58BF4F8C-F95B-D76D-F7C5-BE7A0ED257D5}"/>
              </a:ext>
            </a:extLst>
          </p:cNvPr>
          <p:cNvGrpSpPr/>
          <p:nvPr userDrawn="1"/>
        </p:nvGrpSpPr>
        <p:grpSpPr>
          <a:xfrm>
            <a:off x="5108419" y="1036919"/>
            <a:ext cx="674100" cy="4784163"/>
            <a:chOff x="4900728" y="1036919"/>
            <a:chExt cx="674100" cy="4784163"/>
          </a:xfrm>
          <a:solidFill>
            <a:schemeClr val="accent1"/>
          </a:solidFill>
        </p:grpSpPr>
        <p:pic>
          <p:nvPicPr>
            <p:cNvPr id="51" name="Graphic 50" descr="Connections with solid fill">
              <a:extLst>
                <a:ext uri="{FF2B5EF4-FFF2-40B4-BE49-F238E27FC236}">
                  <a16:creationId xmlns:a16="http://schemas.microsoft.com/office/drawing/2014/main" id="{C23E0FBC-0ADA-BF5B-5D5E-4CBD2F325397}"/>
                </a:ext>
              </a:extLst>
            </p:cNvPr>
            <p:cNvPicPr>
              <a:picLocks noChangeAspect="1"/>
            </p:cNvPicPr>
            <p:nvPr/>
          </p:nvPicPr>
          <p:blipFill>
            <a:blip r:embed="rId37">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4900728" y="1036919"/>
              <a:ext cx="674100" cy="674100"/>
            </a:xfrm>
            <a:prstGeom prst="rect">
              <a:avLst/>
            </a:prstGeom>
          </p:spPr>
        </p:pic>
        <p:pic>
          <p:nvPicPr>
            <p:cNvPr id="52" name="Graphic 51" descr="Stapler with solid fill">
              <a:extLst>
                <a:ext uri="{FF2B5EF4-FFF2-40B4-BE49-F238E27FC236}">
                  <a16:creationId xmlns:a16="http://schemas.microsoft.com/office/drawing/2014/main" id="{91836E21-CCA7-2C61-D6EA-0133E197D5B9}"/>
                </a:ext>
              </a:extLst>
            </p:cNvPr>
            <p:cNvPicPr>
              <a:picLocks noChangeAspect="1"/>
            </p:cNvPicPr>
            <p:nvPr/>
          </p:nvPicPr>
          <p:blipFill>
            <a:blip r:embed="rId39">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4900728" y="2406940"/>
              <a:ext cx="674100" cy="674100"/>
            </a:xfrm>
            <a:prstGeom prst="rect">
              <a:avLst/>
            </a:prstGeom>
          </p:spPr>
        </p:pic>
        <p:pic>
          <p:nvPicPr>
            <p:cNvPr id="53" name="Graphic 52" descr="Monthly calendar with solid fill">
              <a:extLst>
                <a:ext uri="{FF2B5EF4-FFF2-40B4-BE49-F238E27FC236}">
                  <a16:creationId xmlns:a16="http://schemas.microsoft.com/office/drawing/2014/main" id="{3ED383DF-4807-37FA-AFE7-120741D3347A}"/>
                </a:ext>
              </a:extLst>
            </p:cNvPr>
            <p:cNvPicPr>
              <a:picLocks noChangeAspect="1"/>
            </p:cNvPicPr>
            <p:nvPr/>
          </p:nvPicPr>
          <p:blipFill>
            <a:blip r:embed="rId41">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4900728" y="3776961"/>
              <a:ext cx="674100" cy="674100"/>
            </a:xfrm>
            <a:prstGeom prst="rect">
              <a:avLst/>
            </a:prstGeom>
          </p:spPr>
        </p:pic>
        <p:pic>
          <p:nvPicPr>
            <p:cNvPr id="54" name="Graphic 53" descr="Register with solid fill">
              <a:extLst>
                <a:ext uri="{FF2B5EF4-FFF2-40B4-BE49-F238E27FC236}">
                  <a16:creationId xmlns:a16="http://schemas.microsoft.com/office/drawing/2014/main" id="{047BE42B-D15C-1E20-90F5-C3D314FAF6E5}"/>
                </a:ext>
              </a:extLst>
            </p:cNvPr>
            <p:cNvPicPr>
              <a:picLocks noChangeAspect="1"/>
            </p:cNvPicPr>
            <p:nvPr/>
          </p:nvPicPr>
          <p:blipFill>
            <a:blip r:embed="rId43">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4900728" y="5146982"/>
              <a:ext cx="674100" cy="674100"/>
            </a:xfrm>
            <a:prstGeom prst="rect">
              <a:avLst/>
            </a:prstGeom>
          </p:spPr>
        </p:pic>
      </p:grpSp>
      <p:grpSp>
        <p:nvGrpSpPr>
          <p:cNvPr id="55" name="Group 54">
            <a:extLst>
              <a:ext uri="{FF2B5EF4-FFF2-40B4-BE49-F238E27FC236}">
                <a16:creationId xmlns:a16="http://schemas.microsoft.com/office/drawing/2014/main" id="{3244506E-769A-A9F9-EE5A-F81212A9244A}"/>
              </a:ext>
            </a:extLst>
          </p:cNvPr>
          <p:cNvGrpSpPr/>
          <p:nvPr userDrawn="1"/>
        </p:nvGrpSpPr>
        <p:grpSpPr>
          <a:xfrm>
            <a:off x="3807357" y="1036919"/>
            <a:ext cx="674100" cy="4784163"/>
            <a:chOff x="3774568" y="1036919"/>
            <a:chExt cx="674100" cy="4784163"/>
          </a:xfrm>
          <a:solidFill>
            <a:schemeClr val="accent1"/>
          </a:solidFill>
        </p:grpSpPr>
        <p:pic>
          <p:nvPicPr>
            <p:cNvPr id="56" name="Graphic 55" descr="Cycle with people with solid fill">
              <a:extLst>
                <a:ext uri="{FF2B5EF4-FFF2-40B4-BE49-F238E27FC236}">
                  <a16:creationId xmlns:a16="http://schemas.microsoft.com/office/drawing/2014/main" id="{92B503AE-0EAC-9AE8-A7BC-BAA49A342857}"/>
                </a:ext>
              </a:extLst>
            </p:cNvPr>
            <p:cNvPicPr>
              <a:picLocks noChangeAspect="1"/>
            </p:cNvPicPr>
            <p:nvPr/>
          </p:nvPicPr>
          <p:blipFill>
            <a:blip r:embed="rId45">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3774568" y="1036919"/>
              <a:ext cx="674100" cy="674100"/>
            </a:xfrm>
            <a:prstGeom prst="rect">
              <a:avLst/>
            </a:prstGeom>
          </p:spPr>
        </p:pic>
        <p:pic>
          <p:nvPicPr>
            <p:cNvPr id="57" name="Graphic 56" descr="Address Book with solid fill">
              <a:extLst>
                <a:ext uri="{FF2B5EF4-FFF2-40B4-BE49-F238E27FC236}">
                  <a16:creationId xmlns:a16="http://schemas.microsoft.com/office/drawing/2014/main" id="{C9EFBF0C-A787-86A5-7435-CD1F3D5DA7CF}"/>
                </a:ext>
              </a:extLst>
            </p:cNvPr>
            <p:cNvPicPr>
              <a:picLocks noChangeAspect="1"/>
            </p:cNvPicPr>
            <p:nvPr/>
          </p:nvPicPr>
          <p:blipFill>
            <a:blip r:embed="rId47">
              <a:extLst>
                <a:ext uri="{28A0092B-C50C-407E-A947-70E740481C1C}">
                  <a14:useLocalDpi xmlns:a14="http://schemas.microsoft.com/office/drawing/2010/main"/>
                </a:ext>
                <a:ext uri="{96DAC541-7B7A-43D3-8B79-37D633B846F1}">
                  <asvg:svgBlip xmlns:asvg="http://schemas.microsoft.com/office/drawing/2016/SVG/main" r:embed="rId48"/>
                </a:ext>
              </a:extLst>
            </a:blip>
            <a:stretch>
              <a:fillRect/>
            </a:stretch>
          </p:blipFill>
          <p:spPr>
            <a:xfrm>
              <a:off x="3774568" y="2406940"/>
              <a:ext cx="674100" cy="674100"/>
            </a:xfrm>
            <a:prstGeom prst="rect">
              <a:avLst/>
            </a:prstGeom>
          </p:spPr>
        </p:pic>
        <p:pic>
          <p:nvPicPr>
            <p:cNvPr id="58" name="Graphic 57" descr="Presentation with checklist with solid fill">
              <a:extLst>
                <a:ext uri="{FF2B5EF4-FFF2-40B4-BE49-F238E27FC236}">
                  <a16:creationId xmlns:a16="http://schemas.microsoft.com/office/drawing/2014/main" id="{90DD99E3-FDF1-55E9-3EF0-4274735A09E1}"/>
                </a:ext>
              </a:extLst>
            </p:cNvPr>
            <p:cNvPicPr>
              <a:picLocks noChangeAspect="1"/>
            </p:cNvPicPr>
            <p:nvPr/>
          </p:nvPicPr>
          <p:blipFill>
            <a:blip r:embed="rId49">
              <a:extLst>
                <a:ext uri="{28A0092B-C50C-407E-A947-70E740481C1C}">
                  <a14:useLocalDpi xmlns:a14="http://schemas.microsoft.com/office/drawing/2010/main"/>
                </a:ext>
                <a:ext uri="{96DAC541-7B7A-43D3-8B79-37D633B846F1}">
                  <asvg:svgBlip xmlns:asvg="http://schemas.microsoft.com/office/drawing/2016/SVG/main" r:embed="rId50"/>
                </a:ext>
              </a:extLst>
            </a:blip>
            <a:stretch>
              <a:fillRect/>
            </a:stretch>
          </p:blipFill>
          <p:spPr>
            <a:xfrm>
              <a:off x="3774568" y="3776961"/>
              <a:ext cx="674100" cy="674100"/>
            </a:xfrm>
            <a:prstGeom prst="rect">
              <a:avLst/>
            </a:prstGeom>
          </p:spPr>
        </p:pic>
        <p:pic>
          <p:nvPicPr>
            <p:cNvPr id="59" name="Graphic 58" descr="Questions with solid fill">
              <a:extLst>
                <a:ext uri="{FF2B5EF4-FFF2-40B4-BE49-F238E27FC236}">
                  <a16:creationId xmlns:a16="http://schemas.microsoft.com/office/drawing/2014/main" id="{E6A8DB01-A59B-CD27-D5E4-30D754990ADF}"/>
                </a:ext>
              </a:extLst>
            </p:cNvPr>
            <p:cNvPicPr>
              <a:picLocks noChangeAspect="1"/>
            </p:cNvPicPr>
            <p:nvPr/>
          </p:nvPicPr>
          <p:blipFill>
            <a:blip r:embed="rId51">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3774568" y="5146982"/>
              <a:ext cx="674100" cy="674100"/>
            </a:xfrm>
            <a:prstGeom prst="rect">
              <a:avLst/>
            </a:prstGeom>
          </p:spPr>
        </p:pic>
      </p:grpSp>
      <p:grpSp>
        <p:nvGrpSpPr>
          <p:cNvPr id="60" name="Group 59">
            <a:extLst>
              <a:ext uri="{FF2B5EF4-FFF2-40B4-BE49-F238E27FC236}">
                <a16:creationId xmlns:a16="http://schemas.microsoft.com/office/drawing/2014/main" id="{26AE82B5-EDFC-84C7-9ACE-98C996D4D1B6}"/>
              </a:ext>
            </a:extLst>
          </p:cNvPr>
          <p:cNvGrpSpPr/>
          <p:nvPr userDrawn="1"/>
        </p:nvGrpSpPr>
        <p:grpSpPr>
          <a:xfrm>
            <a:off x="2506295" y="1036919"/>
            <a:ext cx="674100" cy="4784163"/>
            <a:chOff x="2594153" y="1036919"/>
            <a:chExt cx="674100" cy="4784163"/>
          </a:xfrm>
          <a:solidFill>
            <a:schemeClr val="accent1"/>
          </a:solidFill>
        </p:grpSpPr>
        <p:pic>
          <p:nvPicPr>
            <p:cNvPr id="61" name="Graphic 60" descr="User network with solid fill">
              <a:extLst>
                <a:ext uri="{FF2B5EF4-FFF2-40B4-BE49-F238E27FC236}">
                  <a16:creationId xmlns:a16="http://schemas.microsoft.com/office/drawing/2014/main" id="{6B693814-578F-C123-AD3B-B5C42D281850}"/>
                </a:ext>
              </a:extLst>
            </p:cNvPr>
            <p:cNvPicPr>
              <a:picLocks noChangeAspect="1"/>
            </p:cNvPicPr>
            <p:nvPr/>
          </p:nvPicPr>
          <p:blipFill>
            <a:blip r:embed="rId53">
              <a:extLst>
                <a:ext uri="{28A0092B-C50C-407E-A947-70E740481C1C}">
                  <a14:useLocalDpi xmlns:a14="http://schemas.microsoft.com/office/drawing/2010/main"/>
                </a:ext>
                <a:ext uri="{96DAC541-7B7A-43D3-8B79-37D633B846F1}">
                  <asvg:svgBlip xmlns:asvg="http://schemas.microsoft.com/office/drawing/2016/SVG/main" r:embed="rId54"/>
                </a:ext>
              </a:extLst>
            </a:blip>
            <a:stretch>
              <a:fillRect/>
            </a:stretch>
          </p:blipFill>
          <p:spPr>
            <a:xfrm>
              <a:off x="2594153" y="1036919"/>
              <a:ext cx="674100" cy="674100"/>
            </a:xfrm>
            <a:prstGeom prst="rect">
              <a:avLst/>
            </a:prstGeom>
          </p:spPr>
        </p:pic>
        <p:pic>
          <p:nvPicPr>
            <p:cNvPr id="62" name="Graphic 61" descr="Board Of Directors with solid fill">
              <a:extLst>
                <a:ext uri="{FF2B5EF4-FFF2-40B4-BE49-F238E27FC236}">
                  <a16:creationId xmlns:a16="http://schemas.microsoft.com/office/drawing/2014/main" id="{0516B5D5-7D52-834C-CF35-C46E0AB17892}"/>
                </a:ext>
              </a:extLst>
            </p:cNvPr>
            <p:cNvPicPr>
              <a:picLocks noChangeAspect="1"/>
            </p:cNvPicPr>
            <p:nvPr/>
          </p:nvPicPr>
          <p:blipFill>
            <a:blip r:embed="rId55">
              <a:extLst>
                <a:ext uri="{28A0092B-C50C-407E-A947-70E740481C1C}">
                  <a14:useLocalDpi xmlns:a14="http://schemas.microsoft.com/office/drawing/2010/main"/>
                </a:ext>
                <a:ext uri="{96DAC541-7B7A-43D3-8B79-37D633B846F1}">
                  <asvg:svgBlip xmlns:asvg="http://schemas.microsoft.com/office/drawing/2016/SVG/main" r:embed="rId56"/>
                </a:ext>
              </a:extLst>
            </a:blip>
            <a:stretch>
              <a:fillRect/>
            </a:stretch>
          </p:blipFill>
          <p:spPr>
            <a:xfrm>
              <a:off x="2594153" y="2406940"/>
              <a:ext cx="674100" cy="674100"/>
            </a:xfrm>
            <a:prstGeom prst="rect">
              <a:avLst/>
            </a:prstGeom>
          </p:spPr>
        </p:pic>
        <p:pic>
          <p:nvPicPr>
            <p:cNvPr id="63" name="Graphic 62" descr="Presentation with media with solid fill">
              <a:extLst>
                <a:ext uri="{FF2B5EF4-FFF2-40B4-BE49-F238E27FC236}">
                  <a16:creationId xmlns:a16="http://schemas.microsoft.com/office/drawing/2014/main" id="{D177FAF4-97F3-2CB3-58A7-43FAF15FF39F}"/>
                </a:ext>
              </a:extLst>
            </p:cNvPr>
            <p:cNvPicPr>
              <a:picLocks noChangeAspect="1"/>
            </p:cNvPicPr>
            <p:nvPr/>
          </p:nvPicPr>
          <p:blipFill>
            <a:blip r:embed="rId57">
              <a:extLst>
                <a:ext uri="{28A0092B-C50C-407E-A947-70E740481C1C}">
                  <a14:useLocalDpi xmlns:a14="http://schemas.microsoft.com/office/drawing/2010/main"/>
                </a:ext>
                <a:ext uri="{96DAC541-7B7A-43D3-8B79-37D633B846F1}">
                  <asvg:svgBlip xmlns:asvg="http://schemas.microsoft.com/office/drawing/2016/SVG/main" r:embed="rId58"/>
                </a:ext>
              </a:extLst>
            </a:blip>
            <a:stretch>
              <a:fillRect/>
            </a:stretch>
          </p:blipFill>
          <p:spPr>
            <a:xfrm>
              <a:off x="2594153" y="3776961"/>
              <a:ext cx="674100" cy="674100"/>
            </a:xfrm>
            <a:prstGeom prst="rect">
              <a:avLst/>
            </a:prstGeom>
          </p:spPr>
        </p:pic>
        <p:pic>
          <p:nvPicPr>
            <p:cNvPr id="64" name="Graphic 63" descr="Clipboard with solid fill">
              <a:extLst>
                <a:ext uri="{FF2B5EF4-FFF2-40B4-BE49-F238E27FC236}">
                  <a16:creationId xmlns:a16="http://schemas.microsoft.com/office/drawing/2014/main" id="{59E5FD3B-BC8F-3CB2-F201-166F788523AD}"/>
                </a:ext>
              </a:extLst>
            </p:cNvPr>
            <p:cNvPicPr>
              <a:picLocks noChangeAspect="1"/>
            </p:cNvPicPr>
            <p:nvPr/>
          </p:nvPicPr>
          <p:blipFill>
            <a:blip r:embed="rId59">
              <a:extLst>
                <a:ext uri="{28A0092B-C50C-407E-A947-70E740481C1C}">
                  <a14:useLocalDpi xmlns:a14="http://schemas.microsoft.com/office/drawing/2010/main"/>
                </a:ext>
                <a:ext uri="{96DAC541-7B7A-43D3-8B79-37D633B846F1}">
                  <asvg:svgBlip xmlns:asvg="http://schemas.microsoft.com/office/drawing/2016/SVG/main" r:embed="rId60"/>
                </a:ext>
              </a:extLst>
            </a:blip>
            <a:stretch>
              <a:fillRect/>
            </a:stretch>
          </p:blipFill>
          <p:spPr>
            <a:xfrm>
              <a:off x="2594153" y="5146982"/>
              <a:ext cx="674100" cy="674100"/>
            </a:xfrm>
            <a:prstGeom prst="rect">
              <a:avLst/>
            </a:prstGeom>
          </p:spPr>
        </p:pic>
      </p:grpSp>
      <p:grpSp>
        <p:nvGrpSpPr>
          <p:cNvPr id="65" name="Group 64">
            <a:extLst>
              <a:ext uri="{FF2B5EF4-FFF2-40B4-BE49-F238E27FC236}">
                <a16:creationId xmlns:a16="http://schemas.microsoft.com/office/drawing/2014/main" id="{788119B4-F051-3AAE-6BE7-4F55313921D7}"/>
              </a:ext>
            </a:extLst>
          </p:cNvPr>
          <p:cNvGrpSpPr/>
          <p:nvPr userDrawn="1"/>
        </p:nvGrpSpPr>
        <p:grpSpPr>
          <a:xfrm>
            <a:off x="1205233" y="1036919"/>
            <a:ext cx="674100" cy="4784163"/>
            <a:chOff x="1242019" y="1036919"/>
            <a:chExt cx="674100" cy="4784163"/>
          </a:xfrm>
          <a:solidFill>
            <a:schemeClr val="accent1"/>
          </a:solidFill>
        </p:grpSpPr>
        <p:pic>
          <p:nvPicPr>
            <p:cNvPr id="66" name="Graphic 65" descr="Social distancing with solid fill">
              <a:extLst>
                <a:ext uri="{FF2B5EF4-FFF2-40B4-BE49-F238E27FC236}">
                  <a16:creationId xmlns:a16="http://schemas.microsoft.com/office/drawing/2014/main" id="{CCE0E110-21BA-E42C-5E71-7ADDA16FBF00}"/>
                </a:ext>
              </a:extLst>
            </p:cNvPr>
            <p:cNvPicPr>
              <a:picLocks noChangeAspect="1"/>
            </p:cNvPicPr>
            <p:nvPr/>
          </p:nvPicPr>
          <p:blipFill>
            <a:blip r:embed="rId61">
              <a:extLst>
                <a:ext uri="{28A0092B-C50C-407E-A947-70E740481C1C}">
                  <a14:useLocalDpi xmlns:a14="http://schemas.microsoft.com/office/drawing/2010/main"/>
                </a:ext>
                <a:ext uri="{96DAC541-7B7A-43D3-8B79-37D633B846F1}">
                  <asvg:svgBlip xmlns:asvg="http://schemas.microsoft.com/office/drawing/2016/SVG/main" r:embed="rId62"/>
                </a:ext>
              </a:extLst>
            </a:blip>
            <a:stretch>
              <a:fillRect/>
            </a:stretch>
          </p:blipFill>
          <p:spPr>
            <a:xfrm>
              <a:off x="1242019" y="1036919"/>
              <a:ext cx="674100" cy="674100"/>
            </a:xfrm>
            <a:prstGeom prst="rect">
              <a:avLst/>
            </a:prstGeom>
          </p:spPr>
        </p:pic>
        <p:pic>
          <p:nvPicPr>
            <p:cNvPr id="67" name="Graphic 66" descr="Inbox with solid fill">
              <a:extLst>
                <a:ext uri="{FF2B5EF4-FFF2-40B4-BE49-F238E27FC236}">
                  <a16:creationId xmlns:a16="http://schemas.microsoft.com/office/drawing/2014/main" id="{AEE6BE16-746D-A4F6-9CD9-F63B71E40C0B}"/>
                </a:ext>
              </a:extLst>
            </p:cNvPr>
            <p:cNvPicPr>
              <a:picLocks noChangeAspect="1"/>
            </p:cNvPicPr>
            <p:nvPr/>
          </p:nvPicPr>
          <p:blipFill>
            <a:blip r:embed="rId63">
              <a:extLst>
                <a:ext uri="{28A0092B-C50C-407E-A947-70E740481C1C}">
                  <a14:useLocalDpi xmlns:a14="http://schemas.microsoft.com/office/drawing/2010/main"/>
                </a:ext>
                <a:ext uri="{96DAC541-7B7A-43D3-8B79-37D633B846F1}">
                  <asvg:svgBlip xmlns:asvg="http://schemas.microsoft.com/office/drawing/2016/SVG/main" r:embed="rId64"/>
                </a:ext>
              </a:extLst>
            </a:blip>
            <a:stretch>
              <a:fillRect/>
            </a:stretch>
          </p:blipFill>
          <p:spPr>
            <a:xfrm>
              <a:off x="1242019" y="2406940"/>
              <a:ext cx="674100" cy="674100"/>
            </a:xfrm>
            <a:prstGeom prst="rect">
              <a:avLst/>
            </a:prstGeom>
          </p:spPr>
        </p:pic>
        <p:pic>
          <p:nvPicPr>
            <p:cNvPr id="68" name="Graphic 67" descr="Handshake with solid fill">
              <a:extLst>
                <a:ext uri="{FF2B5EF4-FFF2-40B4-BE49-F238E27FC236}">
                  <a16:creationId xmlns:a16="http://schemas.microsoft.com/office/drawing/2014/main" id="{85266109-C8E1-387E-F35F-769F3B50FA35}"/>
                </a:ext>
              </a:extLst>
            </p:cNvPr>
            <p:cNvPicPr>
              <a:picLocks noChangeAspect="1"/>
            </p:cNvPicPr>
            <p:nvPr/>
          </p:nvPicPr>
          <p:blipFill>
            <a:blip r:embed="rId65">
              <a:extLst>
                <a:ext uri="{28A0092B-C50C-407E-A947-70E740481C1C}">
                  <a14:useLocalDpi xmlns:a14="http://schemas.microsoft.com/office/drawing/2010/main"/>
                </a:ext>
                <a:ext uri="{96DAC541-7B7A-43D3-8B79-37D633B846F1}">
                  <asvg:svgBlip xmlns:asvg="http://schemas.microsoft.com/office/drawing/2016/SVG/main" r:embed="rId66"/>
                </a:ext>
              </a:extLst>
            </a:blip>
            <a:stretch>
              <a:fillRect/>
            </a:stretch>
          </p:blipFill>
          <p:spPr>
            <a:xfrm>
              <a:off x="1242019" y="3776961"/>
              <a:ext cx="674100" cy="674100"/>
            </a:xfrm>
            <a:prstGeom prst="rect">
              <a:avLst/>
            </a:prstGeom>
          </p:spPr>
        </p:pic>
        <p:pic>
          <p:nvPicPr>
            <p:cNvPr id="69" name="Graphic 68" descr="Person with idea with solid fill">
              <a:extLst>
                <a:ext uri="{FF2B5EF4-FFF2-40B4-BE49-F238E27FC236}">
                  <a16:creationId xmlns:a16="http://schemas.microsoft.com/office/drawing/2014/main" id="{4039DA02-E7D7-B332-223C-1A961C826B0D}"/>
                </a:ext>
              </a:extLst>
            </p:cNvPr>
            <p:cNvPicPr>
              <a:picLocks noChangeAspect="1"/>
            </p:cNvPicPr>
            <p:nvPr/>
          </p:nvPicPr>
          <p:blipFill>
            <a:blip r:embed="rId67">
              <a:extLst>
                <a:ext uri="{28A0092B-C50C-407E-A947-70E740481C1C}">
                  <a14:useLocalDpi xmlns:a14="http://schemas.microsoft.com/office/drawing/2010/main"/>
                </a:ext>
                <a:ext uri="{96DAC541-7B7A-43D3-8B79-37D633B846F1}">
                  <asvg:svgBlip xmlns:asvg="http://schemas.microsoft.com/office/drawing/2016/SVG/main" r:embed="rId68"/>
                </a:ext>
              </a:extLst>
            </a:blip>
            <a:stretch>
              <a:fillRect/>
            </a:stretch>
          </p:blipFill>
          <p:spPr>
            <a:xfrm>
              <a:off x="1242019" y="5146982"/>
              <a:ext cx="674100" cy="674100"/>
            </a:xfrm>
            <a:prstGeom prst="rect">
              <a:avLst/>
            </a:prstGeom>
          </p:spPr>
        </p:pic>
      </p:grpSp>
      <p:sp>
        <p:nvSpPr>
          <p:cNvPr id="2" name="Footer Placeholder 3">
            <a:extLst>
              <a:ext uri="{FF2B5EF4-FFF2-40B4-BE49-F238E27FC236}">
                <a16:creationId xmlns:a16="http://schemas.microsoft.com/office/drawing/2014/main" id="{CADF3016-94EE-88EE-652B-D84BE631735A}"/>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1">
                    <a:lumMod val="7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p>
        </p:txBody>
      </p:sp>
      <p:pic>
        <p:nvPicPr>
          <p:cNvPr id="3" name="Picture 2">
            <a:extLst>
              <a:ext uri="{FF2B5EF4-FFF2-40B4-BE49-F238E27FC236}">
                <a16:creationId xmlns:a16="http://schemas.microsoft.com/office/drawing/2014/main" id="{C726FF3C-9C46-6C98-3896-EE33AC6A6ED8}"/>
              </a:ext>
            </a:extLst>
          </p:cNvPr>
          <p:cNvPicPr>
            <a:picLocks noChangeAspect="1"/>
          </p:cNvPicPr>
          <p:nvPr userDrawn="1"/>
        </p:nvPicPr>
        <p:blipFill>
          <a:blip r:embed="rId69" cstate="print">
            <a:extLst>
              <a:ext uri="{28A0092B-C50C-407E-A947-70E740481C1C}">
                <a14:useLocalDpi xmlns:a14="http://schemas.microsoft.com/office/drawing/2010/main"/>
              </a:ext>
            </a:extLst>
          </a:blip>
          <a:stretch>
            <a:fillRect/>
          </a:stretch>
        </p:blipFill>
        <p:spPr>
          <a:xfrm>
            <a:off x="422015" y="6266696"/>
            <a:ext cx="2044957" cy="430131"/>
          </a:xfrm>
          <a:prstGeom prst="rect">
            <a:avLst/>
          </a:prstGeom>
        </p:spPr>
      </p:pic>
    </p:spTree>
    <p:extLst>
      <p:ext uri="{BB962C8B-B14F-4D97-AF65-F5344CB8AC3E}">
        <p14:creationId xmlns:p14="http://schemas.microsoft.com/office/powerpoint/2010/main" val="33356218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46B078-CEFE-09BD-85FE-560ABB3E8AEE}"/>
              </a:ext>
            </a:extLst>
          </p:cNvPr>
          <p:cNvGraphicFramePr>
            <a:graphicFrameLocks noChangeAspect="1"/>
          </p:cNvGraphicFramePr>
          <p:nvPr userDrawn="1">
            <p:custDataLst>
              <p:tags r:id="rId1"/>
            </p:custDataLst>
            <p:extLst>
              <p:ext uri="{D42A27DB-BD31-4B8C-83A1-F6EECF244321}">
                <p14:modId xmlns:p14="http://schemas.microsoft.com/office/powerpoint/2010/main" val="3336150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7" name="Object 6" hidden="1">
                        <a:extLst>
                          <a:ext uri="{FF2B5EF4-FFF2-40B4-BE49-F238E27FC236}">
                            <a16:creationId xmlns:a16="http://schemas.microsoft.com/office/drawing/2014/main" id="{2D46B078-CEFE-09BD-85FE-560ABB3E8A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21075D5-1056-64AB-E084-7CC4B975744F}"/>
              </a:ext>
            </a:extLst>
          </p:cNvPr>
          <p:cNvSpPr>
            <a:spLocks noGrp="1"/>
          </p:cNvSpPr>
          <p:nvPr>
            <p:ph type="sldNum" sz="quarter" idx="12"/>
          </p:nvPr>
        </p:nvSpPr>
        <p:spPr>
          <a:xfrm>
            <a:off x="8610600" y="6356350"/>
            <a:ext cx="2743200" cy="365125"/>
          </a:xfrm>
          <a:prstGeom prst="rect">
            <a:avLst/>
          </a:prstGeom>
        </p:spPr>
        <p:txBody>
          <a:bodyPr/>
          <a:lstStyle/>
          <a:p>
            <a:fld id="{47EC40C2-BF32-4D82-A80D-6D29D76EE066}" type="slidenum">
              <a:rPr lang="en-GB" smtClean="0"/>
              <a:t>‹Nr.›</a:t>
            </a:fld>
            <a:endParaRPr lang="en-GB"/>
          </a:p>
        </p:txBody>
      </p:sp>
    </p:spTree>
    <p:extLst>
      <p:ext uri="{BB962C8B-B14F-4D97-AF65-F5344CB8AC3E}">
        <p14:creationId xmlns:p14="http://schemas.microsoft.com/office/powerpoint/2010/main" val="394842562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 Bi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DF6468-1895-6EDF-4A81-565479EFD72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0" y="0"/>
            <a:ext cx="10323636" cy="6858000"/>
          </a:xfrm>
          <a:custGeom>
            <a:avLst/>
            <a:gdLst>
              <a:gd name="connsiteX0" fmla="*/ 0 w 10323636"/>
              <a:gd name="connsiteY0" fmla="*/ 0 h 6858000"/>
              <a:gd name="connsiteX1" fmla="*/ 2052567 w 10323636"/>
              <a:gd name="connsiteY1" fmla="*/ 0 h 6858000"/>
              <a:gd name="connsiteX2" fmla="*/ 10323636 w 10323636"/>
              <a:gd name="connsiteY2" fmla="*/ 0 h 6858000"/>
              <a:gd name="connsiteX3" fmla="*/ 6348932 w 10323636"/>
              <a:gd name="connsiteY3" fmla="*/ 6858000 h 6858000"/>
              <a:gd name="connsiteX4" fmla="*/ 994411 w 10323636"/>
              <a:gd name="connsiteY4" fmla="*/ 6858000 h 6858000"/>
              <a:gd name="connsiteX5" fmla="*/ 994411 w 10323636"/>
              <a:gd name="connsiteY5" fmla="*/ 6857999 h 6858000"/>
              <a:gd name="connsiteX6" fmla="*/ 0 w 10323636"/>
              <a:gd name="connsiteY6" fmla="*/ 685799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3636" h="6858000">
                <a:moveTo>
                  <a:pt x="0" y="0"/>
                </a:moveTo>
                <a:lnTo>
                  <a:pt x="2052567" y="0"/>
                </a:lnTo>
                <a:lnTo>
                  <a:pt x="10323636" y="0"/>
                </a:lnTo>
                <a:lnTo>
                  <a:pt x="6348932" y="6858000"/>
                </a:lnTo>
                <a:lnTo>
                  <a:pt x="994411" y="6858000"/>
                </a:lnTo>
                <a:lnTo>
                  <a:pt x="994411" y="6857999"/>
                </a:lnTo>
                <a:lnTo>
                  <a:pt x="0" y="6857999"/>
                </a:lnTo>
                <a:close/>
              </a:path>
            </a:pathLst>
          </a:custGeom>
        </p:spPr>
      </p:pic>
      <p:sp>
        <p:nvSpPr>
          <p:cNvPr id="4" name="Freeform: Shape 3">
            <a:extLst>
              <a:ext uri="{FF2B5EF4-FFF2-40B4-BE49-F238E27FC236}">
                <a16:creationId xmlns:a16="http://schemas.microsoft.com/office/drawing/2014/main" id="{FC7ACE24-0CD8-C424-4E3D-EF53D1ADF883}"/>
              </a:ext>
            </a:extLst>
          </p:cNvPr>
          <p:cNvSpPr/>
          <p:nvPr userDrawn="1"/>
        </p:nvSpPr>
        <p:spPr>
          <a:xfrm>
            <a:off x="0" y="-1"/>
            <a:ext cx="10323636" cy="6858001"/>
          </a:xfrm>
          <a:custGeom>
            <a:avLst/>
            <a:gdLst>
              <a:gd name="connsiteX0" fmla="*/ 0 w 10284071"/>
              <a:gd name="connsiteY0" fmla="*/ 0 h 6858001"/>
              <a:gd name="connsiteX1" fmla="*/ 2044700 w 10284071"/>
              <a:gd name="connsiteY1" fmla="*/ 0 h 6858001"/>
              <a:gd name="connsiteX2" fmla="*/ 2044700 w 10284071"/>
              <a:gd name="connsiteY2" fmla="*/ 1 h 6858001"/>
              <a:gd name="connsiteX3" fmla="*/ 10284071 w 10284071"/>
              <a:gd name="connsiteY3" fmla="*/ 1 h 6858001"/>
              <a:gd name="connsiteX4" fmla="*/ 6324600 w 10284071"/>
              <a:gd name="connsiteY4" fmla="*/ 6858001 h 6858001"/>
              <a:gd name="connsiteX5" fmla="*/ 990600 w 10284071"/>
              <a:gd name="connsiteY5" fmla="*/ 6858001 h 6858001"/>
              <a:gd name="connsiteX6" fmla="*/ 990600 w 10284071"/>
              <a:gd name="connsiteY6" fmla="*/ 6858000 h 6858001"/>
              <a:gd name="connsiteX7" fmla="*/ 0 w 10284071"/>
              <a:gd name="connsiteY7"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84071" h="6858001">
                <a:moveTo>
                  <a:pt x="0" y="0"/>
                </a:moveTo>
                <a:lnTo>
                  <a:pt x="2044700" y="0"/>
                </a:lnTo>
                <a:lnTo>
                  <a:pt x="2044700" y="1"/>
                </a:lnTo>
                <a:lnTo>
                  <a:pt x="10284071" y="1"/>
                </a:lnTo>
                <a:lnTo>
                  <a:pt x="6324600" y="6858001"/>
                </a:lnTo>
                <a:lnTo>
                  <a:pt x="990600" y="6858001"/>
                </a:lnTo>
                <a:lnTo>
                  <a:pt x="990600" y="6858000"/>
                </a:lnTo>
                <a:lnTo>
                  <a:pt x="0" y="6858000"/>
                </a:lnTo>
                <a:close/>
              </a:path>
            </a:pathLst>
          </a:custGeom>
          <a:gradFill flip="none" rotWithShape="0">
            <a:gsLst>
              <a:gs pos="0">
                <a:srgbClr val="00338D">
                  <a:alpha val="90980"/>
                </a:srgbClr>
              </a:gs>
              <a:gs pos="100000">
                <a:srgbClr val="7A2582">
                  <a:alpha val="9098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de-DE">
              <a:solidFill>
                <a:prstClr val="white">
                  <a:alpha val="44000"/>
                </a:prstClr>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ct 6" hidden="1">
            <a:extLst>
              <a:ext uri="{FF2B5EF4-FFF2-40B4-BE49-F238E27FC236}">
                <a16:creationId xmlns:a16="http://schemas.microsoft.com/office/drawing/2014/main" id="{2D46B078-CEFE-09BD-85FE-560ABB3E8AEE}"/>
              </a:ext>
            </a:extLst>
          </p:cNvPr>
          <p:cNvGraphicFramePr>
            <a:graphicFrameLocks noChangeAspect="1"/>
          </p:cNvGraphicFramePr>
          <p:nvPr userDrawn="1">
            <p:custDataLst>
              <p:tags r:id="rId1"/>
            </p:custDataLst>
            <p:extLst>
              <p:ext uri="{D42A27DB-BD31-4B8C-83A1-F6EECF244321}">
                <p14:modId xmlns:p14="http://schemas.microsoft.com/office/powerpoint/2010/main" val="150891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7" name="Object 6" hidden="1">
                        <a:extLst>
                          <a:ext uri="{FF2B5EF4-FFF2-40B4-BE49-F238E27FC236}">
                            <a16:creationId xmlns:a16="http://schemas.microsoft.com/office/drawing/2014/main" id="{2D46B078-CEFE-09BD-85FE-560ABB3E8A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Graphic 2">
            <a:extLst>
              <a:ext uri="{FF2B5EF4-FFF2-40B4-BE49-F238E27FC236}">
                <a16:creationId xmlns:a16="http://schemas.microsoft.com/office/drawing/2014/main" id="{978CC8C7-891F-16E0-F5D4-5F8AAB6951C8}"/>
              </a:ext>
            </a:extLst>
          </p:cNvPr>
          <p:cNvSpPr/>
          <p:nvPr userDrawn="1"/>
        </p:nvSpPr>
        <p:spPr>
          <a:xfrm>
            <a:off x="4860602" y="0"/>
            <a:ext cx="6858000" cy="6858000"/>
          </a:xfrm>
          <a:custGeom>
            <a:avLst/>
            <a:gdLst>
              <a:gd name="connsiteX0" fmla="*/ 2898529 w 6858000"/>
              <a:gd name="connsiteY0" fmla="*/ 6858000 h 6858000"/>
              <a:gd name="connsiteX1" fmla="*/ 6858000 w 6858000"/>
              <a:gd name="connsiteY1" fmla="*/ 0 h 6858000"/>
              <a:gd name="connsiteX2" fmla="*/ 3959471 w 6858000"/>
              <a:gd name="connsiteY2" fmla="*/ 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2898529" y="6858000"/>
                </a:moveTo>
                <a:lnTo>
                  <a:pt x="6858000" y="0"/>
                </a:lnTo>
                <a:lnTo>
                  <a:pt x="3959471" y="0"/>
                </a:lnTo>
                <a:lnTo>
                  <a:pt x="0" y="6858000"/>
                </a:lnTo>
                <a:close/>
              </a:path>
            </a:pathLst>
          </a:custGeom>
          <a:gradFill flip="none" rotWithShape="1">
            <a:gsLst>
              <a:gs pos="0">
                <a:schemeClr val="bg2">
                  <a:alpha val="0"/>
                </a:schemeClr>
              </a:gs>
              <a:gs pos="100000">
                <a:schemeClr val="bg2">
                  <a:alpha val="20000"/>
                </a:schemeClr>
              </a:gs>
            </a:gsLst>
            <a:lin ang="16200000" scaled="1"/>
            <a:tileRect/>
          </a:gradFill>
          <a:ln w="7938" cap="flat">
            <a:noFill/>
            <a:prstDash val="solid"/>
            <a:miter/>
          </a:ln>
        </p:spPr>
        <p:txBody>
          <a:bodyPr rtlCol="0" anchor="ctr"/>
          <a:lstStyle/>
          <a:p>
            <a:endParaRPr lang="en-US">
              <a:solidFill>
                <a:prstClr val="black"/>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30" name="Text Placeholder 27">
            <a:extLst>
              <a:ext uri="{FF2B5EF4-FFF2-40B4-BE49-F238E27FC236}">
                <a16:creationId xmlns:a16="http://schemas.microsoft.com/office/drawing/2014/main" id="{E586DFEC-49D0-20F6-028A-C02D4CE48ADF}"/>
              </a:ext>
            </a:extLst>
          </p:cNvPr>
          <p:cNvSpPr>
            <a:spLocks noGrp="1"/>
          </p:cNvSpPr>
          <p:nvPr>
            <p:ph type="body" sz="quarter" idx="19"/>
          </p:nvPr>
        </p:nvSpPr>
        <p:spPr>
          <a:xfrm>
            <a:off x="1325899" y="4581329"/>
            <a:ext cx="3017710" cy="360612"/>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1"/>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28" name="Text Placeholder 27">
            <a:extLst>
              <a:ext uri="{FF2B5EF4-FFF2-40B4-BE49-F238E27FC236}">
                <a16:creationId xmlns:a16="http://schemas.microsoft.com/office/drawing/2014/main" id="{7383A3EC-21F5-3A41-BA55-C9369FA86F71}"/>
              </a:ext>
            </a:extLst>
          </p:cNvPr>
          <p:cNvSpPr>
            <a:spLocks noGrp="1"/>
          </p:cNvSpPr>
          <p:nvPr>
            <p:ph type="body" sz="quarter" idx="17"/>
          </p:nvPr>
        </p:nvSpPr>
        <p:spPr>
          <a:xfrm>
            <a:off x="546625" y="2317715"/>
            <a:ext cx="4313977" cy="1446550"/>
          </a:xfrm>
          <a:prstGeom prst="rect">
            <a:avLst/>
          </a:prstGeom>
        </p:spPr>
        <p:txBody>
          <a:bodyPr/>
          <a:lstStyle>
            <a:lvl1pPr marL="0" indent="0" algn="l" defTabSz="914400" rtl="0" eaLnBrk="1" latinLnBrk="0" hangingPunct="1">
              <a:buNone/>
              <a:defRPr lang="en-GB" sz="4400" b="1" kern="1200" dirty="0">
                <a:solidFill>
                  <a:schemeClr val="accent4"/>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lvl="0"/>
            <a:endParaRPr lang="en-GB" dirty="0"/>
          </a:p>
        </p:txBody>
      </p:sp>
      <p:sp>
        <p:nvSpPr>
          <p:cNvPr id="29" name="Text Placeholder 27">
            <a:extLst>
              <a:ext uri="{FF2B5EF4-FFF2-40B4-BE49-F238E27FC236}">
                <a16:creationId xmlns:a16="http://schemas.microsoft.com/office/drawing/2014/main" id="{427BB830-D4F7-8D1A-8CBB-651545BB1C81}"/>
              </a:ext>
            </a:extLst>
          </p:cNvPr>
          <p:cNvSpPr>
            <a:spLocks noGrp="1"/>
          </p:cNvSpPr>
          <p:nvPr>
            <p:ph type="body" sz="quarter" idx="18"/>
          </p:nvPr>
        </p:nvSpPr>
        <p:spPr>
          <a:xfrm>
            <a:off x="546625" y="3810504"/>
            <a:ext cx="4313977" cy="424732"/>
          </a:xfrm>
          <a:prstGeom prst="rect">
            <a:avLst/>
          </a:prstGeom>
        </p:spPr>
        <p:txBody>
          <a:bodyPr/>
          <a:lstStyle>
            <a:lvl1pPr marL="0" indent="0" algn="l" defTabSz="914400" rtl="0" eaLnBrk="1" latinLnBrk="0" hangingPunct="1">
              <a:buNone/>
              <a:defRPr kumimoji="0" lang="en-GB" sz="2000" strike="noStrike" kern="1200" cap="none" spc="0" normalizeH="0" baseline="0" dirty="0">
                <a:ln>
                  <a:noFill/>
                </a:ln>
                <a:solidFill>
                  <a:srgbClr val="FFFFFF"/>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GB" dirty="0"/>
          </a:p>
        </p:txBody>
      </p:sp>
      <p:sp>
        <p:nvSpPr>
          <p:cNvPr id="16" name="Parallelogram 15">
            <a:extLst>
              <a:ext uri="{FF2B5EF4-FFF2-40B4-BE49-F238E27FC236}">
                <a16:creationId xmlns:a16="http://schemas.microsoft.com/office/drawing/2014/main" id="{2094E519-8E2B-2B93-448C-9B89575F52FD}"/>
              </a:ext>
            </a:extLst>
          </p:cNvPr>
          <p:cNvSpPr/>
          <p:nvPr userDrawn="1"/>
        </p:nvSpPr>
        <p:spPr>
          <a:xfrm>
            <a:off x="596420" y="5183268"/>
            <a:ext cx="745946" cy="436894"/>
          </a:xfrm>
          <a:prstGeom prst="parallelogram">
            <a:avLst>
              <a:gd name="adj" fmla="val 56566"/>
            </a:avLst>
          </a:pr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black"/>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pic>
        <p:nvPicPr>
          <p:cNvPr id="22" name="Graphic 21" descr="Email with solid fill">
            <a:extLst>
              <a:ext uri="{FF2B5EF4-FFF2-40B4-BE49-F238E27FC236}">
                <a16:creationId xmlns:a16="http://schemas.microsoft.com/office/drawing/2014/main" id="{28F40432-BA67-3D8B-E014-1C9F27AF8E40}"/>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30098" y="5262420"/>
            <a:ext cx="278590" cy="278590"/>
          </a:xfrm>
          <a:prstGeom prst="rect">
            <a:avLst/>
          </a:prstGeom>
        </p:spPr>
      </p:pic>
      <p:sp>
        <p:nvSpPr>
          <p:cNvPr id="24" name="Parallelogram 23">
            <a:extLst>
              <a:ext uri="{FF2B5EF4-FFF2-40B4-BE49-F238E27FC236}">
                <a16:creationId xmlns:a16="http://schemas.microsoft.com/office/drawing/2014/main" id="{1CA3B60A-FF37-458E-B2F3-CFAB4BD31051}"/>
              </a:ext>
            </a:extLst>
          </p:cNvPr>
          <p:cNvSpPr/>
          <p:nvPr userDrawn="1"/>
        </p:nvSpPr>
        <p:spPr>
          <a:xfrm>
            <a:off x="596420" y="4543188"/>
            <a:ext cx="745946" cy="436894"/>
          </a:xfrm>
          <a:prstGeom prst="parallelogram">
            <a:avLst>
              <a:gd name="adj" fmla="val 56566"/>
            </a:avLst>
          </a:pr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pic>
        <p:nvPicPr>
          <p:cNvPr id="26" name="Graphic 25" descr="World with solid fill">
            <a:extLst>
              <a:ext uri="{FF2B5EF4-FFF2-40B4-BE49-F238E27FC236}">
                <a16:creationId xmlns:a16="http://schemas.microsoft.com/office/drawing/2014/main" id="{EC193956-BE70-B75F-90F6-BD72444196FD}"/>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0098" y="4622340"/>
            <a:ext cx="278590" cy="278590"/>
          </a:xfrm>
          <a:prstGeom prst="rect">
            <a:avLst/>
          </a:prstGeom>
        </p:spPr>
      </p:pic>
      <p:sp>
        <p:nvSpPr>
          <p:cNvPr id="27" name="Text Placeholder 27">
            <a:extLst>
              <a:ext uri="{FF2B5EF4-FFF2-40B4-BE49-F238E27FC236}">
                <a16:creationId xmlns:a16="http://schemas.microsoft.com/office/drawing/2014/main" id="{C771B09C-8A2C-AF59-F935-D71348795E5A}"/>
              </a:ext>
            </a:extLst>
          </p:cNvPr>
          <p:cNvSpPr>
            <a:spLocks noGrp="1"/>
          </p:cNvSpPr>
          <p:nvPr>
            <p:ph type="body" sz="quarter" idx="21"/>
          </p:nvPr>
        </p:nvSpPr>
        <p:spPr>
          <a:xfrm>
            <a:off x="1325899" y="5221409"/>
            <a:ext cx="3017710" cy="360612"/>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1"/>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8" name="Picture Placeholder 7">
            <a:extLst>
              <a:ext uri="{FF2B5EF4-FFF2-40B4-BE49-F238E27FC236}">
                <a16:creationId xmlns:a16="http://schemas.microsoft.com/office/drawing/2014/main" id="{198B9BFE-1D45-6902-3BD3-8103E3134602}"/>
              </a:ext>
            </a:extLst>
          </p:cNvPr>
          <p:cNvSpPr>
            <a:spLocks noGrp="1"/>
          </p:cNvSpPr>
          <p:nvPr>
            <p:ph type="pic" sz="quarter" idx="22"/>
          </p:nvPr>
        </p:nvSpPr>
        <p:spPr>
          <a:xfrm>
            <a:off x="6288965" y="1"/>
            <a:ext cx="5903035" cy="6857998"/>
          </a:xfrm>
          <a:custGeom>
            <a:avLst/>
            <a:gdLst>
              <a:gd name="connsiteX0" fmla="*/ 3879296 w 5903035"/>
              <a:gd name="connsiteY0" fmla="*/ 0 h 6857998"/>
              <a:gd name="connsiteX1" fmla="*/ 5903035 w 5903035"/>
              <a:gd name="connsiteY1" fmla="*/ 0 h 6857998"/>
              <a:gd name="connsiteX2" fmla="*/ 5903035 w 5903035"/>
              <a:gd name="connsiteY2" fmla="*/ 6857998 h 6857998"/>
              <a:gd name="connsiteX3" fmla="*/ 0 w 5903035"/>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5903035" h="6857998">
                <a:moveTo>
                  <a:pt x="3879296" y="0"/>
                </a:moveTo>
                <a:lnTo>
                  <a:pt x="5903035" y="0"/>
                </a:lnTo>
                <a:lnTo>
                  <a:pt x="5903035" y="6857998"/>
                </a:lnTo>
                <a:lnTo>
                  <a:pt x="0" y="6857998"/>
                </a:lnTo>
                <a:close/>
              </a:path>
            </a:pathLst>
          </a:custGeom>
          <a:pattFill prst="pct20">
            <a:fgClr>
              <a:schemeClr val="accent2"/>
            </a:fgClr>
            <a:bgClr>
              <a:schemeClr val="bg1"/>
            </a:bgClr>
          </a:pattFill>
          <a:ln w="12700" cap="flat">
            <a:noFill/>
            <a:prstDash val="solid"/>
            <a:miter/>
          </a:ln>
          <a:effectLst>
            <a:outerShdw blurRad="685800" dist="38100" dir="10800000" algn="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1800"/>
            </a:lvl1pPr>
          </a:lstStyle>
          <a:p>
            <a:pPr marL="0" lvl="0"/>
            <a:endParaRPr lang="en-GB"/>
          </a:p>
        </p:txBody>
      </p:sp>
      <p:pic>
        <p:nvPicPr>
          <p:cNvPr id="2" name="Picture 1" descr="A black and white sign with white text&#10;&#10;Description automatically generated">
            <a:extLst>
              <a:ext uri="{FF2B5EF4-FFF2-40B4-BE49-F238E27FC236}">
                <a16:creationId xmlns:a16="http://schemas.microsoft.com/office/drawing/2014/main" id="{EE91F8F1-AAED-ED3D-F07D-02990E1CEBF0}"/>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571087" y="1237838"/>
            <a:ext cx="3406554" cy="716526"/>
          </a:xfrm>
          <a:prstGeom prst="rect">
            <a:avLst/>
          </a:prstGeom>
        </p:spPr>
      </p:pic>
    </p:spTree>
    <p:extLst>
      <p:ext uri="{BB962C8B-B14F-4D97-AF65-F5344CB8AC3E}">
        <p14:creationId xmlns:p14="http://schemas.microsoft.com/office/powerpoint/2010/main" val="134325006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ontent_Headline + leer">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B20EFF45-AF23-527A-74FE-FD2324CEA34A}"/>
              </a:ext>
            </a:extLst>
          </p:cNvPr>
          <p:cNvSpPr>
            <a:spLocks noGrp="1"/>
          </p:cNvSpPr>
          <p:nvPr>
            <p:ph type="body" sz="quarter" idx="10"/>
          </p:nvPr>
        </p:nvSpPr>
        <p:spPr>
          <a:xfrm>
            <a:off x="323129" y="407551"/>
            <a:ext cx="10283909" cy="480131"/>
          </a:xfrm>
          <a:prstGeom prst="rect">
            <a:avLst/>
          </a:prstGeom>
        </p:spPr>
        <p:txBody>
          <a:bodyPr/>
          <a:lstStyle>
            <a:lvl1pPr marL="0" indent="0" algn="l" defTabSz="914400" rtl="0" eaLnBrk="1" latinLnBrk="0" hangingPunct="1">
              <a:lnSpc>
                <a:spcPct val="90000"/>
              </a:lnSpc>
              <a:buNone/>
              <a:defRPr lang="en-US" sz="2800" b="1" kern="1200" dirty="0" smtClean="0">
                <a:solidFill>
                  <a:schemeClr val="accent1"/>
                </a:solidFill>
                <a:latin typeface="Arial"/>
                <a:ea typeface="+mn-ea"/>
                <a:cs typeface="+mn-cs"/>
              </a:defRPr>
            </a:lvl1pPr>
            <a:lvl2pPr marL="0" algn="l" defTabSz="914400" rtl="0" eaLnBrk="1" latinLnBrk="0" hangingPunct="1">
              <a:lnSpc>
                <a:spcPct val="90000"/>
              </a:lnSpc>
              <a:defRPr lang="en-US" sz="2800" b="1" kern="1200" dirty="0" smtClean="0">
                <a:solidFill>
                  <a:schemeClr val="accent1"/>
                </a:solidFill>
                <a:latin typeface="Arial"/>
                <a:ea typeface="+mn-ea"/>
                <a:cs typeface="+mn-cs"/>
              </a:defRPr>
            </a:lvl2pPr>
            <a:lvl3pPr marL="0" algn="l" defTabSz="914400" rtl="0" eaLnBrk="1" latinLnBrk="0" hangingPunct="1">
              <a:lnSpc>
                <a:spcPct val="90000"/>
              </a:lnSpc>
              <a:defRPr lang="en-US" sz="2800" b="1" kern="1200" dirty="0" smtClean="0">
                <a:solidFill>
                  <a:schemeClr val="accent1"/>
                </a:solidFill>
                <a:latin typeface="Arial"/>
                <a:ea typeface="+mn-ea"/>
                <a:cs typeface="+mn-cs"/>
              </a:defRPr>
            </a:lvl3pPr>
            <a:lvl4pPr marL="0" algn="l" defTabSz="914400" rtl="0" eaLnBrk="1" latinLnBrk="0" hangingPunct="1">
              <a:lnSpc>
                <a:spcPct val="90000"/>
              </a:lnSpc>
              <a:defRPr lang="en-US" sz="2800" b="1" kern="1200" dirty="0" smtClean="0">
                <a:solidFill>
                  <a:schemeClr val="accent1"/>
                </a:solidFill>
                <a:latin typeface="Arial"/>
                <a:ea typeface="+mn-ea"/>
                <a:cs typeface="+mn-cs"/>
              </a:defRPr>
            </a:lvl4pPr>
            <a:lvl5pPr marL="0" algn="l" defTabSz="914400" rtl="0" eaLnBrk="1" latinLnBrk="0" hangingPunct="1">
              <a:lnSpc>
                <a:spcPct val="90000"/>
              </a:lnSpc>
              <a:defRPr lang="de-DE" sz="2800" b="1" kern="1200" dirty="0">
                <a:solidFill>
                  <a:schemeClr val="accent1"/>
                </a:solidFill>
                <a:latin typeface="Arial"/>
                <a:ea typeface="+mn-ea"/>
                <a:cs typeface="+mn-cs"/>
              </a:defRPr>
            </a:lvl5pPr>
          </a:lstStyle>
          <a:p>
            <a:pPr lvl="0"/>
            <a:endParaRPr lang="de-DE" dirty="0"/>
          </a:p>
        </p:txBody>
      </p:sp>
      <p:cxnSp>
        <p:nvCxnSpPr>
          <p:cNvPr id="3" name="Straight Connector 2">
            <a:extLst>
              <a:ext uri="{FF2B5EF4-FFF2-40B4-BE49-F238E27FC236}">
                <a16:creationId xmlns:a16="http://schemas.microsoft.com/office/drawing/2014/main" id="{A3A3DC9E-EFBF-E486-9164-A5E7F07D2440}"/>
              </a:ext>
            </a:extLst>
          </p:cNvPr>
          <p:cNvCxnSpPr>
            <a:cxnSpLocks/>
          </p:cNvCxnSpPr>
          <p:nvPr userDrawn="1"/>
        </p:nvCxnSpPr>
        <p:spPr>
          <a:xfrm>
            <a:off x="431800" y="964407"/>
            <a:ext cx="466407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5" name="Footer Placeholder 3">
            <a:extLst>
              <a:ext uri="{FF2B5EF4-FFF2-40B4-BE49-F238E27FC236}">
                <a16:creationId xmlns:a16="http://schemas.microsoft.com/office/drawing/2014/main" id="{F66DB8D2-B531-C0FA-4148-0CFEDB9FE7C3}"/>
              </a:ext>
            </a:extLst>
          </p:cNvPr>
          <p:cNvSpPr>
            <a:spLocks noGrp="1"/>
          </p:cNvSpPr>
          <p:nvPr>
            <p:ph type="ftr" sz="quarter" idx="3"/>
          </p:nvPr>
        </p:nvSpPr>
        <p:spPr>
          <a:xfrm>
            <a:off x="5380396" y="6237475"/>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1">
                    <a:lumMod val="75000"/>
                  </a:schemeClr>
                </a:solidFill>
                <a:latin typeface="+mn-lt"/>
                <a:ea typeface="+mn-ea"/>
                <a:cs typeface="+mn-cs"/>
              </a:defRPr>
            </a:lvl1pPr>
          </a:lstStyle>
          <a:p>
            <a:r>
              <a:rPr lang="de-DE"/>
              <a:t>Mit Partnern zum Erfolg - K. Kaufmann, J.Kunz, H.L. Rau - KDL 2025 München</a:t>
            </a:r>
            <a:endParaRPr lang="en-GB" dirty="0"/>
          </a:p>
        </p:txBody>
      </p:sp>
    </p:spTree>
    <p:extLst>
      <p:ext uri="{BB962C8B-B14F-4D97-AF65-F5344CB8AC3E}">
        <p14:creationId xmlns:p14="http://schemas.microsoft.com/office/powerpoint/2010/main" val="26672175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 Bi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E0EF46C-767B-E325-66ED-E161448E42E8}"/>
              </a:ext>
            </a:extLst>
          </p:cNvPr>
          <p:cNvPicPr>
            <a:picLocks noChangeAspect="1"/>
          </p:cNvPicPr>
          <p:nvPr userDrawn="1"/>
        </p:nvPicPr>
        <p:blipFill>
          <a:blip r:embed="rId3"/>
          <a:stretch>
            <a:fillRect/>
          </a:stretch>
        </p:blipFill>
        <p:spPr>
          <a:xfrm>
            <a:off x="-1" y="0"/>
            <a:ext cx="12192001" cy="6858000"/>
          </a:xfrm>
          <a:prstGeom prst="rect">
            <a:avLst/>
          </a:prstGeom>
        </p:spPr>
      </p:pic>
      <p:sp>
        <p:nvSpPr>
          <p:cNvPr id="4" name="Freeform: Shape 3">
            <a:extLst>
              <a:ext uri="{FF2B5EF4-FFF2-40B4-BE49-F238E27FC236}">
                <a16:creationId xmlns:a16="http://schemas.microsoft.com/office/drawing/2014/main" id="{FC7ACE24-0CD8-C424-4E3D-EF53D1ADF883}"/>
              </a:ext>
            </a:extLst>
          </p:cNvPr>
          <p:cNvSpPr/>
          <p:nvPr userDrawn="1"/>
        </p:nvSpPr>
        <p:spPr>
          <a:xfrm>
            <a:off x="0" y="-1"/>
            <a:ext cx="10323636" cy="6858001"/>
          </a:xfrm>
          <a:custGeom>
            <a:avLst/>
            <a:gdLst>
              <a:gd name="connsiteX0" fmla="*/ 0 w 10284071"/>
              <a:gd name="connsiteY0" fmla="*/ 0 h 6858001"/>
              <a:gd name="connsiteX1" fmla="*/ 2044700 w 10284071"/>
              <a:gd name="connsiteY1" fmla="*/ 0 h 6858001"/>
              <a:gd name="connsiteX2" fmla="*/ 2044700 w 10284071"/>
              <a:gd name="connsiteY2" fmla="*/ 1 h 6858001"/>
              <a:gd name="connsiteX3" fmla="*/ 10284071 w 10284071"/>
              <a:gd name="connsiteY3" fmla="*/ 1 h 6858001"/>
              <a:gd name="connsiteX4" fmla="*/ 6324600 w 10284071"/>
              <a:gd name="connsiteY4" fmla="*/ 6858001 h 6858001"/>
              <a:gd name="connsiteX5" fmla="*/ 990600 w 10284071"/>
              <a:gd name="connsiteY5" fmla="*/ 6858001 h 6858001"/>
              <a:gd name="connsiteX6" fmla="*/ 990600 w 10284071"/>
              <a:gd name="connsiteY6" fmla="*/ 6858000 h 6858001"/>
              <a:gd name="connsiteX7" fmla="*/ 0 w 10284071"/>
              <a:gd name="connsiteY7"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84071" h="6858001">
                <a:moveTo>
                  <a:pt x="0" y="0"/>
                </a:moveTo>
                <a:lnTo>
                  <a:pt x="2044700" y="0"/>
                </a:lnTo>
                <a:lnTo>
                  <a:pt x="2044700" y="1"/>
                </a:lnTo>
                <a:lnTo>
                  <a:pt x="10284071" y="1"/>
                </a:lnTo>
                <a:lnTo>
                  <a:pt x="6324600" y="6858001"/>
                </a:lnTo>
                <a:lnTo>
                  <a:pt x="990600" y="6858001"/>
                </a:lnTo>
                <a:lnTo>
                  <a:pt x="990600" y="6858000"/>
                </a:lnTo>
                <a:lnTo>
                  <a:pt x="0" y="6858000"/>
                </a:lnTo>
                <a:close/>
              </a:path>
            </a:pathLst>
          </a:custGeom>
          <a:gradFill flip="none" rotWithShape="0">
            <a:gsLst>
              <a:gs pos="0">
                <a:srgbClr val="00338D">
                  <a:alpha val="90980"/>
                </a:srgbClr>
              </a:gs>
              <a:gs pos="100000">
                <a:srgbClr val="7A2582">
                  <a:alpha val="9098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de-DE">
              <a:solidFill>
                <a:prstClr val="white">
                  <a:alpha val="44000"/>
                </a:prstClr>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ct 6" hidden="1">
            <a:extLst>
              <a:ext uri="{FF2B5EF4-FFF2-40B4-BE49-F238E27FC236}">
                <a16:creationId xmlns:a16="http://schemas.microsoft.com/office/drawing/2014/main" id="{2D46B078-CEFE-09BD-85FE-560ABB3E8AEE}"/>
              </a:ext>
            </a:extLst>
          </p:cNvPr>
          <p:cNvGraphicFramePr>
            <a:graphicFrameLocks noChangeAspect="1"/>
          </p:cNvGraphicFramePr>
          <p:nvPr userDrawn="1">
            <p:custDataLst>
              <p:tags r:id="rId1"/>
            </p:custDataLst>
            <p:extLst>
              <p:ext uri="{D42A27DB-BD31-4B8C-83A1-F6EECF244321}">
                <p14:modId xmlns:p14="http://schemas.microsoft.com/office/powerpoint/2010/main" val="1087439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7" name="Object 6" hidden="1">
                        <a:extLst>
                          <a:ext uri="{FF2B5EF4-FFF2-40B4-BE49-F238E27FC236}">
                            <a16:creationId xmlns:a16="http://schemas.microsoft.com/office/drawing/2014/main" id="{2D46B078-CEFE-09BD-85FE-560ABB3E8A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Graphic 2">
            <a:extLst>
              <a:ext uri="{FF2B5EF4-FFF2-40B4-BE49-F238E27FC236}">
                <a16:creationId xmlns:a16="http://schemas.microsoft.com/office/drawing/2014/main" id="{978CC8C7-891F-16E0-F5D4-5F8AAB6951C8}"/>
              </a:ext>
            </a:extLst>
          </p:cNvPr>
          <p:cNvSpPr/>
          <p:nvPr userDrawn="1"/>
        </p:nvSpPr>
        <p:spPr>
          <a:xfrm>
            <a:off x="4860602" y="0"/>
            <a:ext cx="6858000" cy="6858000"/>
          </a:xfrm>
          <a:custGeom>
            <a:avLst/>
            <a:gdLst>
              <a:gd name="connsiteX0" fmla="*/ 2898529 w 6858000"/>
              <a:gd name="connsiteY0" fmla="*/ 6858000 h 6858000"/>
              <a:gd name="connsiteX1" fmla="*/ 6858000 w 6858000"/>
              <a:gd name="connsiteY1" fmla="*/ 0 h 6858000"/>
              <a:gd name="connsiteX2" fmla="*/ 3959471 w 6858000"/>
              <a:gd name="connsiteY2" fmla="*/ 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2898529" y="6858000"/>
                </a:moveTo>
                <a:lnTo>
                  <a:pt x="6858000" y="0"/>
                </a:lnTo>
                <a:lnTo>
                  <a:pt x="3959471" y="0"/>
                </a:lnTo>
                <a:lnTo>
                  <a:pt x="0" y="6858000"/>
                </a:lnTo>
                <a:close/>
              </a:path>
            </a:pathLst>
          </a:custGeom>
          <a:gradFill flip="none" rotWithShape="1">
            <a:gsLst>
              <a:gs pos="0">
                <a:schemeClr val="bg2">
                  <a:alpha val="0"/>
                </a:schemeClr>
              </a:gs>
              <a:gs pos="100000">
                <a:schemeClr val="bg2">
                  <a:alpha val="20000"/>
                </a:schemeClr>
              </a:gs>
            </a:gsLst>
            <a:lin ang="16200000" scaled="1"/>
            <a:tileRect/>
          </a:gradFill>
          <a:ln w="7938" cap="flat">
            <a:noFill/>
            <a:prstDash val="solid"/>
            <a:miter/>
          </a:ln>
        </p:spPr>
        <p:txBody>
          <a:bodyPr rtlCol="0" anchor="ctr"/>
          <a:lstStyle/>
          <a:p>
            <a:endParaRPr lang="en-US">
              <a:solidFill>
                <a:prstClr val="black"/>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30" name="Text Placeholder 27">
            <a:extLst>
              <a:ext uri="{FF2B5EF4-FFF2-40B4-BE49-F238E27FC236}">
                <a16:creationId xmlns:a16="http://schemas.microsoft.com/office/drawing/2014/main" id="{E586DFEC-49D0-20F6-028A-C02D4CE48ADF}"/>
              </a:ext>
            </a:extLst>
          </p:cNvPr>
          <p:cNvSpPr>
            <a:spLocks noGrp="1"/>
          </p:cNvSpPr>
          <p:nvPr>
            <p:ph type="body" sz="quarter" idx="19"/>
          </p:nvPr>
        </p:nvSpPr>
        <p:spPr>
          <a:xfrm>
            <a:off x="1325899" y="4581329"/>
            <a:ext cx="3017710" cy="360612"/>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1"/>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28" name="Text Placeholder 27">
            <a:extLst>
              <a:ext uri="{FF2B5EF4-FFF2-40B4-BE49-F238E27FC236}">
                <a16:creationId xmlns:a16="http://schemas.microsoft.com/office/drawing/2014/main" id="{7383A3EC-21F5-3A41-BA55-C9369FA86F71}"/>
              </a:ext>
            </a:extLst>
          </p:cNvPr>
          <p:cNvSpPr>
            <a:spLocks noGrp="1"/>
          </p:cNvSpPr>
          <p:nvPr>
            <p:ph type="body" sz="quarter" idx="17"/>
          </p:nvPr>
        </p:nvSpPr>
        <p:spPr>
          <a:xfrm>
            <a:off x="546625" y="2317715"/>
            <a:ext cx="4313977" cy="1446550"/>
          </a:xfrm>
          <a:prstGeom prst="rect">
            <a:avLst/>
          </a:prstGeom>
        </p:spPr>
        <p:txBody>
          <a:bodyPr/>
          <a:lstStyle>
            <a:lvl1pPr marL="0" indent="0" algn="l" defTabSz="914400" rtl="0" eaLnBrk="1" latinLnBrk="0" hangingPunct="1">
              <a:buNone/>
              <a:defRPr lang="en-GB" sz="4400" b="1" kern="1200" dirty="0">
                <a:solidFill>
                  <a:schemeClr val="accent4"/>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lvl="0"/>
            <a:endParaRPr lang="en-GB" dirty="0"/>
          </a:p>
        </p:txBody>
      </p:sp>
      <p:sp>
        <p:nvSpPr>
          <p:cNvPr id="29" name="Text Placeholder 27">
            <a:extLst>
              <a:ext uri="{FF2B5EF4-FFF2-40B4-BE49-F238E27FC236}">
                <a16:creationId xmlns:a16="http://schemas.microsoft.com/office/drawing/2014/main" id="{427BB830-D4F7-8D1A-8CBB-651545BB1C81}"/>
              </a:ext>
            </a:extLst>
          </p:cNvPr>
          <p:cNvSpPr>
            <a:spLocks noGrp="1"/>
          </p:cNvSpPr>
          <p:nvPr>
            <p:ph type="body" sz="quarter" idx="18"/>
          </p:nvPr>
        </p:nvSpPr>
        <p:spPr>
          <a:xfrm>
            <a:off x="546625" y="3810504"/>
            <a:ext cx="4313977" cy="424732"/>
          </a:xfrm>
          <a:prstGeom prst="rect">
            <a:avLst/>
          </a:prstGeom>
        </p:spPr>
        <p:txBody>
          <a:bodyPr/>
          <a:lstStyle>
            <a:lvl1pPr marL="0" indent="0" algn="l" defTabSz="914400" rtl="0" eaLnBrk="1" latinLnBrk="0" hangingPunct="1">
              <a:buNone/>
              <a:defRPr kumimoji="0" lang="en-GB" sz="2000" strike="noStrike" kern="1200" cap="none" spc="0" normalizeH="0" baseline="0" dirty="0">
                <a:ln>
                  <a:noFill/>
                </a:ln>
                <a:solidFill>
                  <a:srgbClr val="FFFFFF"/>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GB" dirty="0"/>
          </a:p>
        </p:txBody>
      </p:sp>
      <p:sp>
        <p:nvSpPr>
          <p:cNvPr id="16" name="Parallelogram 15">
            <a:extLst>
              <a:ext uri="{FF2B5EF4-FFF2-40B4-BE49-F238E27FC236}">
                <a16:creationId xmlns:a16="http://schemas.microsoft.com/office/drawing/2014/main" id="{2094E519-8E2B-2B93-448C-9B89575F52FD}"/>
              </a:ext>
            </a:extLst>
          </p:cNvPr>
          <p:cNvSpPr/>
          <p:nvPr userDrawn="1"/>
        </p:nvSpPr>
        <p:spPr>
          <a:xfrm>
            <a:off x="596420" y="5183268"/>
            <a:ext cx="745946" cy="436894"/>
          </a:xfrm>
          <a:prstGeom prst="parallelogram">
            <a:avLst>
              <a:gd name="adj" fmla="val 56566"/>
            </a:avLst>
          </a:pr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black"/>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pic>
        <p:nvPicPr>
          <p:cNvPr id="22" name="Graphic 21" descr="Email with solid fill">
            <a:extLst>
              <a:ext uri="{FF2B5EF4-FFF2-40B4-BE49-F238E27FC236}">
                <a16:creationId xmlns:a16="http://schemas.microsoft.com/office/drawing/2014/main" id="{28F40432-BA67-3D8B-E014-1C9F27AF8E40}"/>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30098" y="5262420"/>
            <a:ext cx="278590" cy="278590"/>
          </a:xfrm>
          <a:prstGeom prst="rect">
            <a:avLst/>
          </a:prstGeom>
        </p:spPr>
      </p:pic>
      <p:sp>
        <p:nvSpPr>
          <p:cNvPr id="24" name="Parallelogram 23">
            <a:extLst>
              <a:ext uri="{FF2B5EF4-FFF2-40B4-BE49-F238E27FC236}">
                <a16:creationId xmlns:a16="http://schemas.microsoft.com/office/drawing/2014/main" id="{1CA3B60A-FF37-458E-B2F3-CFAB4BD31051}"/>
              </a:ext>
            </a:extLst>
          </p:cNvPr>
          <p:cNvSpPr/>
          <p:nvPr userDrawn="1"/>
        </p:nvSpPr>
        <p:spPr>
          <a:xfrm>
            <a:off x="596420" y="4543188"/>
            <a:ext cx="745946" cy="436894"/>
          </a:xfrm>
          <a:prstGeom prst="parallelogram">
            <a:avLst>
              <a:gd name="adj" fmla="val 56566"/>
            </a:avLst>
          </a:pr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pic>
        <p:nvPicPr>
          <p:cNvPr id="26" name="Graphic 25" descr="World with solid fill">
            <a:extLst>
              <a:ext uri="{FF2B5EF4-FFF2-40B4-BE49-F238E27FC236}">
                <a16:creationId xmlns:a16="http://schemas.microsoft.com/office/drawing/2014/main" id="{EC193956-BE70-B75F-90F6-BD72444196FD}"/>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0098" y="4622340"/>
            <a:ext cx="278590" cy="278590"/>
          </a:xfrm>
          <a:prstGeom prst="rect">
            <a:avLst/>
          </a:prstGeom>
        </p:spPr>
      </p:pic>
      <p:sp>
        <p:nvSpPr>
          <p:cNvPr id="27" name="Text Placeholder 27">
            <a:extLst>
              <a:ext uri="{FF2B5EF4-FFF2-40B4-BE49-F238E27FC236}">
                <a16:creationId xmlns:a16="http://schemas.microsoft.com/office/drawing/2014/main" id="{C771B09C-8A2C-AF59-F935-D71348795E5A}"/>
              </a:ext>
            </a:extLst>
          </p:cNvPr>
          <p:cNvSpPr>
            <a:spLocks noGrp="1"/>
          </p:cNvSpPr>
          <p:nvPr>
            <p:ph type="body" sz="quarter" idx="21"/>
          </p:nvPr>
        </p:nvSpPr>
        <p:spPr>
          <a:xfrm>
            <a:off x="1325899" y="5221409"/>
            <a:ext cx="3017710" cy="360612"/>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1"/>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pic>
        <p:nvPicPr>
          <p:cNvPr id="6" name="Picture Placeholder 12" descr="A tree with green leaves&#10;&#10;Description automatically generated">
            <a:extLst>
              <a:ext uri="{FF2B5EF4-FFF2-40B4-BE49-F238E27FC236}">
                <a16:creationId xmlns:a16="http://schemas.microsoft.com/office/drawing/2014/main" id="{1DD3096F-91AE-991F-7573-A9A35D7CC62D}"/>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3586843" y="2"/>
            <a:ext cx="8605157" cy="6857998"/>
          </a:xfrm>
          <a:custGeom>
            <a:avLst/>
            <a:gdLst>
              <a:gd name="connsiteX0" fmla="*/ 3879296 w 8605157"/>
              <a:gd name="connsiteY0" fmla="*/ 0 h 6857998"/>
              <a:gd name="connsiteX1" fmla="*/ 8605157 w 8605157"/>
              <a:gd name="connsiteY1" fmla="*/ 0 h 6857998"/>
              <a:gd name="connsiteX2" fmla="*/ 8605157 w 8605157"/>
              <a:gd name="connsiteY2" fmla="*/ 6857998 h 6857998"/>
              <a:gd name="connsiteX3" fmla="*/ 0 w 8605157"/>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8605157" h="6857998">
                <a:moveTo>
                  <a:pt x="3879296" y="0"/>
                </a:moveTo>
                <a:lnTo>
                  <a:pt x="8605157" y="0"/>
                </a:lnTo>
                <a:lnTo>
                  <a:pt x="8605157" y="6857998"/>
                </a:lnTo>
                <a:lnTo>
                  <a:pt x="0" y="6857998"/>
                </a:lnTo>
                <a:close/>
              </a:path>
            </a:pathLst>
          </a:custGeom>
        </p:spPr>
      </p:pic>
      <p:pic>
        <p:nvPicPr>
          <p:cNvPr id="3" name="Picture 2" descr="A black and white sign with white text&#10;&#10;Description automatically generated">
            <a:extLst>
              <a:ext uri="{FF2B5EF4-FFF2-40B4-BE49-F238E27FC236}">
                <a16:creationId xmlns:a16="http://schemas.microsoft.com/office/drawing/2014/main" id="{393823B8-2DC6-3E44-C66D-B665F0845489}"/>
              </a:ext>
            </a:extLst>
          </p:cNvPr>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571087" y="1237838"/>
            <a:ext cx="3406554" cy="716526"/>
          </a:xfrm>
          <a:prstGeom prst="rect">
            <a:avLst/>
          </a:prstGeom>
        </p:spPr>
      </p:pic>
    </p:spTree>
    <p:extLst>
      <p:ext uri="{BB962C8B-B14F-4D97-AF65-F5344CB8AC3E}">
        <p14:creationId xmlns:p14="http://schemas.microsoft.com/office/powerpoint/2010/main" val="3289702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1+#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ohne Bi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FBF817-9C41-523E-F2FC-F3256C698F6F}"/>
              </a:ext>
            </a:extLst>
          </p:cNvPr>
          <p:cNvGraphicFramePr>
            <a:graphicFrameLocks noChangeAspect="1"/>
          </p:cNvGraphicFramePr>
          <p:nvPr userDrawn="1">
            <p:custDataLst>
              <p:tags r:id="rId1"/>
            </p:custDataLst>
            <p:extLst>
              <p:ext uri="{D42A27DB-BD31-4B8C-83A1-F6EECF244321}">
                <p14:modId xmlns:p14="http://schemas.microsoft.com/office/powerpoint/2010/main" val="397723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4041DF8E-6F84-82A6-C3CA-56443BC0DEEF}"/>
              </a:ext>
            </a:extLst>
          </p:cNvPr>
          <p:cNvPicPr>
            <a:picLocks noChangeAspect="1"/>
          </p:cNvPicPr>
          <p:nvPr userDrawn="1"/>
        </p:nvPicPr>
        <p:blipFill>
          <a:blip r:embed="rId5"/>
          <a:stretch>
            <a:fillRect/>
          </a:stretch>
        </p:blipFill>
        <p:spPr>
          <a:xfrm>
            <a:off x="-1" y="0"/>
            <a:ext cx="12192001" cy="6858000"/>
          </a:xfrm>
          <a:prstGeom prst="rect">
            <a:avLst/>
          </a:prstGeom>
        </p:spPr>
      </p:pic>
      <p:sp>
        <p:nvSpPr>
          <p:cNvPr id="3" name="Background - Overlay">
            <a:extLst>
              <a:ext uri="{FF2B5EF4-FFF2-40B4-BE49-F238E27FC236}">
                <a16:creationId xmlns:a16="http://schemas.microsoft.com/office/drawing/2014/main" id="{C46665F0-4573-545E-E0D2-6424FA146064}"/>
              </a:ext>
            </a:extLst>
          </p:cNvPr>
          <p:cNvSpPr/>
          <p:nvPr userDrawn="1"/>
        </p:nvSpPr>
        <p:spPr>
          <a:xfrm>
            <a:off x="-1" y="-1"/>
            <a:ext cx="12192000" cy="6858000"/>
          </a:xfrm>
          <a:prstGeom prst="rect">
            <a:avLst/>
          </a:prstGeom>
          <a:gradFill flip="none" rotWithShape="0">
            <a:gsLst>
              <a:gs pos="0">
                <a:srgbClr val="00338D">
                  <a:alpha val="90980"/>
                </a:srgbClr>
              </a:gs>
              <a:gs pos="100000">
                <a:srgbClr val="7A2582">
                  <a:alpha val="9098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lvl="0" algn="ctr"/>
            <a:endParaRPr lang="en-US" dirty="0">
              <a:solidFill>
                <a:prstClr val="white">
                  <a:alpha val="44000"/>
                </a:prstClr>
              </a:solidFill>
              <a:latin typeface="Arial" panose="020B0604020202020204" pitchFamily="34" charset="0"/>
              <a:cs typeface="Arial" panose="020B0604020202020204" pitchFamily="34" charset="0"/>
              <a:sym typeface="Arial" panose="020B0604020202020204" pitchFamily="34" charset="0"/>
            </a:endParaRPr>
          </a:p>
        </p:txBody>
      </p:sp>
      <p:sp>
        <p:nvSpPr>
          <p:cNvPr id="7" name="Background - Solid">
            <a:extLst>
              <a:ext uri="{FF2B5EF4-FFF2-40B4-BE49-F238E27FC236}">
                <a16:creationId xmlns:a16="http://schemas.microsoft.com/office/drawing/2014/main" id="{7F4C4B72-88D2-455D-1BBB-8F3D02A3BCDF}"/>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0" name="Straight Connector 9">
            <a:extLst>
              <a:ext uri="{FF2B5EF4-FFF2-40B4-BE49-F238E27FC236}">
                <a16:creationId xmlns:a16="http://schemas.microsoft.com/office/drawing/2014/main" id="{86F771F6-74EA-E26F-BC90-AA3F0F2103EE}"/>
              </a:ext>
            </a:extLst>
          </p:cNvPr>
          <p:cNvCxnSpPr>
            <a:cxnSpLocks/>
          </p:cNvCxnSpPr>
          <p:nvPr userDrawn="1"/>
        </p:nvCxnSpPr>
        <p:spPr>
          <a:xfrm>
            <a:off x="723486" y="4625227"/>
            <a:ext cx="2683692"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3" name="Graphic 39" descr="Email with solid fill">
            <a:extLst>
              <a:ext uri="{FF2B5EF4-FFF2-40B4-BE49-F238E27FC236}">
                <a16:creationId xmlns:a16="http://schemas.microsoft.com/office/drawing/2014/main" id="{D54E3218-A732-2CB6-B887-03BF9CF0AEF0}"/>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407473" y="5878937"/>
            <a:ext cx="278590" cy="278590"/>
          </a:xfrm>
          <a:prstGeom prst="rect">
            <a:avLst/>
          </a:prstGeom>
        </p:spPr>
      </p:pic>
      <p:pic>
        <p:nvPicPr>
          <p:cNvPr id="15" name="Graphic 43" descr="World with solid fill">
            <a:extLst>
              <a:ext uri="{FF2B5EF4-FFF2-40B4-BE49-F238E27FC236}">
                <a16:creationId xmlns:a16="http://schemas.microsoft.com/office/drawing/2014/main" id="{7CB4501C-018A-2EFB-83BF-14B25790F32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23486" y="5886357"/>
            <a:ext cx="278590" cy="278590"/>
          </a:xfrm>
          <a:prstGeom prst="rect">
            <a:avLst/>
          </a:prstGeom>
        </p:spPr>
      </p:pic>
      <p:sp>
        <p:nvSpPr>
          <p:cNvPr id="16" name="Text Placeholder 27">
            <a:extLst>
              <a:ext uri="{FF2B5EF4-FFF2-40B4-BE49-F238E27FC236}">
                <a16:creationId xmlns:a16="http://schemas.microsoft.com/office/drawing/2014/main" id="{9C51AE35-6B45-ABA1-A043-D21860E46D8A}"/>
              </a:ext>
            </a:extLst>
          </p:cNvPr>
          <p:cNvSpPr>
            <a:spLocks noGrp="1"/>
          </p:cNvSpPr>
          <p:nvPr>
            <p:ph type="body" sz="quarter" idx="17"/>
          </p:nvPr>
        </p:nvSpPr>
        <p:spPr>
          <a:xfrm>
            <a:off x="622824" y="2799975"/>
            <a:ext cx="10339982" cy="1754326"/>
          </a:xfrm>
          <a:prstGeom prst="rect">
            <a:avLst/>
          </a:prstGeom>
        </p:spPr>
        <p:txBody>
          <a:bodyPr/>
          <a:lstStyle>
            <a:lvl1pPr marL="0" indent="0" algn="l" defTabSz="914400" rtl="0" eaLnBrk="1" latinLnBrk="0" hangingPunct="1">
              <a:buNone/>
              <a:defRPr lang="en-GB" sz="5400" b="1" kern="1200" dirty="0">
                <a:solidFill>
                  <a:schemeClr val="bg2"/>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lvl="0"/>
            <a:endParaRPr lang="en-GB" dirty="0"/>
          </a:p>
        </p:txBody>
      </p:sp>
      <p:sp>
        <p:nvSpPr>
          <p:cNvPr id="17" name="Text Placeholder 27">
            <a:extLst>
              <a:ext uri="{FF2B5EF4-FFF2-40B4-BE49-F238E27FC236}">
                <a16:creationId xmlns:a16="http://schemas.microsoft.com/office/drawing/2014/main" id="{93A63420-04D3-F45C-633C-80F5C022CC87}"/>
              </a:ext>
            </a:extLst>
          </p:cNvPr>
          <p:cNvSpPr>
            <a:spLocks noGrp="1"/>
          </p:cNvSpPr>
          <p:nvPr>
            <p:ph type="body" sz="quarter" idx="18"/>
          </p:nvPr>
        </p:nvSpPr>
        <p:spPr>
          <a:xfrm>
            <a:off x="622824" y="4901952"/>
            <a:ext cx="10339982" cy="424732"/>
          </a:xfrm>
          <a:prstGeom prst="rect">
            <a:avLst/>
          </a:prstGeom>
        </p:spPr>
        <p:txBody>
          <a:bodyPr/>
          <a:lstStyle>
            <a:lvl1pPr marL="0" indent="0" algn="l" defTabSz="914400" rtl="0" eaLnBrk="1" latinLnBrk="0" hangingPunct="1">
              <a:buNone/>
              <a:defRPr kumimoji="0" lang="en-GB" sz="2400"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GB" dirty="0"/>
          </a:p>
        </p:txBody>
      </p:sp>
      <p:sp>
        <p:nvSpPr>
          <p:cNvPr id="18" name="Text Placeholder 27">
            <a:extLst>
              <a:ext uri="{FF2B5EF4-FFF2-40B4-BE49-F238E27FC236}">
                <a16:creationId xmlns:a16="http://schemas.microsoft.com/office/drawing/2014/main" id="{3663312E-3A1E-EB57-09C7-0ECA3D989F1A}"/>
              </a:ext>
            </a:extLst>
          </p:cNvPr>
          <p:cNvSpPr>
            <a:spLocks noGrp="1"/>
          </p:cNvSpPr>
          <p:nvPr>
            <p:ph type="body" sz="quarter" idx="19"/>
          </p:nvPr>
        </p:nvSpPr>
        <p:spPr>
          <a:xfrm>
            <a:off x="1017067" y="5837925"/>
            <a:ext cx="2810558" cy="360612"/>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20" name="Text Placeholder 27">
            <a:extLst>
              <a:ext uri="{FF2B5EF4-FFF2-40B4-BE49-F238E27FC236}">
                <a16:creationId xmlns:a16="http://schemas.microsoft.com/office/drawing/2014/main" id="{1C0FF466-2DC5-17B0-8031-4DFF27836450}"/>
              </a:ext>
            </a:extLst>
          </p:cNvPr>
          <p:cNvSpPr>
            <a:spLocks noGrp="1"/>
          </p:cNvSpPr>
          <p:nvPr>
            <p:ph type="body" sz="quarter" idx="20"/>
          </p:nvPr>
        </p:nvSpPr>
        <p:spPr>
          <a:xfrm>
            <a:off x="4695381" y="5837925"/>
            <a:ext cx="2810558" cy="360612"/>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pic>
        <p:nvPicPr>
          <p:cNvPr id="4" name="Picture 3" descr="A black and white sign with white text&#10;&#10;Description automatically generated">
            <a:extLst>
              <a:ext uri="{FF2B5EF4-FFF2-40B4-BE49-F238E27FC236}">
                <a16:creationId xmlns:a16="http://schemas.microsoft.com/office/drawing/2014/main" id="{CAC6828F-E743-876A-6847-EE6D70D82E4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723487" y="1561181"/>
            <a:ext cx="4223636" cy="888389"/>
          </a:xfrm>
          <a:prstGeom prst="rect">
            <a:avLst/>
          </a:prstGeom>
        </p:spPr>
      </p:pic>
    </p:spTree>
    <p:extLst>
      <p:ext uri="{BB962C8B-B14F-4D97-AF65-F5344CB8AC3E}">
        <p14:creationId xmlns:p14="http://schemas.microsoft.com/office/powerpoint/2010/main" val="4181017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Slide 1">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04124D-29F4-7AB7-8E2A-5D7DB0A2E3F3}"/>
              </a:ext>
            </a:extLst>
          </p:cNvPr>
          <p:cNvGraphicFramePr>
            <a:graphicFrameLocks noChangeAspect="1"/>
          </p:cNvGraphicFramePr>
          <p:nvPr userDrawn="1">
            <p:custDataLst>
              <p:tags r:id="rId1"/>
            </p:custDataLst>
            <p:extLst>
              <p:ext uri="{D42A27DB-BD31-4B8C-83A1-F6EECF244321}">
                <p14:modId xmlns:p14="http://schemas.microsoft.com/office/powerpoint/2010/main" val="1965368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E4D8404-134F-3661-3144-2F45242014BD}"/>
              </a:ext>
            </a:extLst>
          </p:cNvPr>
          <p:cNvPicPr>
            <a:picLocks noChangeAspect="1"/>
          </p:cNvPicPr>
          <p:nvPr userDrawn="1"/>
        </p:nvPicPr>
        <p:blipFill>
          <a:blip r:embed="rId5"/>
          <a:stretch>
            <a:fillRect/>
          </a:stretch>
        </p:blipFill>
        <p:spPr>
          <a:xfrm>
            <a:off x="-1" y="0"/>
            <a:ext cx="12192001" cy="6858000"/>
          </a:xfrm>
          <a:prstGeom prst="rect">
            <a:avLst/>
          </a:prstGeom>
        </p:spPr>
      </p:pic>
      <p:sp>
        <p:nvSpPr>
          <p:cNvPr id="3" name="Background - Overlay">
            <a:extLst>
              <a:ext uri="{FF2B5EF4-FFF2-40B4-BE49-F238E27FC236}">
                <a16:creationId xmlns:a16="http://schemas.microsoft.com/office/drawing/2014/main" id="{C46665F0-4573-545E-E0D2-6424FA146064}"/>
              </a:ext>
            </a:extLst>
          </p:cNvPr>
          <p:cNvSpPr/>
          <p:nvPr userDrawn="1"/>
        </p:nvSpPr>
        <p:spPr>
          <a:xfrm>
            <a:off x="-1" y="-1"/>
            <a:ext cx="12192000" cy="6858000"/>
          </a:xfrm>
          <a:prstGeom prst="rect">
            <a:avLst/>
          </a:prstGeom>
          <a:gradFill flip="none" rotWithShape="0">
            <a:gsLst>
              <a:gs pos="0">
                <a:srgbClr val="00338D">
                  <a:alpha val="90980"/>
                </a:srgbClr>
              </a:gs>
              <a:gs pos="100000">
                <a:srgbClr val="7A2582">
                  <a:alpha val="9098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lvl="0" algn="ctr"/>
            <a:endParaRPr lang="en-US" dirty="0">
              <a:solidFill>
                <a:prstClr val="white">
                  <a:alpha val="44000"/>
                </a:prstClr>
              </a:solidFill>
              <a:latin typeface="Arial" panose="020B0604020202020204" pitchFamily="34" charset="0"/>
              <a:cs typeface="Arial" panose="020B0604020202020204" pitchFamily="34" charset="0"/>
              <a:sym typeface="Arial" panose="020B0604020202020204" pitchFamily="34" charset="0"/>
            </a:endParaRPr>
          </a:p>
        </p:txBody>
      </p:sp>
      <p:sp>
        <p:nvSpPr>
          <p:cNvPr id="7" name="Background - Solid">
            <a:extLst>
              <a:ext uri="{FF2B5EF4-FFF2-40B4-BE49-F238E27FC236}">
                <a16:creationId xmlns:a16="http://schemas.microsoft.com/office/drawing/2014/main" id="{7F4C4B72-88D2-455D-1BBB-8F3D02A3BCDF}"/>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2" name="Straight Connector 11">
            <a:extLst>
              <a:ext uri="{FF2B5EF4-FFF2-40B4-BE49-F238E27FC236}">
                <a16:creationId xmlns:a16="http://schemas.microsoft.com/office/drawing/2014/main" id="{E06FC494-5638-8781-FAEB-B78A7909E443}"/>
              </a:ext>
            </a:extLst>
          </p:cNvPr>
          <p:cNvCxnSpPr>
            <a:cxnSpLocks/>
          </p:cNvCxnSpPr>
          <p:nvPr userDrawn="1"/>
        </p:nvCxnSpPr>
        <p:spPr>
          <a:xfrm>
            <a:off x="5503817" y="3702897"/>
            <a:ext cx="1184366" cy="0"/>
          </a:xfrm>
          <a:prstGeom prst="line">
            <a:avLst/>
          </a:prstGeom>
          <a:ln w="76200">
            <a:solidFill>
              <a:srgbClr val="FFD100"/>
            </a:solidFill>
          </a:ln>
        </p:spPr>
        <p:style>
          <a:lnRef idx="1">
            <a:schemeClr val="accent1"/>
          </a:lnRef>
          <a:fillRef idx="0">
            <a:schemeClr val="accent1"/>
          </a:fillRef>
          <a:effectRef idx="0">
            <a:schemeClr val="accent1"/>
          </a:effectRef>
          <a:fontRef idx="minor">
            <a:schemeClr val="tx1"/>
          </a:fontRef>
        </p:style>
      </p:cxnSp>
      <p:sp>
        <p:nvSpPr>
          <p:cNvPr id="22" name="Text Placeholder 27">
            <a:extLst>
              <a:ext uri="{FF2B5EF4-FFF2-40B4-BE49-F238E27FC236}">
                <a16:creationId xmlns:a16="http://schemas.microsoft.com/office/drawing/2014/main" id="{F8E886F0-50E0-6E8F-9F32-71EE11499A63}"/>
              </a:ext>
            </a:extLst>
          </p:cNvPr>
          <p:cNvSpPr>
            <a:spLocks noGrp="1"/>
          </p:cNvSpPr>
          <p:nvPr userDrawn="1">
            <p:ph type="body" sz="quarter" idx="17"/>
          </p:nvPr>
        </p:nvSpPr>
        <p:spPr>
          <a:xfrm>
            <a:off x="762000" y="3760762"/>
            <a:ext cx="10668000" cy="914400"/>
          </a:xfrm>
          <a:prstGeom prst="rect">
            <a:avLst/>
          </a:prstGeom>
        </p:spPr>
        <p:txBody>
          <a:bodyPr/>
          <a:lstStyle>
            <a:lvl1pPr marL="0" indent="0" algn="ctr" defTabSz="914400" rtl="0" eaLnBrk="1" latinLnBrk="0" hangingPunct="1">
              <a:buNone/>
              <a:defRPr lang="en-GB" sz="5400" b="1" kern="1200" dirty="0">
                <a:solidFill>
                  <a:schemeClr val="bg2"/>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defRPr/>
            </a:pPr>
            <a:endParaRPr lang="en-GB" dirty="0"/>
          </a:p>
        </p:txBody>
      </p:sp>
      <p:sp>
        <p:nvSpPr>
          <p:cNvPr id="23" name="Text Placeholder 27">
            <a:extLst>
              <a:ext uri="{FF2B5EF4-FFF2-40B4-BE49-F238E27FC236}">
                <a16:creationId xmlns:a16="http://schemas.microsoft.com/office/drawing/2014/main" id="{30C323A5-7B8A-A6FB-9B4D-2374E9930317}"/>
              </a:ext>
            </a:extLst>
          </p:cNvPr>
          <p:cNvSpPr>
            <a:spLocks noGrp="1"/>
          </p:cNvSpPr>
          <p:nvPr userDrawn="1">
            <p:ph type="body" sz="quarter" idx="18"/>
          </p:nvPr>
        </p:nvSpPr>
        <p:spPr>
          <a:xfrm>
            <a:off x="762000" y="4952999"/>
            <a:ext cx="10668000" cy="1066800"/>
          </a:xfrm>
          <a:prstGeom prst="rect">
            <a:avLst/>
          </a:prstGeom>
        </p:spPr>
        <p:txBody>
          <a:bodyPr/>
          <a:lstStyle>
            <a:lvl1pPr marL="0" indent="0" algn="ctr" defTabSz="914400" rtl="0" eaLnBrk="1" latinLnBrk="0" hangingPunct="1">
              <a:buNone/>
              <a:defRPr kumimoji="0" lang="en-GB" sz="2000" b="1" i="0" u="none" strike="noStrike" kern="0" cap="none" spc="0" normalizeH="0" baseline="0" dirty="0">
                <a:ln>
                  <a:noFill/>
                </a:ln>
                <a:solidFill>
                  <a:schemeClr val="bg2"/>
                </a:solidFill>
                <a:effectLst/>
                <a:uLnTx/>
                <a:uFillTx/>
                <a:latin typeface="Arial" panose="020B0604020202020204" pitchFamily="34" charset="0"/>
                <a:ea typeface="ヒラギノ角ゴ Pro W3" charset="0"/>
                <a:cs typeface="Arial" panose="020B0604020202020204" pitchFamily="34" charset="0"/>
                <a:sym typeface="Arial" panose="020B0604020202020204" pitchFamily="34" charset="0"/>
              </a:defRPr>
            </a:lvl1p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defRPr/>
            </a:pPr>
            <a:endParaRPr lang="en-GB" dirty="0"/>
          </a:p>
        </p:txBody>
      </p:sp>
      <p:pic>
        <p:nvPicPr>
          <p:cNvPr id="5" name="Picture 4" descr="A blue and yellow logo with a lion head&#10;&#10;Description automatically generated">
            <a:extLst>
              <a:ext uri="{FF2B5EF4-FFF2-40B4-BE49-F238E27FC236}">
                <a16:creationId xmlns:a16="http://schemas.microsoft.com/office/drawing/2014/main" id="{EB55C67F-FD86-C37B-65AB-631590926F3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4343914" y="1023568"/>
            <a:ext cx="3504172" cy="2201113"/>
          </a:xfrm>
          <a:prstGeom prst="rect">
            <a:avLst/>
          </a:prstGeom>
        </p:spPr>
      </p:pic>
    </p:spTree>
    <p:extLst>
      <p:ext uri="{BB962C8B-B14F-4D97-AF65-F5344CB8AC3E}">
        <p14:creationId xmlns:p14="http://schemas.microsoft.com/office/powerpoint/2010/main" val="26217957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Slide 2">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B13A93A-11BC-92AE-A6A8-4D4061180F87}"/>
              </a:ext>
            </a:extLst>
          </p:cNvPr>
          <p:cNvGraphicFramePr>
            <a:graphicFrameLocks noChangeAspect="1"/>
          </p:cNvGraphicFramePr>
          <p:nvPr userDrawn="1">
            <p:custDataLst>
              <p:tags r:id="rId1"/>
            </p:custDataLst>
            <p:extLst>
              <p:ext uri="{D42A27DB-BD31-4B8C-83A1-F6EECF244321}">
                <p14:modId xmlns:p14="http://schemas.microsoft.com/office/powerpoint/2010/main" val="270314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4D9461EA-31CC-BAAB-E7B8-3985D9DA3595}"/>
              </a:ext>
            </a:extLst>
          </p:cNvPr>
          <p:cNvPicPr>
            <a:picLocks noChangeAspect="1"/>
          </p:cNvPicPr>
          <p:nvPr userDrawn="1"/>
        </p:nvPicPr>
        <p:blipFill>
          <a:blip r:embed="rId5"/>
          <a:stretch>
            <a:fillRect/>
          </a:stretch>
        </p:blipFill>
        <p:spPr>
          <a:xfrm>
            <a:off x="-1" y="0"/>
            <a:ext cx="12192001" cy="6858000"/>
          </a:xfrm>
          <a:prstGeom prst="rect">
            <a:avLst/>
          </a:prstGeom>
        </p:spPr>
      </p:pic>
      <p:sp>
        <p:nvSpPr>
          <p:cNvPr id="3" name="Background - Overlay">
            <a:extLst>
              <a:ext uri="{FF2B5EF4-FFF2-40B4-BE49-F238E27FC236}">
                <a16:creationId xmlns:a16="http://schemas.microsoft.com/office/drawing/2014/main" id="{C46665F0-4573-545E-E0D2-6424FA146064}"/>
              </a:ext>
            </a:extLst>
          </p:cNvPr>
          <p:cNvSpPr/>
          <p:nvPr userDrawn="1"/>
        </p:nvSpPr>
        <p:spPr>
          <a:xfrm>
            <a:off x="-1" y="-1"/>
            <a:ext cx="12192000" cy="6858000"/>
          </a:xfrm>
          <a:prstGeom prst="rect">
            <a:avLst/>
          </a:prstGeom>
          <a:gradFill flip="none" rotWithShape="0">
            <a:gsLst>
              <a:gs pos="0">
                <a:srgbClr val="00338D">
                  <a:alpha val="90980"/>
                </a:srgbClr>
              </a:gs>
              <a:gs pos="100000">
                <a:srgbClr val="7A2582">
                  <a:alpha val="9098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lvl="0" algn="ctr"/>
            <a:endParaRPr lang="en-US" dirty="0">
              <a:solidFill>
                <a:prstClr val="white">
                  <a:alpha val="44000"/>
                </a:prstClr>
              </a:solidFill>
              <a:latin typeface="Arial" panose="020B0604020202020204" pitchFamily="34" charset="0"/>
              <a:cs typeface="Arial" panose="020B0604020202020204" pitchFamily="34" charset="0"/>
              <a:sym typeface="Arial" panose="020B0604020202020204" pitchFamily="34" charset="0"/>
            </a:endParaRPr>
          </a:p>
        </p:txBody>
      </p:sp>
      <p:cxnSp>
        <p:nvCxnSpPr>
          <p:cNvPr id="11" name="Straight Connector 10">
            <a:extLst>
              <a:ext uri="{FF2B5EF4-FFF2-40B4-BE49-F238E27FC236}">
                <a16:creationId xmlns:a16="http://schemas.microsoft.com/office/drawing/2014/main" id="{CD82D957-ADB6-0935-F667-2ECEE676F757}"/>
              </a:ext>
            </a:extLst>
          </p:cNvPr>
          <p:cNvCxnSpPr>
            <a:cxnSpLocks/>
          </p:cNvCxnSpPr>
          <p:nvPr userDrawn="1"/>
        </p:nvCxnSpPr>
        <p:spPr>
          <a:xfrm>
            <a:off x="771434" y="3413178"/>
            <a:ext cx="2683692"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 Placeholder 27">
            <a:extLst>
              <a:ext uri="{FF2B5EF4-FFF2-40B4-BE49-F238E27FC236}">
                <a16:creationId xmlns:a16="http://schemas.microsoft.com/office/drawing/2014/main" id="{5DF08D22-0A6B-23FE-1AD8-6F98D57AF35A}"/>
              </a:ext>
            </a:extLst>
          </p:cNvPr>
          <p:cNvSpPr>
            <a:spLocks noGrp="1"/>
          </p:cNvSpPr>
          <p:nvPr>
            <p:ph type="body" sz="quarter" idx="17"/>
          </p:nvPr>
        </p:nvSpPr>
        <p:spPr>
          <a:xfrm>
            <a:off x="622824" y="3590925"/>
            <a:ext cx="10339982" cy="1635556"/>
          </a:xfrm>
          <a:prstGeom prst="rect">
            <a:avLst/>
          </a:prstGeom>
        </p:spPr>
        <p:txBody>
          <a:bodyPr/>
          <a:lstStyle>
            <a:lvl1pPr marL="0" indent="0" algn="l" defTabSz="914400" rtl="0" eaLnBrk="1" latinLnBrk="0" hangingPunct="1">
              <a:buNone/>
              <a:defRPr lang="en-GB" sz="5400" b="1" kern="1200" dirty="0">
                <a:solidFill>
                  <a:schemeClr val="bg2"/>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lvl="0"/>
            <a:endParaRPr lang="en-GB" dirty="0"/>
          </a:p>
        </p:txBody>
      </p:sp>
      <p:pic>
        <p:nvPicPr>
          <p:cNvPr id="4" name="Picture 3" descr="A black and white sign with white text&#10;&#10;Description automatically generated">
            <a:extLst>
              <a:ext uri="{FF2B5EF4-FFF2-40B4-BE49-F238E27FC236}">
                <a16:creationId xmlns:a16="http://schemas.microsoft.com/office/drawing/2014/main" id="{7AB05F2B-E7C2-E679-53C9-8D34E792522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23487" y="1815568"/>
            <a:ext cx="4394614" cy="924352"/>
          </a:xfrm>
          <a:prstGeom prst="rect">
            <a:avLst/>
          </a:prstGeom>
        </p:spPr>
      </p:pic>
    </p:spTree>
    <p:extLst>
      <p:ext uri="{BB962C8B-B14F-4D97-AF65-F5344CB8AC3E}">
        <p14:creationId xmlns:p14="http://schemas.microsoft.com/office/powerpoint/2010/main" val="39703643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_Text + Bi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9820F6-58C1-C848-7B3B-783C29647AE9}"/>
              </a:ext>
            </a:extLst>
          </p:cNvPr>
          <p:cNvGraphicFramePr>
            <a:graphicFrameLocks noChangeAspect="1"/>
          </p:cNvGraphicFramePr>
          <p:nvPr userDrawn="1">
            <p:custDataLst>
              <p:tags r:id="rId1"/>
            </p:custDataLst>
            <p:extLst>
              <p:ext uri="{D42A27DB-BD31-4B8C-83A1-F6EECF244321}">
                <p14:modId xmlns:p14="http://schemas.microsoft.com/office/powerpoint/2010/main" val="2603380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9F25342D-4EC6-77F8-99D1-F5DCCE9178F5}"/>
              </a:ext>
            </a:extLst>
          </p:cNvPr>
          <p:cNvPicPr>
            <a:picLocks noChangeAspect="1"/>
          </p:cNvPicPr>
          <p:nvPr userDrawn="1"/>
        </p:nvPicPr>
        <p:blipFill>
          <a:blip r:embed="rId5"/>
          <a:stretch>
            <a:fillRect/>
          </a:stretch>
        </p:blipFill>
        <p:spPr>
          <a:xfrm>
            <a:off x="0" y="-2"/>
            <a:ext cx="12192000" cy="6858001"/>
          </a:xfrm>
          <a:prstGeom prst="rect">
            <a:avLst/>
          </a:prstGeom>
        </p:spPr>
      </p:pic>
      <p:sp>
        <p:nvSpPr>
          <p:cNvPr id="3" name="Background - Overlay">
            <a:extLst>
              <a:ext uri="{FF2B5EF4-FFF2-40B4-BE49-F238E27FC236}">
                <a16:creationId xmlns:a16="http://schemas.microsoft.com/office/drawing/2014/main" id="{E4E5CF10-DDAF-660D-C398-72EE1BC861D8}"/>
              </a:ext>
            </a:extLst>
          </p:cNvPr>
          <p:cNvSpPr/>
          <p:nvPr userDrawn="1"/>
        </p:nvSpPr>
        <p:spPr>
          <a:xfrm>
            <a:off x="-1" y="-1"/>
            <a:ext cx="12192000" cy="6858000"/>
          </a:xfrm>
          <a:prstGeom prst="rect">
            <a:avLst/>
          </a:prstGeom>
          <a:gradFill flip="none" rotWithShape="0">
            <a:gsLst>
              <a:gs pos="0">
                <a:srgbClr val="00338D">
                  <a:alpha val="90980"/>
                </a:srgbClr>
              </a:gs>
              <a:gs pos="100000">
                <a:srgbClr val="7A2582">
                  <a:alpha val="9098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lvl="0" algn="ctr"/>
            <a:endParaRPr lang="en-US" dirty="0">
              <a:solidFill>
                <a:prstClr val="white">
                  <a:alpha val="44000"/>
                </a:prstClr>
              </a:solidFill>
              <a:latin typeface="Arial" panose="020B0604020202020204" pitchFamily="34" charset="0"/>
              <a:cs typeface="Arial" panose="020B0604020202020204" pitchFamily="34" charset="0"/>
              <a:sym typeface="Arial" panose="020B0604020202020204" pitchFamily="34" charset="0"/>
            </a:endParaRPr>
          </a:p>
        </p:txBody>
      </p:sp>
      <p:sp>
        <p:nvSpPr>
          <p:cNvPr id="6" name="Picture Placeholder 5">
            <a:extLst>
              <a:ext uri="{FF2B5EF4-FFF2-40B4-BE49-F238E27FC236}">
                <a16:creationId xmlns:a16="http://schemas.microsoft.com/office/drawing/2014/main" id="{3189BDCF-1C80-E24A-1285-2A0F6FF0561C}"/>
              </a:ext>
            </a:extLst>
          </p:cNvPr>
          <p:cNvSpPr>
            <a:spLocks noGrp="1"/>
          </p:cNvSpPr>
          <p:nvPr>
            <p:ph type="pic" sz="quarter" idx="10"/>
          </p:nvPr>
        </p:nvSpPr>
        <p:spPr>
          <a:xfrm>
            <a:off x="6083302" y="2"/>
            <a:ext cx="6108698" cy="6857999"/>
          </a:xfrm>
          <a:custGeom>
            <a:avLst/>
            <a:gdLst>
              <a:gd name="connsiteX0" fmla="*/ 3959470 w 6108698"/>
              <a:gd name="connsiteY0" fmla="*/ 0 h 6857999"/>
              <a:gd name="connsiteX1" fmla="*/ 6108698 w 6108698"/>
              <a:gd name="connsiteY1" fmla="*/ 0 h 6857999"/>
              <a:gd name="connsiteX2" fmla="*/ 6108698 w 6108698"/>
              <a:gd name="connsiteY2" fmla="*/ 5216335 h 6857999"/>
              <a:gd name="connsiteX3" fmla="*/ 5160882 w 6108698"/>
              <a:gd name="connsiteY3" fmla="*/ 6857999 h 6857999"/>
              <a:gd name="connsiteX4" fmla="*/ 0 w 6108698"/>
              <a:gd name="connsiteY4" fmla="*/ 685799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08698" h="6857999">
                <a:moveTo>
                  <a:pt x="3959470" y="0"/>
                </a:moveTo>
                <a:lnTo>
                  <a:pt x="6108698" y="0"/>
                </a:lnTo>
                <a:lnTo>
                  <a:pt x="6108698" y="5216335"/>
                </a:lnTo>
                <a:lnTo>
                  <a:pt x="5160882" y="6857999"/>
                </a:lnTo>
                <a:lnTo>
                  <a:pt x="0" y="6857999"/>
                </a:lnTo>
                <a:close/>
              </a:path>
            </a:pathLst>
          </a:custGeom>
          <a:pattFill prst="pct20">
            <a:fgClr>
              <a:schemeClr val="accent2"/>
            </a:fgClr>
            <a:bgClr>
              <a:schemeClr val="bg1"/>
            </a:bgClr>
          </a:pattFill>
          <a:ln w="12700" cap="flat">
            <a:noFill/>
            <a:prstDash val="solid"/>
            <a:miter/>
          </a:ln>
          <a:effectLst>
            <a:outerShdw blurRad="685800" dist="38100" dir="10800000" algn="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lang="de-DE" sz="1800"/>
            </a:lvl1pPr>
          </a:lstStyle>
          <a:p>
            <a:pPr marL="0" lvl="0"/>
            <a:endParaRPr lang="de-DE" dirty="0"/>
          </a:p>
        </p:txBody>
      </p:sp>
      <p:sp>
        <p:nvSpPr>
          <p:cNvPr id="4" name="Background - Solid">
            <a:extLst>
              <a:ext uri="{FF2B5EF4-FFF2-40B4-BE49-F238E27FC236}">
                <a16:creationId xmlns:a16="http://schemas.microsoft.com/office/drawing/2014/main" id="{3B863B71-61D1-9486-F003-70932D5BE82B}"/>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Slide Number Placeholder 5">
            <a:extLst>
              <a:ext uri="{FF2B5EF4-FFF2-40B4-BE49-F238E27FC236}">
                <a16:creationId xmlns:a16="http://schemas.microsoft.com/office/drawing/2014/main" id="{7D9A028E-BEDB-FC71-10CF-2D92A2165939}"/>
              </a:ext>
            </a:extLst>
          </p:cNvPr>
          <p:cNvSpPr txBox="1">
            <a:spLocks/>
          </p:cNvSpPr>
          <p:nvPr userDrawn="1"/>
        </p:nvSpPr>
        <p:spPr>
          <a:xfrm>
            <a:off x="9141577" y="629920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EB7FA4-D16D-498B-9843-862279835448}" type="slidenum">
              <a:rPr lang="en-GB" sz="1100" b="1" smtClean="0">
                <a:solidFill>
                  <a:schemeClr val="accent4"/>
                </a:solidFill>
                <a:latin typeface="Arial" panose="020B0604020202020204" pitchFamily="34" charset="0"/>
                <a:cs typeface="Arial" panose="020B0604020202020204" pitchFamily="34" charset="0"/>
                <a:sym typeface="Arial" panose="020B0604020202020204" pitchFamily="34" charset="0"/>
              </a:rPr>
              <a:pPr/>
              <a:t>‹Nr.›</a:t>
            </a:fld>
            <a:endParaRPr lang="en-GB" sz="1100" b="1" dirty="0">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cxnSp>
        <p:nvCxnSpPr>
          <p:cNvPr id="11" name="Straight Connector 10">
            <a:extLst>
              <a:ext uri="{FF2B5EF4-FFF2-40B4-BE49-F238E27FC236}">
                <a16:creationId xmlns:a16="http://schemas.microsoft.com/office/drawing/2014/main" id="{954C3E4A-EF4E-54B9-2F78-75C70382FDBD}"/>
              </a:ext>
            </a:extLst>
          </p:cNvPr>
          <p:cNvCxnSpPr>
            <a:cxnSpLocks/>
          </p:cNvCxnSpPr>
          <p:nvPr userDrawn="1"/>
        </p:nvCxnSpPr>
        <p:spPr>
          <a:xfrm>
            <a:off x="739903" y="2644214"/>
            <a:ext cx="4494249"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 Placeholder 27">
            <a:extLst>
              <a:ext uri="{FF2B5EF4-FFF2-40B4-BE49-F238E27FC236}">
                <a16:creationId xmlns:a16="http://schemas.microsoft.com/office/drawing/2014/main" id="{289BE7B9-0F42-37C3-1933-94D00B1CDD07}"/>
              </a:ext>
            </a:extLst>
          </p:cNvPr>
          <p:cNvSpPr>
            <a:spLocks noGrp="1"/>
          </p:cNvSpPr>
          <p:nvPr>
            <p:ph type="body" sz="quarter" idx="17"/>
          </p:nvPr>
        </p:nvSpPr>
        <p:spPr>
          <a:xfrm>
            <a:off x="622826" y="1808417"/>
            <a:ext cx="5714474" cy="707886"/>
          </a:xfrm>
          <a:prstGeom prst="rect">
            <a:avLst/>
          </a:prstGeom>
        </p:spPr>
        <p:txBody>
          <a:bodyPr/>
          <a:lstStyle>
            <a:lvl1pPr marL="0" indent="0" algn="l" defTabSz="914400" rtl="0" eaLnBrk="1" latinLnBrk="0" hangingPunct="1">
              <a:buNone/>
              <a:defRPr lang="en-GB" sz="4000" b="1" kern="1200" dirty="0">
                <a:solidFill>
                  <a:schemeClr val="bg2"/>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lvl="0"/>
            <a:endParaRPr lang="en-GB" dirty="0"/>
          </a:p>
        </p:txBody>
      </p:sp>
      <p:sp>
        <p:nvSpPr>
          <p:cNvPr id="14" name="Text Placeholder 27">
            <a:extLst>
              <a:ext uri="{FF2B5EF4-FFF2-40B4-BE49-F238E27FC236}">
                <a16:creationId xmlns:a16="http://schemas.microsoft.com/office/drawing/2014/main" id="{BE34FEA4-564A-D3CA-DA64-9267E877661D}"/>
              </a:ext>
            </a:extLst>
          </p:cNvPr>
          <p:cNvSpPr>
            <a:spLocks noGrp="1"/>
          </p:cNvSpPr>
          <p:nvPr>
            <p:ph type="body" sz="quarter" idx="18"/>
          </p:nvPr>
        </p:nvSpPr>
        <p:spPr>
          <a:xfrm>
            <a:off x="622826" y="2993379"/>
            <a:ext cx="5714474" cy="2056204"/>
          </a:xfrm>
          <a:prstGeom prst="rect">
            <a:avLst/>
          </a:prstGeom>
        </p:spPr>
        <p:txBody>
          <a:bodyPr/>
          <a:lstStyle>
            <a:lvl1pPr marL="0" indent="0" algn="l" defTabSz="914400" rtl="0" eaLnBrk="1" latinLnBrk="0" hangingPunct="1">
              <a:lnSpc>
                <a:spcPct val="120000"/>
              </a:lnSpc>
              <a:buNone/>
              <a:defRPr lang="en-GB" sz="2000" kern="1200" dirty="0">
                <a:solidFill>
                  <a:schemeClr val="bg2"/>
                </a:solidFill>
                <a:latin typeface="Arial" panose="020B0604020202020204" pitchFamily="34" charset="0"/>
                <a:ea typeface="+mn-ea"/>
                <a:cs typeface="Arial" panose="020B0604020202020204" pitchFamily="34" charset="0"/>
                <a:sym typeface="Arial" panose="020B0604020202020204" pitchFamily="34" charset="0"/>
              </a:defRPr>
            </a:lvl1pPr>
          </a:lstStyle>
          <a:p>
            <a:pPr lvl="0"/>
            <a:endParaRPr lang="en-GB" dirty="0"/>
          </a:p>
        </p:txBody>
      </p:sp>
      <p:sp>
        <p:nvSpPr>
          <p:cNvPr id="9" name="Footer Placeholder 3">
            <a:extLst>
              <a:ext uri="{FF2B5EF4-FFF2-40B4-BE49-F238E27FC236}">
                <a16:creationId xmlns:a16="http://schemas.microsoft.com/office/drawing/2014/main" id="{6DB3F221-3395-96F3-1819-3637092D9078}"/>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2"/>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endParaRPr lang="de-DE" dirty="0"/>
          </a:p>
        </p:txBody>
      </p:sp>
      <p:pic>
        <p:nvPicPr>
          <p:cNvPr id="2" name="Picture 1" descr="A black and white sign with white text&#10;&#10;Description automatically generated">
            <a:extLst>
              <a:ext uri="{FF2B5EF4-FFF2-40B4-BE49-F238E27FC236}">
                <a16:creationId xmlns:a16="http://schemas.microsoft.com/office/drawing/2014/main" id="{036A6029-600D-CC38-4734-7E76A4029C8F}"/>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422015" y="6287595"/>
            <a:ext cx="2044952" cy="430130"/>
          </a:xfrm>
          <a:prstGeom prst="rect">
            <a:avLst/>
          </a:prstGeom>
        </p:spPr>
      </p:pic>
    </p:spTree>
    <p:extLst>
      <p:ext uri="{BB962C8B-B14F-4D97-AF65-F5344CB8AC3E}">
        <p14:creationId xmlns:p14="http://schemas.microsoft.com/office/powerpoint/2010/main" val="5156566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7657601D-3613-12B4-C76C-C7F3ED8BF96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0" y="1"/>
            <a:ext cx="9474616" cy="6857999"/>
          </a:xfrm>
          <a:custGeom>
            <a:avLst/>
            <a:gdLst>
              <a:gd name="connsiteX0" fmla="*/ 0 w 9474616"/>
              <a:gd name="connsiteY0" fmla="*/ 0 h 6857999"/>
              <a:gd name="connsiteX1" fmla="*/ 756997 w 9474616"/>
              <a:gd name="connsiteY1" fmla="*/ 0 h 6857999"/>
              <a:gd name="connsiteX2" fmla="*/ 968064 w 9474616"/>
              <a:gd name="connsiteY2" fmla="*/ 0 h 6857999"/>
              <a:gd name="connsiteX3" fmla="*/ 1190314 w 9474616"/>
              <a:gd name="connsiteY3" fmla="*/ 0 h 6857999"/>
              <a:gd name="connsiteX4" fmla="*/ 2537404 w 9474616"/>
              <a:gd name="connsiteY4" fmla="*/ 0 h 6857999"/>
              <a:gd name="connsiteX5" fmla="*/ 2741740 w 9474616"/>
              <a:gd name="connsiteY5" fmla="*/ 0 h 6857999"/>
              <a:gd name="connsiteX6" fmla="*/ 3331949 w 9474616"/>
              <a:gd name="connsiteY6" fmla="*/ 0 h 6857999"/>
              <a:gd name="connsiteX7" fmla="*/ 9474616 w 9474616"/>
              <a:gd name="connsiteY7" fmla="*/ 0 h 6857999"/>
              <a:gd name="connsiteX8" fmla="*/ 5515149 w 9474616"/>
              <a:gd name="connsiteY8" fmla="*/ 6857997 h 6857999"/>
              <a:gd name="connsiteX9" fmla="*/ 3425952 w 9474616"/>
              <a:gd name="connsiteY9" fmla="*/ 6857997 h 6857999"/>
              <a:gd name="connsiteX10" fmla="*/ 3425952 w 9474616"/>
              <a:gd name="connsiteY10" fmla="*/ 6857999 h 6857999"/>
              <a:gd name="connsiteX11" fmla="*/ 3331949 w 9474616"/>
              <a:gd name="connsiteY11" fmla="*/ 6857999 h 6857999"/>
              <a:gd name="connsiteX12" fmla="*/ 2741740 w 9474616"/>
              <a:gd name="connsiteY12" fmla="*/ 6857999 h 6857999"/>
              <a:gd name="connsiteX13" fmla="*/ 1190314 w 9474616"/>
              <a:gd name="connsiteY13" fmla="*/ 6857999 h 6857999"/>
              <a:gd name="connsiteX14" fmla="*/ 968064 w 9474616"/>
              <a:gd name="connsiteY14" fmla="*/ 6857999 h 6857999"/>
              <a:gd name="connsiteX15" fmla="*/ 756997 w 9474616"/>
              <a:gd name="connsiteY15" fmla="*/ 6857999 h 6857999"/>
              <a:gd name="connsiteX16" fmla="*/ 0 w 9474616"/>
              <a:gd name="connsiteY1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74616" h="6857999">
                <a:moveTo>
                  <a:pt x="0" y="0"/>
                </a:moveTo>
                <a:lnTo>
                  <a:pt x="756997" y="0"/>
                </a:lnTo>
                <a:lnTo>
                  <a:pt x="968064" y="0"/>
                </a:lnTo>
                <a:lnTo>
                  <a:pt x="1190314" y="0"/>
                </a:lnTo>
                <a:lnTo>
                  <a:pt x="2537404" y="0"/>
                </a:lnTo>
                <a:lnTo>
                  <a:pt x="2741740" y="0"/>
                </a:lnTo>
                <a:lnTo>
                  <a:pt x="3331949" y="0"/>
                </a:lnTo>
                <a:lnTo>
                  <a:pt x="9474616" y="0"/>
                </a:lnTo>
                <a:lnTo>
                  <a:pt x="5515149" y="6857997"/>
                </a:lnTo>
                <a:lnTo>
                  <a:pt x="3425952" y="6857997"/>
                </a:lnTo>
                <a:lnTo>
                  <a:pt x="3425952" y="6857999"/>
                </a:lnTo>
                <a:lnTo>
                  <a:pt x="3331949" y="6857999"/>
                </a:lnTo>
                <a:lnTo>
                  <a:pt x="2741740" y="6857999"/>
                </a:lnTo>
                <a:lnTo>
                  <a:pt x="1190314" y="6857999"/>
                </a:lnTo>
                <a:lnTo>
                  <a:pt x="968064" y="6857999"/>
                </a:lnTo>
                <a:lnTo>
                  <a:pt x="756997" y="6857999"/>
                </a:lnTo>
                <a:lnTo>
                  <a:pt x="0" y="6857999"/>
                </a:lnTo>
                <a:close/>
              </a:path>
            </a:pathLst>
          </a:custGeom>
        </p:spPr>
      </p:pic>
      <p:sp>
        <p:nvSpPr>
          <p:cNvPr id="5" name="Freeform: Shape 4">
            <a:extLst>
              <a:ext uri="{FF2B5EF4-FFF2-40B4-BE49-F238E27FC236}">
                <a16:creationId xmlns:a16="http://schemas.microsoft.com/office/drawing/2014/main" id="{590FD2E3-466A-E4AF-F55C-6717E595DD51}"/>
              </a:ext>
            </a:extLst>
          </p:cNvPr>
          <p:cNvSpPr/>
          <p:nvPr userDrawn="1"/>
        </p:nvSpPr>
        <p:spPr>
          <a:xfrm>
            <a:off x="0" y="1"/>
            <a:ext cx="9474616" cy="6857999"/>
          </a:xfrm>
          <a:custGeom>
            <a:avLst/>
            <a:gdLst>
              <a:gd name="connsiteX0" fmla="*/ 0 w 9474616"/>
              <a:gd name="connsiteY0" fmla="*/ 0 h 6857999"/>
              <a:gd name="connsiteX1" fmla="*/ 756997 w 9474616"/>
              <a:gd name="connsiteY1" fmla="*/ 0 h 6857999"/>
              <a:gd name="connsiteX2" fmla="*/ 968064 w 9474616"/>
              <a:gd name="connsiteY2" fmla="*/ 0 h 6857999"/>
              <a:gd name="connsiteX3" fmla="*/ 1190314 w 9474616"/>
              <a:gd name="connsiteY3" fmla="*/ 0 h 6857999"/>
              <a:gd name="connsiteX4" fmla="*/ 2537404 w 9474616"/>
              <a:gd name="connsiteY4" fmla="*/ 0 h 6857999"/>
              <a:gd name="connsiteX5" fmla="*/ 2741740 w 9474616"/>
              <a:gd name="connsiteY5" fmla="*/ 0 h 6857999"/>
              <a:gd name="connsiteX6" fmla="*/ 3331949 w 9474616"/>
              <a:gd name="connsiteY6" fmla="*/ 0 h 6857999"/>
              <a:gd name="connsiteX7" fmla="*/ 9474616 w 9474616"/>
              <a:gd name="connsiteY7" fmla="*/ 0 h 6857999"/>
              <a:gd name="connsiteX8" fmla="*/ 5515149 w 9474616"/>
              <a:gd name="connsiteY8" fmla="*/ 6857997 h 6857999"/>
              <a:gd name="connsiteX9" fmla="*/ 3425952 w 9474616"/>
              <a:gd name="connsiteY9" fmla="*/ 6857997 h 6857999"/>
              <a:gd name="connsiteX10" fmla="*/ 3425952 w 9474616"/>
              <a:gd name="connsiteY10" fmla="*/ 6857999 h 6857999"/>
              <a:gd name="connsiteX11" fmla="*/ 3331949 w 9474616"/>
              <a:gd name="connsiteY11" fmla="*/ 6857999 h 6857999"/>
              <a:gd name="connsiteX12" fmla="*/ 2741740 w 9474616"/>
              <a:gd name="connsiteY12" fmla="*/ 6857999 h 6857999"/>
              <a:gd name="connsiteX13" fmla="*/ 1190314 w 9474616"/>
              <a:gd name="connsiteY13" fmla="*/ 6857999 h 6857999"/>
              <a:gd name="connsiteX14" fmla="*/ 968064 w 9474616"/>
              <a:gd name="connsiteY14" fmla="*/ 6857999 h 6857999"/>
              <a:gd name="connsiteX15" fmla="*/ 756997 w 9474616"/>
              <a:gd name="connsiteY15" fmla="*/ 6857999 h 6857999"/>
              <a:gd name="connsiteX16" fmla="*/ 0 w 9474616"/>
              <a:gd name="connsiteY1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74616" h="6857999">
                <a:moveTo>
                  <a:pt x="0" y="0"/>
                </a:moveTo>
                <a:lnTo>
                  <a:pt x="756997" y="0"/>
                </a:lnTo>
                <a:lnTo>
                  <a:pt x="968064" y="0"/>
                </a:lnTo>
                <a:lnTo>
                  <a:pt x="1190314" y="0"/>
                </a:lnTo>
                <a:lnTo>
                  <a:pt x="2537404" y="0"/>
                </a:lnTo>
                <a:lnTo>
                  <a:pt x="2741740" y="0"/>
                </a:lnTo>
                <a:lnTo>
                  <a:pt x="3331949" y="0"/>
                </a:lnTo>
                <a:lnTo>
                  <a:pt x="9474616" y="0"/>
                </a:lnTo>
                <a:lnTo>
                  <a:pt x="5515149" y="6857997"/>
                </a:lnTo>
                <a:lnTo>
                  <a:pt x="3425952" y="6857997"/>
                </a:lnTo>
                <a:lnTo>
                  <a:pt x="3425952" y="6857999"/>
                </a:lnTo>
                <a:lnTo>
                  <a:pt x="3331949" y="6857999"/>
                </a:lnTo>
                <a:lnTo>
                  <a:pt x="2741740" y="6857999"/>
                </a:lnTo>
                <a:lnTo>
                  <a:pt x="1190314" y="6857999"/>
                </a:lnTo>
                <a:lnTo>
                  <a:pt x="968064" y="6857999"/>
                </a:lnTo>
                <a:lnTo>
                  <a:pt x="756997" y="6857999"/>
                </a:lnTo>
                <a:lnTo>
                  <a:pt x="0" y="6857999"/>
                </a:lnTo>
                <a:close/>
              </a:path>
            </a:pathLst>
          </a:custGeom>
          <a:gradFill flip="none" rotWithShape="0">
            <a:gsLst>
              <a:gs pos="0">
                <a:srgbClr val="00338D">
                  <a:alpha val="90980"/>
                </a:srgbClr>
              </a:gs>
              <a:gs pos="100000">
                <a:srgbClr val="7A2582">
                  <a:alpha val="9098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GB">
              <a:solidFill>
                <a:schemeClr val="lt1">
                  <a:alpha val="44000"/>
                </a:schemeClr>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3" name="think-cell data - do not delete" hidden="1">
            <a:extLst>
              <a:ext uri="{FF2B5EF4-FFF2-40B4-BE49-F238E27FC236}">
                <a16:creationId xmlns:a16="http://schemas.microsoft.com/office/drawing/2014/main" id="{76F581E1-3F64-53E7-19C2-F1CD0DE57F8A}"/>
              </a:ext>
            </a:extLst>
          </p:cNvPr>
          <p:cNvGraphicFramePr>
            <a:graphicFrameLocks noChangeAspect="1"/>
          </p:cNvGraphicFramePr>
          <p:nvPr userDrawn="1">
            <p:custDataLst>
              <p:tags r:id="rId1"/>
            </p:custDataLst>
            <p:extLst>
              <p:ext uri="{D42A27DB-BD31-4B8C-83A1-F6EECF244321}">
                <p14:modId xmlns:p14="http://schemas.microsoft.com/office/powerpoint/2010/main" val="1526818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3" progId="TCLayout.ActiveDocument.1">
                  <p:embed/>
                </p:oleObj>
              </mc:Choice>
              <mc:Fallback>
                <p:oleObj name="think-cell Slide" r:id="rId4" imgW="344" imgH="34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Background - Solid">
            <a:extLst>
              <a:ext uri="{FF2B5EF4-FFF2-40B4-BE49-F238E27FC236}">
                <a16:creationId xmlns:a16="http://schemas.microsoft.com/office/drawing/2014/main" id="{A27A1177-E685-2C8E-9B9F-F0E84CFF82F6}"/>
              </a:ext>
            </a:extLst>
          </p:cNvPr>
          <p:cNvSpPr/>
          <p:nvPr/>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5" name="Text Placeholder 27">
            <a:extLst>
              <a:ext uri="{FF2B5EF4-FFF2-40B4-BE49-F238E27FC236}">
                <a16:creationId xmlns:a16="http://schemas.microsoft.com/office/drawing/2014/main" id="{17D8A2FC-EDEA-5DC2-3D48-71DB04C5050B}"/>
              </a:ext>
            </a:extLst>
          </p:cNvPr>
          <p:cNvSpPr>
            <a:spLocks noGrp="1"/>
          </p:cNvSpPr>
          <p:nvPr>
            <p:ph type="body" sz="quarter" idx="17" hasCustomPrompt="1"/>
          </p:nvPr>
        </p:nvSpPr>
        <p:spPr>
          <a:xfrm>
            <a:off x="453915" y="547529"/>
            <a:ext cx="3434826" cy="840230"/>
          </a:xfrm>
          <a:prstGeom prst="rect">
            <a:avLst/>
          </a:prstGeom>
        </p:spPr>
        <p:txBody>
          <a:bodyPr anchor="ctr"/>
          <a:lstStyle>
            <a:lvl1pPr marL="0" indent="0" algn="l" defTabSz="914400" rtl="0" eaLnBrk="1" latinLnBrk="0" hangingPunct="1">
              <a:lnSpc>
                <a:spcPct val="90000"/>
              </a:lnSpc>
              <a:buNone/>
              <a:defRPr lang="en-GB" sz="5400" b="1" kern="1200" dirty="0">
                <a:solidFill>
                  <a:schemeClr val="bg2"/>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lvl="0"/>
            <a:r>
              <a:rPr lang="en-GB" dirty="0"/>
              <a:t>Agenda</a:t>
            </a:r>
          </a:p>
        </p:txBody>
      </p:sp>
      <p:sp>
        <p:nvSpPr>
          <p:cNvPr id="7" name="Slide Number Placeholder 5">
            <a:extLst>
              <a:ext uri="{FF2B5EF4-FFF2-40B4-BE49-F238E27FC236}">
                <a16:creationId xmlns:a16="http://schemas.microsoft.com/office/drawing/2014/main" id="{06721091-94E7-22C5-270C-85E85E0E2B3D}"/>
              </a:ext>
            </a:extLst>
          </p:cNvPr>
          <p:cNvSpPr txBox="1">
            <a:spLocks/>
          </p:cNvSpPr>
          <p:nvPr userDrawn="1"/>
        </p:nvSpPr>
        <p:spPr>
          <a:xfrm>
            <a:off x="9141577" y="629920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EB7FA4-D16D-498B-9843-862279835448}" type="slidenum">
              <a:rPr lang="en-GB" sz="1100" b="1" smtClean="0">
                <a:solidFill>
                  <a:schemeClr val="accent1"/>
                </a:solidFill>
                <a:latin typeface="Arial" panose="020B0604020202020204" pitchFamily="34" charset="0"/>
                <a:cs typeface="Arial" panose="020B0604020202020204" pitchFamily="34" charset="0"/>
                <a:sym typeface="Arial" panose="020B0604020202020204" pitchFamily="34" charset="0"/>
              </a:rPr>
              <a:pPr/>
              <a:t>‹Nr.›</a:t>
            </a:fld>
            <a:endParaRPr lang="en-GB" sz="1100" b="1" dirty="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10" name="Text Placeholder 27">
            <a:extLst>
              <a:ext uri="{FF2B5EF4-FFF2-40B4-BE49-F238E27FC236}">
                <a16:creationId xmlns:a16="http://schemas.microsoft.com/office/drawing/2014/main" id="{CCA5758D-A45F-1B00-0186-FB486BD57B95}"/>
              </a:ext>
            </a:extLst>
          </p:cNvPr>
          <p:cNvSpPr>
            <a:spLocks noGrp="1"/>
          </p:cNvSpPr>
          <p:nvPr>
            <p:ph type="body" sz="quarter" idx="20"/>
          </p:nvPr>
        </p:nvSpPr>
        <p:spPr>
          <a:xfrm>
            <a:off x="1367590" y="1671618"/>
            <a:ext cx="3944703" cy="337400"/>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11" name="Text Placeholder 27">
            <a:extLst>
              <a:ext uri="{FF2B5EF4-FFF2-40B4-BE49-F238E27FC236}">
                <a16:creationId xmlns:a16="http://schemas.microsoft.com/office/drawing/2014/main" id="{58678B6C-902F-62F2-8828-B0282C612FDC}"/>
              </a:ext>
            </a:extLst>
          </p:cNvPr>
          <p:cNvSpPr>
            <a:spLocks noGrp="1"/>
          </p:cNvSpPr>
          <p:nvPr>
            <p:ph type="body" sz="quarter" idx="32"/>
          </p:nvPr>
        </p:nvSpPr>
        <p:spPr>
          <a:xfrm>
            <a:off x="1367590" y="2253658"/>
            <a:ext cx="3944703" cy="337400"/>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12" name="Text Placeholder 27">
            <a:extLst>
              <a:ext uri="{FF2B5EF4-FFF2-40B4-BE49-F238E27FC236}">
                <a16:creationId xmlns:a16="http://schemas.microsoft.com/office/drawing/2014/main" id="{834CB27E-23C3-D325-A089-986CE5BC3AE3}"/>
              </a:ext>
            </a:extLst>
          </p:cNvPr>
          <p:cNvSpPr>
            <a:spLocks noGrp="1"/>
          </p:cNvSpPr>
          <p:nvPr>
            <p:ph type="body" sz="quarter" idx="33"/>
          </p:nvPr>
        </p:nvSpPr>
        <p:spPr>
          <a:xfrm>
            <a:off x="1367590" y="2835698"/>
            <a:ext cx="3944703" cy="337400"/>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13" name="Text Placeholder 27">
            <a:extLst>
              <a:ext uri="{FF2B5EF4-FFF2-40B4-BE49-F238E27FC236}">
                <a16:creationId xmlns:a16="http://schemas.microsoft.com/office/drawing/2014/main" id="{7869C244-524B-6398-CC49-14852BA7EFFC}"/>
              </a:ext>
            </a:extLst>
          </p:cNvPr>
          <p:cNvSpPr>
            <a:spLocks noGrp="1"/>
          </p:cNvSpPr>
          <p:nvPr>
            <p:ph type="body" sz="quarter" idx="34"/>
          </p:nvPr>
        </p:nvSpPr>
        <p:spPr>
          <a:xfrm>
            <a:off x="1367590" y="3417738"/>
            <a:ext cx="3944703" cy="337400"/>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14" name="Text Placeholder 27">
            <a:extLst>
              <a:ext uri="{FF2B5EF4-FFF2-40B4-BE49-F238E27FC236}">
                <a16:creationId xmlns:a16="http://schemas.microsoft.com/office/drawing/2014/main" id="{E052C9CC-9204-BA0A-ED28-25B1835CF9FA}"/>
              </a:ext>
            </a:extLst>
          </p:cNvPr>
          <p:cNvSpPr>
            <a:spLocks noGrp="1"/>
          </p:cNvSpPr>
          <p:nvPr>
            <p:ph type="body" sz="quarter" idx="35"/>
          </p:nvPr>
        </p:nvSpPr>
        <p:spPr>
          <a:xfrm>
            <a:off x="1367590" y="3999778"/>
            <a:ext cx="3944703" cy="337400"/>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15" name="Text Placeholder 27">
            <a:extLst>
              <a:ext uri="{FF2B5EF4-FFF2-40B4-BE49-F238E27FC236}">
                <a16:creationId xmlns:a16="http://schemas.microsoft.com/office/drawing/2014/main" id="{5BC88091-9936-FA76-2475-3B2101604A47}"/>
              </a:ext>
            </a:extLst>
          </p:cNvPr>
          <p:cNvSpPr>
            <a:spLocks noGrp="1"/>
          </p:cNvSpPr>
          <p:nvPr>
            <p:ph type="body" sz="quarter" idx="36"/>
          </p:nvPr>
        </p:nvSpPr>
        <p:spPr>
          <a:xfrm>
            <a:off x="1367590" y="4581818"/>
            <a:ext cx="3944703" cy="337400"/>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16" name="Text Placeholder 27">
            <a:extLst>
              <a:ext uri="{FF2B5EF4-FFF2-40B4-BE49-F238E27FC236}">
                <a16:creationId xmlns:a16="http://schemas.microsoft.com/office/drawing/2014/main" id="{D4718337-DAF2-2A88-8F27-A6ECB83161C4}"/>
              </a:ext>
            </a:extLst>
          </p:cNvPr>
          <p:cNvSpPr>
            <a:spLocks noGrp="1"/>
          </p:cNvSpPr>
          <p:nvPr>
            <p:ph type="body" sz="quarter" idx="37"/>
          </p:nvPr>
        </p:nvSpPr>
        <p:spPr>
          <a:xfrm>
            <a:off x="1367590" y="5163858"/>
            <a:ext cx="3944703" cy="337400"/>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17" name="Text Placeholder 27">
            <a:extLst>
              <a:ext uri="{FF2B5EF4-FFF2-40B4-BE49-F238E27FC236}">
                <a16:creationId xmlns:a16="http://schemas.microsoft.com/office/drawing/2014/main" id="{DC2B8864-71BF-2C01-3E7B-7CEC6D675FDA}"/>
              </a:ext>
            </a:extLst>
          </p:cNvPr>
          <p:cNvSpPr>
            <a:spLocks noGrp="1"/>
          </p:cNvSpPr>
          <p:nvPr>
            <p:ph type="body" sz="quarter" idx="38"/>
          </p:nvPr>
        </p:nvSpPr>
        <p:spPr>
          <a:xfrm>
            <a:off x="1367590" y="5745901"/>
            <a:ext cx="3944703" cy="337400"/>
          </a:xfrm>
          <a:prstGeom prst="rect">
            <a:avLst/>
          </a:prstGeom>
        </p:spPr>
        <p:txBody>
          <a:bodyPr anchor="ctr"/>
          <a:lstStyle>
            <a:lvl1pPr marL="0" indent="0" algn="l" defTabSz="914400" rtl="0" eaLnBrk="1" latinLnBrk="0" hangingPunct="1">
              <a:buNone/>
              <a:defRPr kumimoji="0" lang="en-GB" sz="2000" b="0" i="0" u="none" strike="noStrike" kern="1200" cap="none" spc="0" normalizeH="0" baseline="0" dirty="0">
                <a:ln>
                  <a:noFill/>
                </a:ln>
                <a:solidFill>
                  <a:schemeClr val="bg2"/>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en-GB" dirty="0"/>
          </a:p>
        </p:txBody>
      </p:sp>
      <p:sp>
        <p:nvSpPr>
          <p:cNvPr id="9" name="Text Placeholder 8">
            <a:extLst>
              <a:ext uri="{FF2B5EF4-FFF2-40B4-BE49-F238E27FC236}">
                <a16:creationId xmlns:a16="http://schemas.microsoft.com/office/drawing/2014/main" id="{09CF02E4-FD8E-4619-E7F3-D7DEB3B96947}"/>
              </a:ext>
            </a:extLst>
          </p:cNvPr>
          <p:cNvSpPr>
            <a:spLocks noGrp="1"/>
          </p:cNvSpPr>
          <p:nvPr>
            <p:ph type="body" sz="quarter" idx="39" hasCustomPrompt="1"/>
          </p:nvPr>
        </p:nvSpPr>
        <p:spPr>
          <a:xfrm>
            <a:off x="588963" y="1611294"/>
            <a:ext cx="778392" cy="458048"/>
          </a:xfrm>
          <a:custGeom>
            <a:avLst/>
            <a:gdLst>
              <a:gd name="connsiteX0" fmla="*/ 259099 w 778392"/>
              <a:gd name="connsiteY0" fmla="*/ 0 h 458048"/>
              <a:gd name="connsiteX1" fmla="*/ 778392 w 778392"/>
              <a:gd name="connsiteY1" fmla="*/ 0 h 458048"/>
              <a:gd name="connsiteX2" fmla="*/ 519293 w 778392"/>
              <a:gd name="connsiteY2" fmla="*/ 458048 h 458048"/>
              <a:gd name="connsiteX3" fmla="*/ 0 w 778392"/>
              <a:gd name="connsiteY3" fmla="*/ 458048 h 458048"/>
            </a:gdLst>
            <a:ahLst/>
            <a:cxnLst>
              <a:cxn ang="0">
                <a:pos x="connsiteX0" y="connsiteY0"/>
              </a:cxn>
              <a:cxn ang="0">
                <a:pos x="connsiteX1" y="connsiteY1"/>
              </a:cxn>
              <a:cxn ang="0">
                <a:pos x="connsiteX2" y="connsiteY2"/>
              </a:cxn>
              <a:cxn ang="0">
                <a:pos x="connsiteX3" y="connsiteY3"/>
              </a:cxn>
            </a:cxnLst>
            <a:rect l="l" t="t" r="r" b="b"/>
            <a:pathLst>
              <a:path w="778392" h="458048">
                <a:moveTo>
                  <a:pt x="259099" y="0"/>
                </a:moveTo>
                <a:lnTo>
                  <a:pt x="778392" y="0"/>
                </a:lnTo>
                <a:lnTo>
                  <a:pt x="519293" y="458048"/>
                </a:lnTo>
                <a:lnTo>
                  <a:pt x="0" y="458048"/>
                </a:lnTo>
                <a:close/>
              </a:path>
            </a:pathLst>
          </a:cu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US" sz="2000" b="1" i="0" u="none" strike="noStrike" cap="none" spc="0" normalizeH="0" baseline="0" dirty="0" smtClean="0">
                <a:ln>
                  <a:noFill/>
                </a:ln>
                <a:solidFill>
                  <a:srgbClr val="00338D"/>
                </a:solidFill>
                <a:effectLst/>
                <a:uLnTx/>
                <a:uFillTx/>
                <a:latin typeface="Arial" panose="020B0604020202020204" pitchFamily="34" charset="0"/>
                <a:cs typeface="Arial" panose="020B0604020202020204" pitchFamily="34" charset="0"/>
                <a:sym typeface="Arial" panose="020B0604020202020204" pitchFamily="34" charset="0"/>
              </a:defRPr>
            </a:lvl1pPr>
            <a:lvl2pPr algn="ctr">
              <a:defRPr lang="en-US" sz="1800" dirty="0" smtClean="0"/>
            </a:lvl2pPr>
            <a:lvl3pPr algn="ctr">
              <a:defRPr lang="en-US" sz="1800" dirty="0" smtClean="0"/>
            </a:lvl3pPr>
            <a:lvl4pPr algn="ctr">
              <a:defRPr lang="en-US" dirty="0" smtClean="0"/>
            </a:lvl4pPr>
            <a:lvl5pPr algn="ctr">
              <a:defRPr lang="en-US" dirty="0"/>
            </a:lvl5pPr>
          </a:lstStyle>
          <a:p>
            <a:pPr marL="228600" marR="0" lvl="0" indent="-228600" algn="ctr" fontAlgn="auto">
              <a:lnSpc>
                <a:spcPct val="100000"/>
              </a:lnSpc>
              <a:spcBef>
                <a:spcPts val="0"/>
              </a:spcBef>
              <a:spcAft>
                <a:spcPts val="0"/>
              </a:spcAft>
              <a:buClrTx/>
              <a:buSzTx/>
              <a:tabLst/>
            </a:pPr>
            <a:r>
              <a:rPr lang="en-US" dirty="0"/>
              <a:t>X</a:t>
            </a:r>
          </a:p>
        </p:txBody>
      </p:sp>
      <p:sp>
        <p:nvSpPr>
          <p:cNvPr id="18" name="Text Placeholder 17">
            <a:extLst>
              <a:ext uri="{FF2B5EF4-FFF2-40B4-BE49-F238E27FC236}">
                <a16:creationId xmlns:a16="http://schemas.microsoft.com/office/drawing/2014/main" id="{4FD9F3BE-2825-B94E-A4DB-515F872198D3}"/>
              </a:ext>
            </a:extLst>
          </p:cNvPr>
          <p:cNvSpPr>
            <a:spLocks noGrp="1"/>
          </p:cNvSpPr>
          <p:nvPr>
            <p:ph type="body" sz="quarter" idx="40" hasCustomPrompt="1"/>
          </p:nvPr>
        </p:nvSpPr>
        <p:spPr>
          <a:xfrm>
            <a:off x="588963" y="2193334"/>
            <a:ext cx="778392" cy="458048"/>
          </a:xfrm>
          <a:custGeom>
            <a:avLst/>
            <a:gdLst>
              <a:gd name="connsiteX0" fmla="*/ 259099 w 778392"/>
              <a:gd name="connsiteY0" fmla="*/ 0 h 458048"/>
              <a:gd name="connsiteX1" fmla="*/ 778392 w 778392"/>
              <a:gd name="connsiteY1" fmla="*/ 0 h 458048"/>
              <a:gd name="connsiteX2" fmla="*/ 519293 w 778392"/>
              <a:gd name="connsiteY2" fmla="*/ 458048 h 458048"/>
              <a:gd name="connsiteX3" fmla="*/ 0 w 778392"/>
              <a:gd name="connsiteY3" fmla="*/ 458048 h 458048"/>
            </a:gdLst>
            <a:ahLst/>
            <a:cxnLst>
              <a:cxn ang="0">
                <a:pos x="connsiteX0" y="connsiteY0"/>
              </a:cxn>
              <a:cxn ang="0">
                <a:pos x="connsiteX1" y="connsiteY1"/>
              </a:cxn>
              <a:cxn ang="0">
                <a:pos x="connsiteX2" y="connsiteY2"/>
              </a:cxn>
              <a:cxn ang="0">
                <a:pos x="connsiteX3" y="connsiteY3"/>
              </a:cxn>
            </a:cxnLst>
            <a:rect l="l" t="t" r="r" b="b"/>
            <a:pathLst>
              <a:path w="778392" h="458048">
                <a:moveTo>
                  <a:pt x="259099" y="0"/>
                </a:moveTo>
                <a:lnTo>
                  <a:pt x="778392" y="0"/>
                </a:lnTo>
                <a:lnTo>
                  <a:pt x="519293" y="458048"/>
                </a:lnTo>
                <a:lnTo>
                  <a:pt x="0" y="458048"/>
                </a:lnTo>
                <a:close/>
              </a:path>
            </a:pathLst>
          </a:cu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US" sz="2000" b="1" i="0" u="none" strike="noStrike" cap="none" spc="0" normalizeH="0" baseline="0" dirty="0" smtClean="0">
                <a:ln>
                  <a:noFill/>
                </a:ln>
                <a:solidFill>
                  <a:srgbClr val="00338D"/>
                </a:solidFill>
                <a:effectLst/>
                <a:uLnTx/>
                <a:uFillTx/>
                <a:latin typeface="Arial" panose="020B0604020202020204" pitchFamily="34" charset="0"/>
                <a:cs typeface="Arial" panose="020B0604020202020204" pitchFamily="34" charset="0"/>
                <a:sym typeface="Arial" panose="020B0604020202020204" pitchFamily="34" charset="0"/>
              </a:defRPr>
            </a:lvl1pPr>
            <a:lvl2pPr algn="ctr">
              <a:defRPr lang="en-US" sz="1800" dirty="0" smtClean="0"/>
            </a:lvl2pPr>
            <a:lvl3pPr algn="ctr">
              <a:defRPr lang="en-US" sz="1800" dirty="0" smtClean="0"/>
            </a:lvl3pPr>
            <a:lvl4pPr algn="ctr">
              <a:defRPr lang="en-US" dirty="0" smtClean="0"/>
            </a:lvl4pPr>
            <a:lvl5pPr algn="ctr">
              <a:defRPr lang="en-US" dirty="0"/>
            </a:lvl5pPr>
          </a:lstStyle>
          <a:p>
            <a:pPr marL="228600" marR="0" lvl="0" indent="-228600" algn="ctr" fontAlgn="auto">
              <a:lnSpc>
                <a:spcPct val="100000"/>
              </a:lnSpc>
              <a:spcBef>
                <a:spcPts val="0"/>
              </a:spcBef>
              <a:spcAft>
                <a:spcPts val="0"/>
              </a:spcAft>
              <a:buClrTx/>
              <a:buSzTx/>
              <a:tabLst/>
            </a:pPr>
            <a:r>
              <a:rPr lang="en-US" dirty="0"/>
              <a:t>X</a:t>
            </a:r>
          </a:p>
        </p:txBody>
      </p:sp>
      <p:sp>
        <p:nvSpPr>
          <p:cNvPr id="21" name="Text Placeholder 20">
            <a:extLst>
              <a:ext uri="{FF2B5EF4-FFF2-40B4-BE49-F238E27FC236}">
                <a16:creationId xmlns:a16="http://schemas.microsoft.com/office/drawing/2014/main" id="{B066EB8C-89E1-77CA-FA2D-48548E17EBCB}"/>
              </a:ext>
            </a:extLst>
          </p:cNvPr>
          <p:cNvSpPr>
            <a:spLocks noGrp="1"/>
          </p:cNvSpPr>
          <p:nvPr>
            <p:ph type="body" sz="quarter" idx="41" hasCustomPrompt="1"/>
          </p:nvPr>
        </p:nvSpPr>
        <p:spPr>
          <a:xfrm>
            <a:off x="588963" y="2775374"/>
            <a:ext cx="778392" cy="458048"/>
          </a:xfrm>
          <a:custGeom>
            <a:avLst/>
            <a:gdLst>
              <a:gd name="connsiteX0" fmla="*/ 259099 w 778392"/>
              <a:gd name="connsiteY0" fmla="*/ 0 h 458048"/>
              <a:gd name="connsiteX1" fmla="*/ 778392 w 778392"/>
              <a:gd name="connsiteY1" fmla="*/ 0 h 458048"/>
              <a:gd name="connsiteX2" fmla="*/ 519293 w 778392"/>
              <a:gd name="connsiteY2" fmla="*/ 458048 h 458048"/>
              <a:gd name="connsiteX3" fmla="*/ 0 w 778392"/>
              <a:gd name="connsiteY3" fmla="*/ 458048 h 458048"/>
            </a:gdLst>
            <a:ahLst/>
            <a:cxnLst>
              <a:cxn ang="0">
                <a:pos x="connsiteX0" y="connsiteY0"/>
              </a:cxn>
              <a:cxn ang="0">
                <a:pos x="connsiteX1" y="connsiteY1"/>
              </a:cxn>
              <a:cxn ang="0">
                <a:pos x="connsiteX2" y="connsiteY2"/>
              </a:cxn>
              <a:cxn ang="0">
                <a:pos x="connsiteX3" y="connsiteY3"/>
              </a:cxn>
            </a:cxnLst>
            <a:rect l="l" t="t" r="r" b="b"/>
            <a:pathLst>
              <a:path w="778392" h="458048">
                <a:moveTo>
                  <a:pt x="259099" y="0"/>
                </a:moveTo>
                <a:lnTo>
                  <a:pt x="778392" y="0"/>
                </a:lnTo>
                <a:lnTo>
                  <a:pt x="519293" y="458048"/>
                </a:lnTo>
                <a:lnTo>
                  <a:pt x="0" y="458048"/>
                </a:lnTo>
                <a:close/>
              </a:path>
            </a:pathLst>
          </a:cu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US" sz="2000" b="1" i="0" u="none" strike="noStrike" cap="none" spc="0" normalizeH="0" baseline="0" dirty="0" smtClean="0">
                <a:ln>
                  <a:noFill/>
                </a:ln>
                <a:solidFill>
                  <a:srgbClr val="00338D"/>
                </a:solidFill>
                <a:effectLst/>
                <a:uLnTx/>
                <a:uFillTx/>
                <a:latin typeface="Arial" panose="020B0604020202020204" pitchFamily="34" charset="0"/>
                <a:cs typeface="Arial" panose="020B0604020202020204" pitchFamily="34" charset="0"/>
                <a:sym typeface="Arial" panose="020B0604020202020204" pitchFamily="34" charset="0"/>
              </a:defRPr>
            </a:lvl1pPr>
            <a:lvl2pPr algn="ctr">
              <a:defRPr lang="en-US" sz="1800" dirty="0" smtClean="0"/>
            </a:lvl2pPr>
            <a:lvl3pPr algn="ctr">
              <a:defRPr lang="en-US" sz="1800" dirty="0" smtClean="0"/>
            </a:lvl3pPr>
            <a:lvl4pPr algn="ctr">
              <a:defRPr lang="en-US" dirty="0" smtClean="0"/>
            </a:lvl4pPr>
            <a:lvl5pPr algn="ctr">
              <a:defRPr lang="en-US" dirty="0"/>
            </a:lvl5pPr>
          </a:lstStyle>
          <a:p>
            <a:pPr marL="228600" marR="0" lvl="0" indent="-228600" algn="ctr" fontAlgn="auto">
              <a:lnSpc>
                <a:spcPct val="100000"/>
              </a:lnSpc>
              <a:spcBef>
                <a:spcPts val="0"/>
              </a:spcBef>
              <a:spcAft>
                <a:spcPts val="0"/>
              </a:spcAft>
              <a:buClrTx/>
              <a:buSzTx/>
              <a:tabLst/>
            </a:pPr>
            <a:r>
              <a:rPr lang="en-US" dirty="0"/>
              <a:t>X</a:t>
            </a:r>
          </a:p>
        </p:txBody>
      </p:sp>
      <p:sp>
        <p:nvSpPr>
          <p:cNvPr id="23" name="Text Placeholder 22">
            <a:extLst>
              <a:ext uri="{FF2B5EF4-FFF2-40B4-BE49-F238E27FC236}">
                <a16:creationId xmlns:a16="http://schemas.microsoft.com/office/drawing/2014/main" id="{89962A9F-4FF0-875D-E8B8-3AA802C3768D}"/>
              </a:ext>
            </a:extLst>
          </p:cNvPr>
          <p:cNvSpPr>
            <a:spLocks noGrp="1"/>
          </p:cNvSpPr>
          <p:nvPr>
            <p:ph type="body" sz="quarter" idx="42" hasCustomPrompt="1"/>
          </p:nvPr>
        </p:nvSpPr>
        <p:spPr>
          <a:xfrm>
            <a:off x="588963" y="3357414"/>
            <a:ext cx="778392" cy="458048"/>
          </a:xfrm>
          <a:custGeom>
            <a:avLst/>
            <a:gdLst>
              <a:gd name="connsiteX0" fmla="*/ 259099 w 778392"/>
              <a:gd name="connsiteY0" fmla="*/ 0 h 458048"/>
              <a:gd name="connsiteX1" fmla="*/ 778392 w 778392"/>
              <a:gd name="connsiteY1" fmla="*/ 0 h 458048"/>
              <a:gd name="connsiteX2" fmla="*/ 519293 w 778392"/>
              <a:gd name="connsiteY2" fmla="*/ 458048 h 458048"/>
              <a:gd name="connsiteX3" fmla="*/ 0 w 778392"/>
              <a:gd name="connsiteY3" fmla="*/ 458048 h 458048"/>
            </a:gdLst>
            <a:ahLst/>
            <a:cxnLst>
              <a:cxn ang="0">
                <a:pos x="connsiteX0" y="connsiteY0"/>
              </a:cxn>
              <a:cxn ang="0">
                <a:pos x="connsiteX1" y="connsiteY1"/>
              </a:cxn>
              <a:cxn ang="0">
                <a:pos x="connsiteX2" y="connsiteY2"/>
              </a:cxn>
              <a:cxn ang="0">
                <a:pos x="connsiteX3" y="connsiteY3"/>
              </a:cxn>
            </a:cxnLst>
            <a:rect l="l" t="t" r="r" b="b"/>
            <a:pathLst>
              <a:path w="778392" h="458048">
                <a:moveTo>
                  <a:pt x="259099" y="0"/>
                </a:moveTo>
                <a:lnTo>
                  <a:pt x="778392" y="0"/>
                </a:lnTo>
                <a:lnTo>
                  <a:pt x="519293" y="458048"/>
                </a:lnTo>
                <a:lnTo>
                  <a:pt x="0" y="458048"/>
                </a:lnTo>
                <a:close/>
              </a:path>
            </a:pathLst>
          </a:cu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US" sz="2000" b="1" i="0" u="none" strike="noStrike" cap="none" spc="0" normalizeH="0" baseline="0" dirty="0" smtClean="0">
                <a:ln>
                  <a:noFill/>
                </a:ln>
                <a:solidFill>
                  <a:srgbClr val="00338D"/>
                </a:solidFill>
                <a:effectLst/>
                <a:uLnTx/>
                <a:uFillTx/>
                <a:latin typeface="Arial" panose="020B0604020202020204" pitchFamily="34" charset="0"/>
                <a:cs typeface="Arial" panose="020B0604020202020204" pitchFamily="34" charset="0"/>
                <a:sym typeface="Arial" panose="020B0604020202020204" pitchFamily="34" charset="0"/>
              </a:defRPr>
            </a:lvl1pPr>
            <a:lvl2pPr algn="ctr">
              <a:defRPr lang="en-US" sz="1800" dirty="0" smtClean="0"/>
            </a:lvl2pPr>
            <a:lvl3pPr algn="ctr">
              <a:defRPr lang="en-US" sz="1800" dirty="0" smtClean="0"/>
            </a:lvl3pPr>
            <a:lvl4pPr algn="ctr">
              <a:defRPr lang="en-US" dirty="0" smtClean="0"/>
            </a:lvl4pPr>
            <a:lvl5pPr algn="ctr">
              <a:defRPr lang="en-US" dirty="0"/>
            </a:lvl5pPr>
          </a:lstStyle>
          <a:p>
            <a:pPr marL="228600" marR="0" lvl="0" indent="-228600" algn="ctr" fontAlgn="auto">
              <a:lnSpc>
                <a:spcPct val="100000"/>
              </a:lnSpc>
              <a:spcBef>
                <a:spcPts val="0"/>
              </a:spcBef>
              <a:spcAft>
                <a:spcPts val="0"/>
              </a:spcAft>
              <a:buClrTx/>
              <a:buSzTx/>
              <a:tabLst/>
            </a:pPr>
            <a:r>
              <a:rPr lang="en-US" dirty="0"/>
              <a:t>X</a:t>
            </a:r>
          </a:p>
        </p:txBody>
      </p:sp>
      <p:sp>
        <p:nvSpPr>
          <p:cNvPr id="33" name="Text Placeholder 32">
            <a:extLst>
              <a:ext uri="{FF2B5EF4-FFF2-40B4-BE49-F238E27FC236}">
                <a16:creationId xmlns:a16="http://schemas.microsoft.com/office/drawing/2014/main" id="{C73899F3-52FF-E154-E644-D676B33F3E31}"/>
              </a:ext>
            </a:extLst>
          </p:cNvPr>
          <p:cNvSpPr>
            <a:spLocks noGrp="1"/>
          </p:cNvSpPr>
          <p:nvPr>
            <p:ph type="body" sz="quarter" idx="43" hasCustomPrompt="1"/>
          </p:nvPr>
        </p:nvSpPr>
        <p:spPr>
          <a:xfrm>
            <a:off x="588963" y="3939454"/>
            <a:ext cx="778392" cy="458048"/>
          </a:xfrm>
          <a:custGeom>
            <a:avLst/>
            <a:gdLst>
              <a:gd name="connsiteX0" fmla="*/ 259099 w 778392"/>
              <a:gd name="connsiteY0" fmla="*/ 0 h 458048"/>
              <a:gd name="connsiteX1" fmla="*/ 778392 w 778392"/>
              <a:gd name="connsiteY1" fmla="*/ 0 h 458048"/>
              <a:gd name="connsiteX2" fmla="*/ 519293 w 778392"/>
              <a:gd name="connsiteY2" fmla="*/ 458048 h 458048"/>
              <a:gd name="connsiteX3" fmla="*/ 0 w 778392"/>
              <a:gd name="connsiteY3" fmla="*/ 458048 h 458048"/>
            </a:gdLst>
            <a:ahLst/>
            <a:cxnLst>
              <a:cxn ang="0">
                <a:pos x="connsiteX0" y="connsiteY0"/>
              </a:cxn>
              <a:cxn ang="0">
                <a:pos x="connsiteX1" y="connsiteY1"/>
              </a:cxn>
              <a:cxn ang="0">
                <a:pos x="connsiteX2" y="connsiteY2"/>
              </a:cxn>
              <a:cxn ang="0">
                <a:pos x="connsiteX3" y="connsiteY3"/>
              </a:cxn>
            </a:cxnLst>
            <a:rect l="l" t="t" r="r" b="b"/>
            <a:pathLst>
              <a:path w="778392" h="458048">
                <a:moveTo>
                  <a:pt x="259099" y="0"/>
                </a:moveTo>
                <a:lnTo>
                  <a:pt x="778392" y="0"/>
                </a:lnTo>
                <a:lnTo>
                  <a:pt x="519293" y="458048"/>
                </a:lnTo>
                <a:lnTo>
                  <a:pt x="0" y="458048"/>
                </a:lnTo>
                <a:close/>
              </a:path>
            </a:pathLst>
          </a:cu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US" sz="2000" b="1" i="0" u="none" strike="noStrike" cap="none" spc="0" normalizeH="0" baseline="0" dirty="0" smtClean="0">
                <a:ln>
                  <a:noFill/>
                </a:ln>
                <a:solidFill>
                  <a:srgbClr val="00338D"/>
                </a:solidFill>
                <a:effectLst/>
                <a:uLnTx/>
                <a:uFillTx/>
                <a:latin typeface="Arial" panose="020B0604020202020204" pitchFamily="34" charset="0"/>
                <a:cs typeface="Arial" panose="020B0604020202020204" pitchFamily="34" charset="0"/>
                <a:sym typeface="Arial" panose="020B0604020202020204" pitchFamily="34" charset="0"/>
              </a:defRPr>
            </a:lvl1pPr>
            <a:lvl2pPr algn="ctr">
              <a:defRPr lang="en-US" sz="1800" dirty="0" smtClean="0"/>
            </a:lvl2pPr>
            <a:lvl3pPr algn="ctr">
              <a:defRPr lang="en-US" sz="1800" dirty="0" smtClean="0"/>
            </a:lvl3pPr>
            <a:lvl4pPr algn="ctr">
              <a:defRPr lang="en-US" dirty="0" smtClean="0"/>
            </a:lvl4pPr>
            <a:lvl5pPr algn="ctr">
              <a:defRPr lang="en-US" dirty="0"/>
            </a:lvl5pPr>
          </a:lstStyle>
          <a:p>
            <a:pPr marL="228600" marR="0" lvl="0" indent="-228600" algn="ctr" fontAlgn="auto">
              <a:lnSpc>
                <a:spcPct val="100000"/>
              </a:lnSpc>
              <a:spcBef>
                <a:spcPts val="0"/>
              </a:spcBef>
              <a:spcAft>
                <a:spcPts val="0"/>
              </a:spcAft>
              <a:buClrTx/>
              <a:buSzTx/>
              <a:tabLst/>
            </a:pPr>
            <a:r>
              <a:rPr lang="en-US" dirty="0"/>
              <a:t>X</a:t>
            </a:r>
          </a:p>
        </p:txBody>
      </p:sp>
      <p:sp>
        <p:nvSpPr>
          <p:cNvPr id="36" name="Text Placeholder 35">
            <a:extLst>
              <a:ext uri="{FF2B5EF4-FFF2-40B4-BE49-F238E27FC236}">
                <a16:creationId xmlns:a16="http://schemas.microsoft.com/office/drawing/2014/main" id="{BFEEBE51-6A9E-1E02-8C7B-A5F650CCD29E}"/>
              </a:ext>
            </a:extLst>
          </p:cNvPr>
          <p:cNvSpPr>
            <a:spLocks noGrp="1"/>
          </p:cNvSpPr>
          <p:nvPr>
            <p:ph type="body" sz="quarter" idx="44" hasCustomPrompt="1"/>
          </p:nvPr>
        </p:nvSpPr>
        <p:spPr>
          <a:xfrm>
            <a:off x="588963" y="4521494"/>
            <a:ext cx="778392" cy="458048"/>
          </a:xfrm>
          <a:custGeom>
            <a:avLst/>
            <a:gdLst>
              <a:gd name="connsiteX0" fmla="*/ 259099 w 778392"/>
              <a:gd name="connsiteY0" fmla="*/ 0 h 458048"/>
              <a:gd name="connsiteX1" fmla="*/ 778392 w 778392"/>
              <a:gd name="connsiteY1" fmla="*/ 0 h 458048"/>
              <a:gd name="connsiteX2" fmla="*/ 519293 w 778392"/>
              <a:gd name="connsiteY2" fmla="*/ 458048 h 458048"/>
              <a:gd name="connsiteX3" fmla="*/ 0 w 778392"/>
              <a:gd name="connsiteY3" fmla="*/ 458048 h 458048"/>
            </a:gdLst>
            <a:ahLst/>
            <a:cxnLst>
              <a:cxn ang="0">
                <a:pos x="connsiteX0" y="connsiteY0"/>
              </a:cxn>
              <a:cxn ang="0">
                <a:pos x="connsiteX1" y="connsiteY1"/>
              </a:cxn>
              <a:cxn ang="0">
                <a:pos x="connsiteX2" y="connsiteY2"/>
              </a:cxn>
              <a:cxn ang="0">
                <a:pos x="connsiteX3" y="connsiteY3"/>
              </a:cxn>
            </a:cxnLst>
            <a:rect l="l" t="t" r="r" b="b"/>
            <a:pathLst>
              <a:path w="778392" h="458048">
                <a:moveTo>
                  <a:pt x="259099" y="0"/>
                </a:moveTo>
                <a:lnTo>
                  <a:pt x="778392" y="0"/>
                </a:lnTo>
                <a:lnTo>
                  <a:pt x="519293" y="458048"/>
                </a:lnTo>
                <a:lnTo>
                  <a:pt x="0" y="458048"/>
                </a:lnTo>
                <a:close/>
              </a:path>
            </a:pathLst>
          </a:cu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US" sz="2000" b="1" i="0" u="none" strike="noStrike" cap="none" spc="0" normalizeH="0" baseline="0" dirty="0" smtClean="0">
                <a:ln>
                  <a:noFill/>
                </a:ln>
                <a:solidFill>
                  <a:srgbClr val="00338D"/>
                </a:solidFill>
                <a:effectLst/>
                <a:uLnTx/>
                <a:uFillTx/>
                <a:latin typeface="Arial" panose="020B0604020202020204" pitchFamily="34" charset="0"/>
                <a:cs typeface="Arial" panose="020B0604020202020204" pitchFamily="34" charset="0"/>
                <a:sym typeface="Arial" panose="020B0604020202020204" pitchFamily="34" charset="0"/>
              </a:defRPr>
            </a:lvl1pPr>
            <a:lvl2pPr algn="ctr">
              <a:defRPr lang="en-US" sz="1800" dirty="0" smtClean="0"/>
            </a:lvl2pPr>
            <a:lvl3pPr algn="ctr">
              <a:defRPr lang="en-US" sz="1800" dirty="0" smtClean="0"/>
            </a:lvl3pPr>
            <a:lvl4pPr algn="ctr">
              <a:defRPr lang="en-US" dirty="0" smtClean="0"/>
            </a:lvl4pPr>
            <a:lvl5pPr algn="ctr">
              <a:defRPr lang="en-US" dirty="0"/>
            </a:lvl5pPr>
          </a:lstStyle>
          <a:p>
            <a:pPr marL="228600" marR="0" lvl="0" indent="-228600" algn="ctr" fontAlgn="auto">
              <a:lnSpc>
                <a:spcPct val="100000"/>
              </a:lnSpc>
              <a:spcBef>
                <a:spcPts val="0"/>
              </a:spcBef>
              <a:spcAft>
                <a:spcPts val="0"/>
              </a:spcAft>
              <a:buClrTx/>
              <a:buSzTx/>
              <a:tabLst/>
            </a:pPr>
            <a:r>
              <a:rPr lang="en-US" dirty="0"/>
              <a:t>X</a:t>
            </a:r>
          </a:p>
        </p:txBody>
      </p:sp>
      <p:sp>
        <p:nvSpPr>
          <p:cNvPr id="37" name="Text Placeholder 36">
            <a:extLst>
              <a:ext uri="{FF2B5EF4-FFF2-40B4-BE49-F238E27FC236}">
                <a16:creationId xmlns:a16="http://schemas.microsoft.com/office/drawing/2014/main" id="{7A723699-3A1B-D163-DB9F-B26146B90465}"/>
              </a:ext>
            </a:extLst>
          </p:cNvPr>
          <p:cNvSpPr>
            <a:spLocks noGrp="1"/>
          </p:cNvSpPr>
          <p:nvPr>
            <p:ph type="body" sz="quarter" idx="45" hasCustomPrompt="1"/>
          </p:nvPr>
        </p:nvSpPr>
        <p:spPr>
          <a:xfrm>
            <a:off x="588963" y="5103534"/>
            <a:ext cx="778392" cy="458048"/>
          </a:xfrm>
          <a:custGeom>
            <a:avLst/>
            <a:gdLst>
              <a:gd name="connsiteX0" fmla="*/ 259099 w 778392"/>
              <a:gd name="connsiteY0" fmla="*/ 0 h 458048"/>
              <a:gd name="connsiteX1" fmla="*/ 778392 w 778392"/>
              <a:gd name="connsiteY1" fmla="*/ 0 h 458048"/>
              <a:gd name="connsiteX2" fmla="*/ 519293 w 778392"/>
              <a:gd name="connsiteY2" fmla="*/ 458048 h 458048"/>
              <a:gd name="connsiteX3" fmla="*/ 0 w 778392"/>
              <a:gd name="connsiteY3" fmla="*/ 458048 h 458048"/>
            </a:gdLst>
            <a:ahLst/>
            <a:cxnLst>
              <a:cxn ang="0">
                <a:pos x="connsiteX0" y="connsiteY0"/>
              </a:cxn>
              <a:cxn ang="0">
                <a:pos x="connsiteX1" y="connsiteY1"/>
              </a:cxn>
              <a:cxn ang="0">
                <a:pos x="connsiteX2" y="connsiteY2"/>
              </a:cxn>
              <a:cxn ang="0">
                <a:pos x="connsiteX3" y="connsiteY3"/>
              </a:cxn>
            </a:cxnLst>
            <a:rect l="l" t="t" r="r" b="b"/>
            <a:pathLst>
              <a:path w="778392" h="458048">
                <a:moveTo>
                  <a:pt x="259099" y="0"/>
                </a:moveTo>
                <a:lnTo>
                  <a:pt x="778392" y="0"/>
                </a:lnTo>
                <a:lnTo>
                  <a:pt x="519293" y="458048"/>
                </a:lnTo>
                <a:lnTo>
                  <a:pt x="0" y="458048"/>
                </a:lnTo>
                <a:close/>
              </a:path>
            </a:pathLst>
          </a:cu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US" sz="2000" b="1" i="0" u="none" strike="noStrike" cap="none" spc="0" normalizeH="0" baseline="0" dirty="0" smtClean="0">
                <a:ln>
                  <a:noFill/>
                </a:ln>
                <a:solidFill>
                  <a:srgbClr val="00338D"/>
                </a:solidFill>
                <a:effectLst/>
                <a:uLnTx/>
                <a:uFillTx/>
                <a:latin typeface="Arial" panose="020B0604020202020204" pitchFamily="34" charset="0"/>
                <a:cs typeface="Arial" panose="020B0604020202020204" pitchFamily="34" charset="0"/>
                <a:sym typeface="Arial" panose="020B0604020202020204" pitchFamily="34" charset="0"/>
              </a:defRPr>
            </a:lvl1pPr>
            <a:lvl2pPr algn="ctr">
              <a:defRPr lang="en-US" sz="1800" dirty="0" smtClean="0"/>
            </a:lvl2pPr>
            <a:lvl3pPr algn="ctr">
              <a:defRPr lang="en-US" sz="1800" dirty="0" smtClean="0"/>
            </a:lvl3pPr>
            <a:lvl4pPr algn="ctr">
              <a:defRPr lang="en-US" dirty="0" smtClean="0"/>
            </a:lvl4pPr>
            <a:lvl5pPr algn="ctr">
              <a:defRPr lang="en-US" dirty="0"/>
            </a:lvl5pPr>
          </a:lstStyle>
          <a:p>
            <a:pPr marL="228600" marR="0" lvl="0" indent="-228600" algn="ctr" fontAlgn="auto">
              <a:lnSpc>
                <a:spcPct val="100000"/>
              </a:lnSpc>
              <a:spcBef>
                <a:spcPts val="0"/>
              </a:spcBef>
              <a:spcAft>
                <a:spcPts val="0"/>
              </a:spcAft>
              <a:buClrTx/>
              <a:buSzTx/>
              <a:tabLst/>
            </a:pPr>
            <a:r>
              <a:rPr lang="en-US" dirty="0"/>
              <a:t>X</a:t>
            </a:r>
          </a:p>
        </p:txBody>
      </p:sp>
      <p:sp>
        <p:nvSpPr>
          <p:cNvPr id="38" name="Text Placeholder 37">
            <a:extLst>
              <a:ext uri="{FF2B5EF4-FFF2-40B4-BE49-F238E27FC236}">
                <a16:creationId xmlns:a16="http://schemas.microsoft.com/office/drawing/2014/main" id="{39A9859C-894F-C4CE-10FB-5D4E66DD47D9}"/>
              </a:ext>
            </a:extLst>
          </p:cNvPr>
          <p:cNvSpPr>
            <a:spLocks noGrp="1"/>
          </p:cNvSpPr>
          <p:nvPr>
            <p:ph type="body" sz="quarter" idx="46" hasCustomPrompt="1"/>
          </p:nvPr>
        </p:nvSpPr>
        <p:spPr>
          <a:xfrm>
            <a:off x="588963" y="5685577"/>
            <a:ext cx="778392" cy="458048"/>
          </a:xfrm>
          <a:custGeom>
            <a:avLst/>
            <a:gdLst>
              <a:gd name="connsiteX0" fmla="*/ 259099 w 778392"/>
              <a:gd name="connsiteY0" fmla="*/ 0 h 458048"/>
              <a:gd name="connsiteX1" fmla="*/ 778392 w 778392"/>
              <a:gd name="connsiteY1" fmla="*/ 0 h 458048"/>
              <a:gd name="connsiteX2" fmla="*/ 519293 w 778392"/>
              <a:gd name="connsiteY2" fmla="*/ 458048 h 458048"/>
              <a:gd name="connsiteX3" fmla="*/ 0 w 778392"/>
              <a:gd name="connsiteY3" fmla="*/ 458048 h 458048"/>
            </a:gdLst>
            <a:ahLst/>
            <a:cxnLst>
              <a:cxn ang="0">
                <a:pos x="connsiteX0" y="connsiteY0"/>
              </a:cxn>
              <a:cxn ang="0">
                <a:pos x="connsiteX1" y="connsiteY1"/>
              </a:cxn>
              <a:cxn ang="0">
                <a:pos x="connsiteX2" y="connsiteY2"/>
              </a:cxn>
              <a:cxn ang="0">
                <a:pos x="connsiteX3" y="connsiteY3"/>
              </a:cxn>
            </a:cxnLst>
            <a:rect l="l" t="t" r="r" b="b"/>
            <a:pathLst>
              <a:path w="778392" h="458048">
                <a:moveTo>
                  <a:pt x="259099" y="0"/>
                </a:moveTo>
                <a:lnTo>
                  <a:pt x="778392" y="0"/>
                </a:lnTo>
                <a:lnTo>
                  <a:pt x="519293" y="458048"/>
                </a:lnTo>
                <a:lnTo>
                  <a:pt x="0" y="458048"/>
                </a:lnTo>
                <a:close/>
              </a:path>
            </a:pathLst>
          </a:custGeom>
          <a:solidFill>
            <a:schemeClr val="accent4"/>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US" sz="2000" b="1" i="0" u="none" strike="noStrike" cap="none" spc="0" normalizeH="0" baseline="0" dirty="0" smtClean="0">
                <a:ln>
                  <a:noFill/>
                </a:ln>
                <a:solidFill>
                  <a:srgbClr val="00338D"/>
                </a:solidFill>
                <a:effectLst/>
                <a:uLnTx/>
                <a:uFillTx/>
                <a:latin typeface="Arial" panose="020B0604020202020204" pitchFamily="34" charset="0"/>
                <a:cs typeface="Arial" panose="020B0604020202020204" pitchFamily="34" charset="0"/>
                <a:sym typeface="Arial" panose="020B0604020202020204" pitchFamily="34" charset="0"/>
              </a:defRPr>
            </a:lvl1pPr>
            <a:lvl2pPr algn="ctr">
              <a:defRPr lang="en-US" sz="1800" dirty="0" smtClean="0"/>
            </a:lvl2pPr>
            <a:lvl3pPr algn="ctr">
              <a:defRPr lang="en-US" sz="1800" dirty="0" smtClean="0"/>
            </a:lvl3pPr>
            <a:lvl4pPr algn="ctr">
              <a:defRPr lang="en-US" dirty="0" smtClean="0"/>
            </a:lvl4pPr>
            <a:lvl5pPr algn="ctr">
              <a:defRPr lang="en-US" dirty="0"/>
            </a:lvl5pPr>
          </a:lstStyle>
          <a:p>
            <a:pPr marL="228600" marR="0" lvl="0" indent="-228600" algn="ctr" fontAlgn="auto">
              <a:lnSpc>
                <a:spcPct val="100000"/>
              </a:lnSpc>
              <a:spcBef>
                <a:spcPts val="0"/>
              </a:spcBef>
              <a:spcAft>
                <a:spcPts val="0"/>
              </a:spcAft>
              <a:buClrTx/>
              <a:buSzTx/>
              <a:tabLst/>
            </a:pPr>
            <a:r>
              <a:rPr lang="en-US" dirty="0"/>
              <a:t>X</a:t>
            </a:r>
          </a:p>
        </p:txBody>
      </p:sp>
      <p:pic>
        <p:nvPicPr>
          <p:cNvPr id="4" name="Picture 3" descr="A black and white sign with white text&#10;&#10;Description automatically generated">
            <a:extLst>
              <a:ext uri="{FF2B5EF4-FFF2-40B4-BE49-F238E27FC236}">
                <a16:creationId xmlns:a16="http://schemas.microsoft.com/office/drawing/2014/main" id="{D38EE32F-1C73-5EA2-A7E8-F81C52B1E53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947649" y="2923071"/>
            <a:ext cx="4810646" cy="1011859"/>
          </a:xfrm>
          <a:prstGeom prst="rect">
            <a:avLst/>
          </a:prstGeom>
        </p:spPr>
      </p:pic>
    </p:spTree>
    <p:extLst>
      <p:ext uri="{BB962C8B-B14F-4D97-AF65-F5344CB8AC3E}">
        <p14:creationId xmlns:p14="http://schemas.microsoft.com/office/powerpoint/2010/main" val="19078826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F4A5164-82CE-2551-ED2A-419017BEBC4D}"/>
              </a:ext>
            </a:extLst>
          </p:cNvPr>
          <p:cNvSpPr>
            <a:spLocks noGrp="1"/>
          </p:cNvSpPr>
          <p:nvPr>
            <p:ph type="ftr" sz="quarter" idx="3"/>
          </p:nvPr>
        </p:nvSpPr>
        <p:spPr>
          <a:xfrm>
            <a:off x="3313471" y="6299200"/>
            <a:ext cx="5565058" cy="365125"/>
          </a:xfrm>
          <a:prstGeom prst="rect">
            <a:avLst/>
          </a:prstGeom>
        </p:spPr>
        <p:txBody>
          <a:bodyPr vert="horz" lIns="91440" tIns="45720" rIns="91440" bIns="45720" rtlCol="0" anchor="ctr"/>
          <a:lstStyle>
            <a:lvl1pPr marL="0" algn="ctr" defTabSz="914400" rtl="0" eaLnBrk="1" latinLnBrk="0" hangingPunct="1">
              <a:defRPr lang="en-GB" sz="1000" kern="1200" dirty="0">
                <a:solidFill>
                  <a:schemeClr val="bg1">
                    <a:lumMod val="7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r>
              <a:rPr lang="de-DE"/>
              <a:t>Lions für WaSH - Wasser ist Leben</a:t>
            </a:r>
            <a:endParaRPr lang="de-DE" dirty="0"/>
          </a:p>
        </p:txBody>
      </p:sp>
      <p:graphicFrame>
        <p:nvGraphicFramePr>
          <p:cNvPr id="8" name="Object 7" hidden="1">
            <a:extLst>
              <a:ext uri="{FF2B5EF4-FFF2-40B4-BE49-F238E27FC236}">
                <a16:creationId xmlns:a16="http://schemas.microsoft.com/office/drawing/2014/main" id="{8D7E4735-8EB6-AEC1-162D-055CED904436}"/>
              </a:ext>
            </a:extLst>
          </p:cNvPr>
          <p:cNvGraphicFramePr>
            <a:graphicFrameLocks noChangeAspect="1"/>
          </p:cNvGraphicFramePr>
          <p:nvPr userDrawn="1">
            <p:custDataLst>
              <p:tags r:id="rId32"/>
            </p:custDataLst>
            <p:extLst>
              <p:ext uri="{D42A27DB-BD31-4B8C-83A1-F6EECF244321}">
                <p14:modId xmlns:p14="http://schemas.microsoft.com/office/powerpoint/2010/main" val="374518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79" imgH="478" progId="TCLayout.ActiveDocument.1">
                  <p:embed/>
                </p:oleObj>
              </mc:Choice>
              <mc:Fallback>
                <p:oleObj name="think-cell Slide" r:id="rId33" imgW="479" imgH="478" progId="TCLayout.ActiveDocument.1">
                  <p:embed/>
                  <p:pic>
                    <p:nvPicPr>
                      <p:cNvPr id="8" name="Object 7" hidden="1">
                        <a:extLst>
                          <a:ext uri="{FF2B5EF4-FFF2-40B4-BE49-F238E27FC236}">
                            <a16:creationId xmlns:a16="http://schemas.microsoft.com/office/drawing/2014/main" id="{8D7E4735-8EB6-AEC1-162D-055CED904436}"/>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3" name="Slide Number Placeholder 5">
            <a:extLst>
              <a:ext uri="{FF2B5EF4-FFF2-40B4-BE49-F238E27FC236}">
                <a16:creationId xmlns:a16="http://schemas.microsoft.com/office/drawing/2014/main" id="{61EE0D5E-42D1-0602-BFF6-157DB6BD2A4C}"/>
              </a:ext>
            </a:extLst>
          </p:cNvPr>
          <p:cNvSpPr txBox="1">
            <a:spLocks/>
          </p:cNvSpPr>
          <p:nvPr userDrawn="1"/>
        </p:nvSpPr>
        <p:spPr>
          <a:xfrm>
            <a:off x="9141577" y="629920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EB7FA4-D16D-498B-9843-862279835448}" type="slidenum">
              <a:rPr lang="en-GB" sz="1100" b="1" smtClean="0">
                <a:solidFill>
                  <a:schemeClr val="accent1"/>
                </a:solidFill>
                <a:latin typeface="Arial" panose="020B0604020202020204" pitchFamily="34" charset="0"/>
                <a:cs typeface="Arial" panose="020B0604020202020204" pitchFamily="34" charset="0"/>
                <a:sym typeface="Arial" panose="020B0604020202020204" pitchFamily="34" charset="0"/>
              </a:rPr>
              <a:pPr/>
              <a:t>‹Nr.›</a:t>
            </a:fld>
            <a:endParaRPr lang="en-GB" sz="1100" b="1" dirty="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5" name="Background - Solid">
            <a:extLst>
              <a:ext uri="{FF2B5EF4-FFF2-40B4-BE49-F238E27FC236}">
                <a16:creationId xmlns:a16="http://schemas.microsoft.com/office/drawing/2014/main" id="{5865C8A1-F141-358F-D741-6C1B4AEF3D40}"/>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095EDA4B-110A-57D8-3B22-608B21223E48}"/>
              </a:ext>
            </a:extLst>
          </p:cNvPr>
          <p:cNvPicPr>
            <a:picLocks noChangeAspect="1"/>
          </p:cNvPicPr>
          <p:nvPr userDrawn="1"/>
        </p:nvPicPr>
        <p:blipFill>
          <a:blip r:embed="rId35" cstate="print">
            <a:extLst>
              <a:ext uri="{28A0092B-C50C-407E-A947-70E740481C1C}">
                <a14:useLocalDpi xmlns:a14="http://schemas.microsoft.com/office/drawing/2010/main"/>
              </a:ext>
            </a:extLst>
          </a:blip>
          <a:stretch>
            <a:fillRect/>
          </a:stretch>
        </p:blipFill>
        <p:spPr>
          <a:xfrm>
            <a:off x="422015" y="6266696"/>
            <a:ext cx="2044957" cy="430131"/>
          </a:xfrm>
          <a:prstGeom prst="rect">
            <a:avLst/>
          </a:prstGeom>
        </p:spPr>
      </p:pic>
    </p:spTree>
    <p:extLst>
      <p:ext uri="{BB962C8B-B14F-4D97-AF65-F5344CB8AC3E}">
        <p14:creationId xmlns:p14="http://schemas.microsoft.com/office/powerpoint/2010/main" val="98569898"/>
      </p:ext>
    </p:extLst>
  </p:cSld>
  <p:clrMap bg1="lt1" tx1="dk1" bg2="lt2" tx2="dk2" accent1="accent1" accent2="accent2" accent3="accent3" accent4="accent4" accent5="accent5" accent6="accent6" hlink="hlink" folHlink="folHlink"/>
  <p:sldLayoutIdLst>
    <p:sldLayoutId id="2147483694" r:id="rId1"/>
    <p:sldLayoutId id="2147483725" r:id="rId2"/>
    <p:sldLayoutId id="2147483728" r:id="rId3"/>
    <p:sldLayoutId id="2147483726" r:id="rId4"/>
    <p:sldLayoutId id="2147483695" r:id="rId5"/>
    <p:sldLayoutId id="2147483696" r:id="rId6"/>
    <p:sldLayoutId id="2147483697" r:id="rId7"/>
    <p:sldLayoutId id="2147483699" r:id="rId8"/>
    <p:sldLayoutId id="2147483723" r:id="rId9"/>
    <p:sldLayoutId id="2147483724" r:id="rId10"/>
    <p:sldLayoutId id="2147483701" r:id="rId11"/>
    <p:sldLayoutId id="2147483702" r:id="rId12"/>
    <p:sldLayoutId id="2147483703" r:id="rId13"/>
    <p:sldLayoutId id="2147483693" r:id="rId14"/>
    <p:sldLayoutId id="2147483704" r:id="rId15"/>
    <p:sldLayoutId id="2147483720"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7" r:id="rId27"/>
    <p:sldLayoutId id="2147483719" r:id="rId28"/>
    <p:sldLayoutId id="2147483733" r:id="rId29"/>
    <p:sldLayoutId id="2147483734" r:id="rId30"/>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userDrawn="1">
          <p15:clr>
            <a:srgbClr val="F26B43"/>
          </p15:clr>
        </p15:guide>
        <p15:guide id="2" orient="horz" pos="984" userDrawn="1">
          <p15:clr>
            <a:srgbClr val="F26B43"/>
          </p15:clr>
        </p15:guide>
        <p15:guide id="3" pos="7404" userDrawn="1">
          <p15:clr>
            <a:srgbClr val="F26B43"/>
          </p15:clr>
        </p15:guide>
        <p15:guide id="4" orient="horz" pos="3870" userDrawn="1">
          <p15:clr>
            <a:srgbClr val="F26B43"/>
          </p15:clr>
        </p15:guide>
        <p15:guide id="5" orient="horz" pos="719"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3.jpeg"/><Relationship Id="rId3" Type="http://schemas.openxmlformats.org/officeDocument/2006/relationships/notesSlide" Target="../notesSlides/notesSlide1.xml"/><Relationship Id="rId7" Type="http://schemas.openxmlformats.org/officeDocument/2006/relationships/image" Target="../media/image8.png"/><Relationship Id="rId2" Type="http://schemas.openxmlformats.org/officeDocument/2006/relationships/slideLayout" Target="../slideLayouts/slideLayout8.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2.emf"/><Relationship Id="rId4"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8" Type="http://schemas.openxmlformats.org/officeDocument/2006/relationships/image" Target="../media/image136.jpeg"/><Relationship Id="rId3" Type="http://schemas.openxmlformats.org/officeDocument/2006/relationships/notesSlide" Target="../notesSlides/notesSlide9.xml"/><Relationship Id="rId7" Type="http://schemas.openxmlformats.org/officeDocument/2006/relationships/image" Target="../media/image135.jpeg"/><Relationship Id="rId12" Type="http://schemas.openxmlformats.org/officeDocument/2006/relationships/image" Target="../media/image144.jpeg"/><Relationship Id="rId2" Type="http://schemas.openxmlformats.org/officeDocument/2006/relationships/slideLayout" Target="../slideLayouts/slideLayout15.xml"/><Relationship Id="rId1" Type="http://schemas.openxmlformats.org/officeDocument/2006/relationships/tags" Target="../tags/tag36.xml"/><Relationship Id="rId6" Type="http://schemas.openxmlformats.org/officeDocument/2006/relationships/image" Target="../media/image134.png"/><Relationship Id="rId11" Type="http://schemas.openxmlformats.org/officeDocument/2006/relationships/image" Target="../media/image143.png"/><Relationship Id="rId5" Type="http://schemas.openxmlformats.org/officeDocument/2006/relationships/image" Target="../media/image22.emf"/><Relationship Id="rId10" Type="http://schemas.openxmlformats.org/officeDocument/2006/relationships/image" Target="../media/image142.svg"/><Relationship Id="rId4" Type="http://schemas.openxmlformats.org/officeDocument/2006/relationships/oleObject" Target="../embeddings/oleObject29.bin"/><Relationship Id="rId9" Type="http://schemas.openxmlformats.org/officeDocument/2006/relationships/image" Target="../media/image141.png"/></Relationships>
</file>

<file path=ppt/slides/_rels/slide11.xml.rels><?xml version="1.0" encoding="UTF-8" standalone="yes"?>
<Relationships xmlns="http://schemas.openxmlformats.org/package/2006/relationships"><Relationship Id="rId8" Type="http://schemas.openxmlformats.org/officeDocument/2006/relationships/image" Target="../media/image136.jpeg"/><Relationship Id="rId3" Type="http://schemas.openxmlformats.org/officeDocument/2006/relationships/notesSlide" Target="../notesSlides/notesSlide10.xml"/><Relationship Id="rId7" Type="http://schemas.openxmlformats.org/officeDocument/2006/relationships/image" Target="../media/image135.jpeg"/><Relationship Id="rId12" Type="http://schemas.openxmlformats.org/officeDocument/2006/relationships/image" Target="../media/image147.svg"/><Relationship Id="rId2" Type="http://schemas.openxmlformats.org/officeDocument/2006/relationships/slideLayout" Target="../slideLayouts/slideLayout14.xml"/><Relationship Id="rId1" Type="http://schemas.openxmlformats.org/officeDocument/2006/relationships/tags" Target="../tags/tag37.xml"/><Relationship Id="rId6" Type="http://schemas.openxmlformats.org/officeDocument/2006/relationships/image" Target="../media/image134.png"/><Relationship Id="rId11" Type="http://schemas.openxmlformats.org/officeDocument/2006/relationships/image" Target="../media/image146.png"/><Relationship Id="rId5" Type="http://schemas.openxmlformats.org/officeDocument/2006/relationships/image" Target="../media/image22.emf"/><Relationship Id="rId10" Type="http://schemas.microsoft.com/office/2007/relationships/hdphoto" Target="../media/hdphoto2.wdp"/><Relationship Id="rId4" Type="http://schemas.openxmlformats.org/officeDocument/2006/relationships/oleObject" Target="../embeddings/oleObject29.bin"/><Relationship Id="rId9" Type="http://schemas.openxmlformats.org/officeDocument/2006/relationships/image" Target="../media/image145.png"/></Relationships>
</file>

<file path=ppt/slides/_rels/slide12.xml.rels><?xml version="1.0" encoding="UTF-8" standalone="yes"?>
<Relationships xmlns="http://schemas.openxmlformats.org/package/2006/relationships"><Relationship Id="rId8" Type="http://schemas.openxmlformats.org/officeDocument/2006/relationships/image" Target="../media/image150.jpeg"/><Relationship Id="rId13" Type="http://schemas.openxmlformats.org/officeDocument/2006/relationships/image" Target="../media/image97.png"/><Relationship Id="rId3" Type="http://schemas.openxmlformats.org/officeDocument/2006/relationships/notesSlide" Target="../notesSlides/notesSlide11.xml"/><Relationship Id="rId7" Type="http://schemas.openxmlformats.org/officeDocument/2006/relationships/image" Target="../media/image149.jpeg"/><Relationship Id="rId12" Type="http://schemas.openxmlformats.org/officeDocument/2006/relationships/image" Target="../media/image100.svg"/><Relationship Id="rId2" Type="http://schemas.openxmlformats.org/officeDocument/2006/relationships/slideLayout" Target="../slideLayouts/slideLayout14.xml"/><Relationship Id="rId1" Type="http://schemas.openxmlformats.org/officeDocument/2006/relationships/tags" Target="../tags/tag38.xml"/><Relationship Id="rId6" Type="http://schemas.openxmlformats.org/officeDocument/2006/relationships/image" Target="../media/image148.jpeg"/><Relationship Id="rId11" Type="http://schemas.openxmlformats.org/officeDocument/2006/relationships/image" Target="../media/image99.png"/><Relationship Id="rId5" Type="http://schemas.openxmlformats.org/officeDocument/2006/relationships/image" Target="../media/image11.emf"/><Relationship Id="rId10" Type="http://schemas.openxmlformats.org/officeDocument/2006/relationships/image" Target="../media/image152.svg"/><Relationship Id="rId4" Type="http://schemas.openxmlformats.org/officeDocument/2006/relationships/oleObject" Target="../embeddings/oleObject27.bin"/><Relationship Id="rId9" Type="http://schemas.openxmlformats.org/officeDocument/2006/relationships/image" Target="../media/image151.png"/><Relationship Id="rId14" Type="http://schemas.openxmlformats.org/officeDocument/2006/relationships/image" Target="../media/image98.svg"/></Relationships>
</file>

<file path=ppt/slides/_rels/slide13.xml.rels><?xml version="1.0" encoding="UTF-8" standalone="yes"?>
<Relationships xmlns="http://schemas.openxmlformats.org/package/2006/relationships"><Relationship Id="rId8" Type="http://schemas.openxmlformats.org/officeDocument/2006/relationships/image" Target="../media/image155.jpeg"/><Relationship Id="rId3" Type="http://schemas.openxmlformats.org/officeDocument/2006/relationships/image" Target="../media/image154.svg"/><Relationship Id="rId7" Type="http://schemas.openxmlformats.org/officeDocument/2006/relationships/image" Target="../media/image140.svg"/><Relationship Id="rId2" Type="http://schemas.openxmlformats.org/officeDocument/2006/relationships/image" Target="../media/image153.png"/><Relationship Id="rId1" Type="http://schemas.openxmlformats.org/officeDocument/2006/relationships/slideLayout" Target="../slideLayouts/slideLayout16.xml"/><Relationship Id="rId6" Type="http://schemas.openxmlformats.org/officeDocument/2006/relationships/image" Target="../media/image139.png"/><Relationship Id="rId5" Type="http://schemas.openxmlformats.org/officeDocument/2006/relationships/image" Target="../media/image114.svg"/><Relationship Id="rId10" Type="http://schemas.openxmlformats.org/officeDocument/2006/relationships/image" Target="../media/image157.jpeg"/><Relationship Id="rId4" Type="http://schemas.openxmlformats.org/officeDocument/2006/relationships/image" Target="../media/image113.png"/><Relationship Id="rId9" Type="http://schemas.openxmlformats.org/officeDocument/2006/relationships/image" Target="../media/image15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161.jpeg"/><Relationship Id="rId5" Type="http://schemas.openxmlformats.org/officeDocument/2006/relationships/image" Target="../media/image160.jpeg"/><Relationship Id="rId4" Type="http://schemas.openxmlformats.org/officeDocument/2006/relationships/image" Target="../media/image159.png"/></Relationships>
</file>

<file path=ppt/slides/_rels/slide16.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164.png"/><Relationship Id="rId4" Type="http://schemas.openxmlformats.org/officeDocument/2006/relationships/image" Target="../media/image163.jpeg"/></Relationships>
</file>

<file path=ppt/slides/_rels/slide17.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4.xml"/><Relationship Id="rId1" Type="http://schemas.openxmlformats.org/officeDocument/2006/relationships/slideLayout" Target="../slideLayouts/slideLayout14.xml"/><Relationship Id="rId5" Type="http://schemas.openxmlformats.org/officeDocument/2006/relationships/image" Target="../media/image167.jpeg"/><Relationship Id="rId4" Type="http://schemas.openxmlformats.org/officeDocument/2006/relationships/image" Target="../media/image166.jpeg"/></Relationships>
</file>

<file path=ppt/slides/_rels/slide18.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image" Target="../media/image171.png"/><Relationship Id="rId5" Type="http://schemas.openxmlformats.org/officeDocument/2006/relationships/image" Target="../media/image170.jpeg"/><Relationship Id="rId4" Type="http://schemas.openxmlformats.org/officeDocument/2006/relationships/image" Target="../media/image169.png"/></Relationships>
</file>

<file path=ppt/slides/_rels/slide19.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image" Target="../media/image173.jpeg"/><Relationship Id="rId7" Type="http://schemas.openxmlformats.org/officeDocument/2006/relationships/image" Target="../media/image177.png"/><Relationship Id="rId2" Type="http://schemas.openxmlformats.org/officeDocument/2006/relationships/image" Target="../media/image172.jpeg"/><Relationship Id="rId1" Type="http://schemas.openxmlformats.org/officeDocument/2006/relationships/slideLayout" Target="../slideLayouts/slideLayout15.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image" Target="../media/image174.png"/><Relationship Id="rId9" Type="http://schemas.openxmlformats.org/officeDocument/2006/relationships/image" Target="../media/image17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hyperlink" Target="https://newsletter.lions.de/" TargetMode="External"/><Relationship Id="rId1" Type="http://schemas.openxmlformats.org/officeDocument/2006/relationships/slideLayout" Target="../slideLayouts/slideLayout14.xml"/><Relationship Id="rId4" Type="http://schemas.openxmlformats.org/officeDocument/2006/relationships/image" Target="../media/image181.JPG"/></Relationships>
</file>

<file path=ppt/slides/_rels/slide21.xml.rels><?xml version="1.0" encoding="UTF-8" standalone="yes"?>
<Relationships xmlns="http://schemas.openxmlformats.org/package/2006/relationships"><Relationship Id="rId8" Type="http://schemas.openxmlformats.org/officeDocument/2006/relationships/hyperlink" Target="https://stiftung.lions.de/spenden" TargetMode="External"/><Relationship Id="rId3" Type="http://schemas.openxmlformats.org/officeDocument/2006/relationships/image" Target="../media/image182.jpeg"/><Relationship Id="rId7" Type="http://schemas.openxmlformats.org/officeDocument/2006/relationships/image" Target="../media/image185.png"/><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image" Target="../media/image184.svg"/><Relationship Id="rId5" Type="http://schemas.openxmlformats.org/officeDocument/2006/relationships/image" Target="../media/image183.png"/><Relationship Id="rId4" Type="http://schemas.openxmlformats.org/officeDocument/2006/relationships/image" Target="../media/image165.png"/></Relationships>
</file>

<file path=ppt/slides/_rels/slide22.xml.rels><?xml version="1.0" encoding="UTF-8" standalone="yes"?>
<Relationships xmlns="http://schemas.openxmlformats.org/package/2006/relationships"><Relationship Id="rId3" Type="http://schemas.openxmlformats.org/officeDocument/2006/relationships/image" Target="../media/image186.jpe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179.png"/><Relationship Id="rId5" Type="http://schemas.openxmlformats.org/officeDocument/2006/relationships/image" Target="../media/image188.jpeg"/><Relationship Id="rId4" Type="http://schemas.openxmlformats.org/officeDocument/2006/relationships/image" Target="../media/image187.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7.xml"/><Relationship Id="rId1" Type="http://schemas.openxmlformats.org/officeDocument/2006/relationships/tags" Target="../tags/tag39.xml"/><Relationship Id="rId5" Type="http://schemas.openxmlformats.org/officeDocument/2006/relationships/image" Target="../media/image11.emf"/><Relationship Id="rId4" Type="http://schemas.openxmlformats.org/officeDocument/2006/relationships/oleObject" Target="../embeddings/oleObject30.bin"/></Relationships>
</file>

<file path=ppt/slides/_rels/slide3.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3" Type="http://schemas.openxmlformats.org/officeDocument/2006/relationships/notesSlide" Target="../notesSlides/notesSlide3.xml"/><Relationship Id="rId7" Type="http://schemas.openxmlformats.org/officeDocument/2006/relationships/image" Target="../media/image95.jpeg"/><Relationship Id="rId12" Type="http://schemas.openxmlformats.org/officeDocument/2006/relationships/image" Target="../media/image100.svg"/><Relationship Id="rId2" Type="http://schemas.openxmlformats.org/officeDocument/2006/relationships/slideLayout" Target="../slideLayouts/slideLayout14.xml"/><Relationship Id="rId1" Type="http://schemas.openxmlformats.org/officeDocument/2006/relationships/tags" Target="../tags/tag33.xml"/><Relationship Id="rId6" Type="http://schemas.openxmlformats.org/officeDocument/2006/relationships/image" Target="../media/image94.jpeg"/><Relationship Id="rId11" Type="http://schemas.openxmlformats.org/officeDocument/2006/relationships/image" Target="../media/image99.png"/><Relationship Id="rId5" Type="http://schemas.openxmlformats.org/officeDocument/2006/relationships/image" Target="../media/image11.emf"/><Relationship Id="rId15" Type="http://schemas.openxmlformats.org/officeDocument/2006/relationships/image" Target="../media/image103.svg"/><Relationship Id="rId10" Type="http://schemas.openxmlformats.org/officeDocument/2006/relationships/image" Target="../media/image98.svg"/><Relationship Id="rId4" Type="http://schemas.openxmlformats.org/officeDocument/2006/relationships/oleObject" Target="../embeddings/oleObject27.bin"/><Relationship Id="rId9" Type="http://schemas.openxmlformats.org/officeDocument/2006/relationships/image" Target="../media/image97.png"/><Relationship Id="rId14" Type="http://schemas.openxmlformats.org/officeDocument/2006/relationships/image" Target="../media/image102.png"/></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notesSlide" Target="../notesSlides/notesSlide4.xml"/><Relationship Id="rId1" Type="http://schemas.openxmlformats.org/officeDocument/2006/relationships/slideLayout" Target="../slideLayouts/slideLayout30.xml"/><Relationship Id="rId6" Type="http://schemas.openxmlformats.org/officeDocument/2006/relationships/image" Target="../media/image107.jpeg"/><Relationship Id="rId5" Type="http://schemas.openxmlformats.org/officeDocument/2006/relationships/image" Target="../media/image106.png"/><Relationship Id="rId4" Type="http://schemas.openxmlformats.org/officeDocument/2006/relationships/image" Target="../media/image105.jpeg"/></Relationships>
</file>

<file path=ppt/slides/_rels/slide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xml"/><Relationship Id="rId1" Type="http://schemas.openxmlformats.org/officeDocument/2006/relationships/slideLayout" Target="../slideLayouts/slideLayout29.xml"/><Relationship Id="rId5" Type="http://schemas.openxmlformats.org/officeDocument/2006/relationships/image" Target="../media/image101.png"/><Relationship Id="rId4" Type="http://schemas.openxmlformats.org/officeDocument/2006/relationships/image" Target="../media/image110.jpeg"/></Relationships>
</file>

<file path=ppt/slides/_rels/slide6.xml.rels><?xml version="1.0" encoding="UTF-8" standalone="yes"?>
<Relationships xmlns="http://schemas.openxmlformats.org/package/2006/relationships"><Relationship Id="rId8" Type="http://schemas.openxmlformats.org/officeDocument/2006/relationships/image" Target="../media/image116.svg"/><Relationship Id="rId13" Type="http://schemas.openxmlformats.org/officeDocument/2006/relationships/image" Target="../media/image121.png"/><Relationship Id="rId18" Type="http://schemas.openxmlformats.org/officeDocument/2006/relationships/image" Target="../media/image126.svg"/><Relationship Id="rId3" Type="http://schemas.openxmlformats.org/officeDocument/2006/relationships/image" Target="../media/image111.png"/><Relationship Id="rId21" Type="http://schemas.openxmlformats.org/officeDocument/2006/relationships/image" Target="../media/image101.png"/><Relationship Id="rId7" Type="http://schemas.openxmlformats.org/officeDocument/2006/relationships/image" Target="../media/image115.png"/><Relationship Id="rId12" Type="http://schemas.openxmlformats.org/officeDocument/2006/relationships/image" Target="../media/image120.svg"/><Relationship Id="rId17" Type="http://schemas.openxmlformats.org/officeDocument/2006/relationships/image" Target="../media/image125.png"/><Relationship Id="rId2" Type="http://schemas.openxmlformats.org/officeDocument/2006/relationships/notesSlide" Target="../notesSlides/notesSlide6.xml"/><Relationship Id="rId16" Type="http://schemas.openxmlformats.org/officeDocument/2006/relationships/image" Target="../media/image124.svg"/><Relationship Id="rId20" Type="http://schemas.openxmlformats.org/officeDocument/2006/relationships/image" Target="../media/image128.svg"/><Relationship Id="rId1" Type="http://schemas.openxmlformats.org/officeDocument/2006/relationships/slideLayout" Target="../slideLayouts/slideLayout11.xml"/><Relationship Id="rId6" Type="http://schemas.openxmlformats.org/officeDocument/2006/relationships/image" Target="../media/image114.svg"/><Relationship Id="rId11" Type="http://schemas.openxmlformats.org/officeDocument/2006/relationships/image" Target="../media/image119.png"/><Relationship Id="rId5" Type="http://schemas.openxmlformats.org/officeDocument/2006/relationships/image" Target="../media/image113.png"/><Relationship Id="rId15" Type="http://schemas.openxmlformats.org/officeDocument/2006/relationships/image" Target="../media/image123.png"/><Relationship Id="rId10" Type="http://schemas.openxmlformats.org/officeDocument/2006/relationships/image" Target="../media/image118.svg"/><Relationship Id="rId19" Type="http://schemas.openxmlformats.org/officeDocument/2006/relationships/image" Target="../media/image127.png"/><Relationship Id="rId4" Type="http://schemas.openxmlformats.org/officeDocument/2006/relationships/image" Target="../media/image112.svg"/><Relationship Id="rId9" Type="http://schemas.openxmlformats.org/officeDocument/2006/relationships/image" Target="../media/image117.png"/><Relationship Id="rId14" Type="http://schemas.openxmlformats.org/officeDocument/2006/relationships/image" Target="../media/image122.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notesSlide" Target="../notesSlides/notesSlide7.xml"/><Relationship Id="rId7" Type="http://schemas.openxmlformats.org/officeDocument/2006/relationships/image" Target="../media/image130.jpeg"/><Relationship Id="rId12" Type="http://schemas.openxmlformats.org/officeDocument/2006/relationships/image" Target="../media/image135.jpeg"/><Relationship Id="rId2" Type="http://schemas.openxmlformats.org/officeDocument/2006/relationships/slideLayout" Target="../slideLayouts/slideLayout14.xml"/><Relationship Id="rId1" Type="http://schemas.openxmlformats.org/officeDocument/2006/relationships/tags" Target="../tags/tag34.xml"/><Relationship Id="rId6" Type="http://schemas.openxmlformats.org/officeDocument/2006/relationships/image" Target="../media/image129.jpeg"/><Relationship Id="rId11" Type="http://schemas.openxmlformats.org/officeDocument/2006/relationships/image" Target="../media/image134.png"/><Relationship Id="rId5" Type="http://schemas.openxmlformats.org/officeDocument/2006/relationships/image" Target="../media/image22.emf"/><Relationship Id="rId10" Type="http://schemas.openxmlformats.org/officeDocument/2006/relationships/image" Target="../media/image133.jpeg"/><Relationship Id="rId4" Type="http://schemas.openxmlformats.org/officeDocument/2006/relationships/oleObject" Target="../embeddings/oleObject28.bin"/><Relationship Id="rId9" Type="http://schemas.openxmlformats.org/officeDocument/2006/relationships/image" Target="../media/image132.svg"/></Relationships>
</file>

<file path=ppt/slides/_rels/slide9.xml.rels><?xml version="1.0" encoding="UTF-8" standalone="yes"?>
<Relationships xmlns="http://schemas.openxmlformats.org/package/2006/relationships"><Relationship Id="rId8" Type="http://schemas.openxmlformats.org/officeDocument/2006/relationships/image" Target="../media/image136.jpeg"/><Relationship Id="rId3" Type="http://schemas.openxmlformats.org/officeDocument/2006/relationships/notesSlide" Target="../notesSlides/notesSlide8.xml"/><Relationship Id="rId7" Type="http://schemas.openxmlformats.org/officeDocument/2006/relationships/image" Target="../media/image135.jpeg"/><Relationship Id="rId12" Type="http://schemas.openxmlformats.org/officeDocument/2006/relationships/image" Target="../media/image140.svg"/><Relationship Id="rId2" Type="http://schemas.openxmlformats.org/officeDocument/2006/relationships/slideLayout" Target="../slideLayouts/slideLayout14.xml"/><Relationship Id="rId1" Type="http://schemas.openxmlformats.org/officeDocument/2006/relationships/tags" Target="../tags/tag35.xml"/><Relationship Id="rId6" Type="http://schemas.openxmlformats.org/officeDocument/2006/relationships/image" Target="../media/image134.png"/><Relationship Id="rId11" Type="http://schemas.openxmlformats.org/officeDocument/2006/relationships/image" Target="../media/image139.png"/><Relationship Id="rId5" Type="http://schemas.openxmlformats.org/officeDocument/2006/relationships/image" Target="../media/image22.emf"/><Relationship Id="rId10" Type="http://schemas.openxmlformats.org/officeDocument/2006/relationships/image" Target="../media/image138.jpeg"/><Relationship Id="rId4" Type="http://schemas.openxmlformats.org/officeDocument/2006/relationships/oleObject" Target="../embeddings/oleObject29.bin"/><Relationship Id="rId9" Type="http://schemas.openxmlformats.org/officeDocument/2006/relationships/image" Target="../media/image13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7090465B-8B92-9AEC-2559-26E5230F5EF3}"/>
              </a:ext>
            </a:extLst>
          </p:cNvPr>
          <p:cNvGraphicFramePr>
            <a:graphicFrameLocks noChangeAspect="1"/>
          </p:cNvGraphicFramePr>
          <p:nvPr>
            <p:custDataLst>
              <p:tags r:id="rId1"/>
            </p:custDataLst>
            <p:extLst>
              <p:ext uri="{D42A27DB-BD31-4B8C-83A1-F6EECF244321}">
                <p14:modId xmlns:p14="http://schemas.microsoft.com/office/powerpoint/2010/main" val="3270613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3" progId="TCLayout.ActiveDocument.1">
                  <p:embed/>
                </p:oleObj>
              </mc:Choice>
              <mc:Fallback>
                <p:oleObj name="think-cell Slide" r:id="rId4" imgW="344" imgH="34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A5B6DA94-F754-A52B-F9FC-2241E6265CF5}"/>
              </a:ext>
            </a:extLst>
          </p:cNvPr>
          <p:cNvPicPr>
            <a:picLocks noChangeAspect="1"/>
          </p:cNvPicPr>
          <p:nvPr/>
        </p:nvPicPr>
        <p:blipFill>
          <a:blip r:embed="rId6"/>
          <a:stretch>
            <a:fillRect/>
          </a:stretch>
        </p:blipFill>
        <p:spPr>
          <a:xfrm>
            <a:off x="-13602" y="0"/>
            <a:ext cx="12192001" cy="6858000"/>
          </a:xfrm>
          <a:prstGeom prst="rect">
            <a:avLst/>
          </a:prstGeom>
        </p:spPr>
      </p:pic>
      <p:sp>
        <p:nvSpPr>
          <p:cNvPr id="6" name="Freeform: Shape 5">
            <a:extLst>
              <a:ext uri="{FF2B5EF4-FFF2-40B4-BE49-F238E27FC236}">
                <a16:creationId xmlns:a16="http://schemas.microsoft.com/office/drawing/2014/main" id="{5A825ACB-8C24-A9BA-CED9-0D953C633307}"/>
              </a:ext>
            </a:extLst>
          </p:cNvPr>
          <p:cNvSpPr/>
          <p:nvPr/>
        </p:nvSpPr>
        <p:spPr>
          <a:xfrm>
            <a:off x="-13602" y="0"/>
            <a:ext cx="9810752" cy="6858001"/>
          </a:xfrm>
          <a:custGeom>
            <a:avLst/>
            <a:gdLst>
              <a:gd name="connsiteX0" fmla="*/ 0 w 10284071"/>
              <a:gd name="connsiteY0" fmla="*/ 0 h 6858001"/>
              <a:gd name="connsiteX1" fmla="*/ 2044700 w 10284071"/>
              <a:gd name="connsiteY1" fmla="*/ 0 h 6858001"/>
              <a:gd name="connsiteX2" fmla="*/ 2044700 w 10284071"/>
              <a:gd name="connsiteY2" fmla="*/ 1 h 6858001"/>
              <a:gd name="connsiteX3" fmla="*/ 10284071 w 10284071"/>
              <a:gd name="connsiteY3" fmla="*/ 1 h 6858001"/>
              <a:gd name="connsiteX4" fmla="*/ 6324600 w 10284071"/>
              <a:gd name="connsiteY4" fmla="*/ 6858001 h 6858001"/>
              <a:gd name="connsiteX5" fmla="*/ 990600 w 10284071"/>
              <a:gd name="connsiteY5" fmla="*/ 6858001 h 6858001"/>
              <a:gd name="connsiteX6" fmla="*/ 990600 w 10284071"/>
              <a:gd name="connsiteY6" fmla="*/ 6858000 h 6858001"/>
              <a:gd name="connsiteX7" fmla="*/ 0 w 10284071"/>
              <a:gd name="connsiteY7"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84071" h="6858001">
                <a:moveTo>
                  <a:pt x="0" y="0"/>
                </a:moveTo>
                <a:lnTo>
                  <a:pt x="2044700" y="0"/>
                </a:lnTo>
                <a:lnTo>
                  <a:pt x="2044700" y="1"/>
                </a:lnTo>
                <a:lnTo>
                  <a:pt x="10284071" y="1"/>
                </a:lnTo>
                <a:lnTo>
                  <a:pt x="6324600" y="6858001"/>
                </a:lnTo>
                <a:lnTo>
                  <a:pt x="990600" y="6858001"/>
                </a:lnTo>
                <a:lnTo>
                  <a:pt x="990600" y="6858000"/>
                </a:lnTo>
                <a:lnTo>
                  <a:pt x="0" y="6858000"/>
                </a:lnTo>
                <a:close/>
              </a:path>
            </a:pathLst>
          </a:custGeom>
          <a:gradFill flip="none" rotWithShape="0">
            <a:gsLst>
              <a:gs pos="0">
                <a:srgbClr val="00338D">
                  <a:alpha val="90980"/>
                </a:srgbClr>
              </a:gs>
              <a:gs pos="100000">
                <a:srgbClr val="7A2582">
                  <a:alpha val="9098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de-DE" dirty="0">
              <a:solidFill>
                <a:prstClr val="white">
                  <a:alpha val="44000"/>
                </a:prstClr>
              </a:solidFill>
              <a:latin typeface="Arial" panose="020B0604020202020204" pitchFamily="34" charset="0"/>
              <a:cs typeface="Arial" panose="020B0604020202020204" pitchFamily="34" charset="0"/>
              <a:sym typeface="Arial" panose="020B0604020202020204" pitchFamily="34" charset="0"/>
            </a:endParaRPr>
          </a:p>
        </p:txBody>
      </p:sp>
      <p:sp>
        <p:nvSpPr>
          <p:cNvPr id="7" name="Text Placeholder 14">
            <a:extLst>
              <a:ext uri="{FF2B5EF4-FFF2-40B4-BE49-F238E27FC236}">
                <a16:creationId xmlns:a16="http://schemas.microsoft.com/office/drawing/2014/main" id="{B2619A39-C330-2A93-9C4C-4AEA18A9D9CE}"/>
              </a:ext>
            </a:extLst>
          </p:cNvPr>
          <p:cNvSpPr txBox="1">
            <a:spLocks/>
          </p:cNvSpPr>
          <p:nvPr/>
        </p:nvSpPr>
        <p:spPr>
          <a:xfrm>
            <a:off x="546625" y="3084528"/>
            <a:ext cx="4313977" cy="1446550"/>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lang="en-GB" sz="4000" b="1" kern="1200" dirty="0">
                <a:solidFill>
                  <a:schemeClr val="bg2"/>
                </a:solidFill>
                <a:latin typeface="Arial"/>
                <a:ea typeface="ヒラギノ角ゴ Pro W3" pitchFamily="125"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6000" dirty="0">
                <a:solidFill>
                  <a:schemeClr val="bg1"/>
                </a:solidFill>
                <a:latin typeface="Arial" panose="020B0604020202020204" pitchFamily="34" charset="0"/>
                <a:cs typeface="Arial" panose="020B0604020202020204" pitchFamily="34" charset="0"/>
                <a:sym typeface="Arial" panose="020B0604020202020204" pitchFamily="34" charset="0"/>
              </a:rPr>
              <a:t>WaSH</a:t>
            </a:r>
          </a:p>
        </p:txBody>
      </p:sp>
      <p:sp>
        <p:nvSpPr>
          <p:cNvPr id="8" name="Text Placeholder 15">
            <a:extLst>
              <a:ext uri="{FF2B5EF4-FFF2-40B4-BE49-F238E27FC236}">
                <a16:creationId xmlns:a16="http://schemas.microsoft.com/office/drawing/2014/main" id="{A88DA3F3-FC21-93A6-BDA9-CB0C34C88A9F}"/>
              </a:ext>
            </a:extLst>
          </p:cNvPr>
          <p:cNvSpPr txBox="1">
            <a:spLocks/>
          </p:cNvSpPr>
          <p:nvPr/>
        </p:nvSpPr>
        <p:spPr>
          <a:xfrm>
            <a:off x="571087" y="3970948"/>
            <a:ext cx="4313977" cy="561885"/>
          </a:xfrm>
          <a:prstGeom prst="rect">
            <a:avLst/>
          </a:prstGeom>
        </p:spPr>
        <p:txBody>
          <a:bodyPr>
            <a:spAutoFit/>
          </a:bodyPr>
          <a:lstStyle>
            <a:lvl1pPr marL="0" indent="0" algn="l" defTabSz="914400" rtl="0" eaLnBrk="1" latinLnBrk="0" hangingPunct="1">
              <a:lnSpc>
                <a:spcPct val="120000"/>
              </a:lnSpc>
              <a:spcBef>
                <a:spcPts val="1000"/>
              </a:spcBef>
              <a:buFont typeface="Arial" panose="020B0604020202020204" pitchFamily="34" charset="0"/>
              <a:buNone/>
              <a:defRPr lang="en-GB" sz="2000" kern="1200" dirty="0">
                <a:solidFill>
                  <a:schemeClr val="bg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800" dirty="0">
                <a:solidFill>
                  <a:schemeClr val="bg1"/>
                </a:solidFill>
                <a:latin typeface="Arial" panose="020B0604020202020204" pitchFamily="34" charset="0"/>
                <a:cs typeface="Arial" panose="020B0604020202020204" pitchFamily="34" charset="0"/>
                <a:sym typeface="Arial" panose="020B0604020202020204" pitchFamily="34" charset="0"/>
              </a:rPr>
              <a:t>Wasser ist Leben!</a:t>
            </a:r>
          </a:p>
        </p:txBody>
      </p:sp>
      <p:pic>
        <p:nvPicPr>
          <p:cNvPr id="9" name="Picture 8" descr="A black and white sign with white text&#10;&#10;Description automatically generated">
            <a:extLst>
              <a:ext uri="{FF2B5EF4-FFF2-40B4-BE49-F238E27FC236}">
                <a16:creationId xmlns:a16="http://schemas.microsoft.com/office/drawing/2014/main" id="{7AC754CD-E945-D2C3-1B7B-3AC546B5718E}"/>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71087" y="1687780"/>
            <a:ext cx="3406554" cy="716526"/>
          </a:xfrm>
          <a:prstGeom prst="rect">
            <a:avLst/>
          </a:prstGeom>
        </p:spPr>
      </p:pic>
      <p:sp>
        <p:nvSpPr>
          <p:cNvPr id="16" name="Picture Placeholder 15">
            <a:extLst>
              <a:ext uri="{FF2B5EF4-FFF2-40B4-BE49-F238E27FC236}">
                <a16:creationId xmlns:a16="http://schemas.microsoft.com/office/drawing/2014/main" id="{9AFCEED0-946E-3B0B-E4DB-863A9D67654E}"/>
              </a:ext>
            </a:extLst>
          </p:cNvPr>
          <p:cNvSpPr>
            <a:spLocks noGrp="1"/>
          </p:cNvSpPr>
          <p:nvPr>
            <p:ph type="pic" sz="quarter" idx="10"/>
          </p:nvPr>
        </p:nvSpPr>
        <p:spPr/>
        <p:txBody>
          <a:bodyPr/>
          <a:lstStyle/>
          <a:p>
            <a:endParaRPr lang="de-DE"/>
          </a:p>
        </p:txBody>
      </p:sp>
      <p:pic>
        <p:nvPicPr>
          <p:cNvPr id="17" name="Picture 16">
            <a:extLst>
              <a:ext uri="{FF2B5EF4-FFF2-40B4-BE49-F238E27FC236}">
                <a16:creationId xmlns:a16="http://schemas.microsoft.com/office/drawing/2014/main" id="{9CC62E22-CAB9-C8ED-4274-634C73019ABA}"/>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586843" y="1"/>
            <a:ext cx="8605156" cy="6857998"/>
          </a:xfrm>
          <a:custGeom>
            <a:avLst/>
            <a:gdLst>
              <a:gd name="connsiteX0" fmla="*/ 3879296 w 8605156"/>
              <a:gd name="connsiteY0" fmla="*/ 0 h 6857998"/>
              <a:gd name="connsiteX1" fmla="*/ 8605156 w 8605156"/>
              <a:gd name="connsiteY1" fmla="*/ 0 h 6857998"/>
              <a:gd name="connsiteX2" fmla="*/ 8605156 w 8605156"/>
              <a:gd name="connsiteY2" fmla="*/ 6857998 h 6857998"/>
              <a:gd name="connsiteX3" fmla="*/ 0 w 8605156"/>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8605156" h="6857998">
                <a:moveTo>
                  <a:pt x="3879296" y="0"/>
                </a:moveTo>
                <a:lnTo>
                  <a:pt x="8605156" y="0"/>
                </a:lnTo>
                <a:lnTo>
                  <a:pt x="8605156" y="6857998"/>
                </a:lnTo>
                <a:lnTo>
                  <a:pt x="0" y="6857998"/>
                </a:lnTo>
                <a:close/>
              </a:path>
            </a:pathLst>
          </a:custGeom>
        </p:spPr>
      </p:pic>
      <p:sp>
        <p:nvSpPr>
          <p:cNvPr id="2" name="Fußzeilenplatzhalter 1">
            <a:extLst>
              <a:ext uri="{FF2B5EF4-FFF2-40B4-BE49-F238E27FC236}">
                <a16:creationId xmlns:a16="http://schemas.microsoft.com/office/drawing/2014/main" id="{280ADAE0-E4F1-80FB-0770-31357DFB6366}"/>
              </a:ext>
            </a:extLst>
          </p:cNvPr>
          <p:cNvSpPr>
            <a:spLocks noGrp="1"/>
          </p:cNvSpPr>
          <p:nvPr>
            <p:ph type="ftr" sz="quarter" idx="3"/>
          </p:nvPr>
        </p:nvSpPr>
        <p:spPr/>
        <p:txBody>
          <a:bodyPr/>
          <a:lstStyle/>
          <a:p>
            <a:r>
              <a:rPr lang="de-DE"/>
              <a:t>Lions für WaSH - Wasser ist Leben</a:t>
            </a:r>
            <a:endParaRPr lang="de-DE" dirty="0"/>
          </a:p>
        </p:txBody>
      </p:sp>
    </p:spTree>
    <p:extLst>
      <p:ext uri="{BB962C8B-B14F-4D97-AF65-F5344CB8AC3E}">
        <p14:creationId xmlns:p14="http://schemas.microsoft.com/office/powerpoint/2010/main" val="23176746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582C7-414C-3368-13C8-05177FCE5407}"/>
            </a:ext>
          </a:extLst>
        </p:cNvPr>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90B6B647-9C5C-F4CC-4CCE-6433EE54B4FF}"/>
              </a:ext>
            </a:extLst>
          </p:cNvPr>
          <p:cNvGraphicFramePr>
            <a:graphicFrameLocks noChangeAspect="1"/>
          </p:cNvGraphicFramePr>
          <p:nvPr>
            <p:custDataLst>
              <p:tags r:id="rId1"/>
            </p:custDataLst>
            <p:extLst>
              <p:ext uri="{D42A27DB-BD31-4B8C-83A1-F6EECF244321}">
                <p14:modId xmlns:p14="http://schemas.microsoft.com/office/powerpoint/2010/main" val="3906691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3" progId="TCLayout.ActiveDocument.1">
                  <p:embed/>
                </p:oleObj>
              </mc:Choice>
              <mc:Fallback>
                <p:oleObj name="think-cell Slide" r:id="rId4" imgW="344" imgH="343" progId="TCLayout.ActiveDocument.1">
                  <p:embed/>
                  <p:pic>
                    <p:nvPicPr>
                      <p:cNvPr id="52" name="think-cell data - do not delete" hidden="1">
                        <a:extLst>
                          <a:ext uri="{FF2B5EF4-FFF2-40B4-BE49-F238E27FC236}">
                            <a16:creationId xmlns:a16="http://schemas.microsoft.com/office/drawing/2014/main" id="{58655CE3-791C-F119-3484-E46E2ACF4F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4268D57-41B5-6A0A-4222-86BACD37C3E1}"/>
              </a:ext>
            </a:extLst>
          </p:cNvPr>
          <p:cNvSpPr>
            <a:spLocks noGrp="1"/>
          </p:cNvSpPr>
          <p:nvPr>
            <p:ph type="body" sz="quarter" idx="10"/>
          </p:nvPr>
        </p:nvSpPr>
        <p:spPr/>
        <p:txBody>
          <a:bodyPr/>
          <a:lstStyle/>
          <a:p>
            <a:r>
              <a:rPr lang="de-DE" dirty="0">
                <a:latin typeface="Arial" panose="020B0604020202020204" pitchFamily="34" charset="0"/>
                <a:cs typeface="Arial" panose="020B0604020202020204" pitchFamily="34" charset="0"/>
                <a:sym typeface="Arial" panose="020B0604020202020204" pitchFamily="34" charset="0"/>
              </a:rPr>
              <a:t>Kenia: Anpassung an den Klimawandel</a:t>
            </a:r>
          </a:p>
        </p:txBody>
      </p:sp>
      <p:sp>
        <p:nvSpPr>
          <p:cNvPr id="11" name="Rectangle: Rounded Corners 10">
            <a:extLst>
              <a:ext uri="{FF2B5EF4-FFF2-40B4-BE49-F238E27FC236}">
                <a16:creationId xmlns:a16="http://schemas.microsoft.com/office/drawing/2014/main" id="{837E6373-91EA-26BB-9D0B-3ABAE5DA3DC9}"/>
              </a:ext>
            </a:extLst>
          </p:cNvPr>
          <p:cNvSpPr/>
          <p:nvPr/>
        </p:nvSpPr>
        <p:spPr>
          <a:xfrm>
            <a:off x="3694849" y="2510688"/>
            <a:ext cx="4772145" cy="3427457"/>
          </a:xfrm>
          <a:prstGeom prst="roundRect">
            <a:avLst>
              <a:gd name="adj" fmla="val 179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black"/>
              </a:solidFill>
              <a:latin typeface="Arial"/>
            </a:endParaRPr>
          </a:p>
        </p:txBody>
      </p:sp>
      <p:sp>
        <p:nvSpPr>
          <p:cNvPr id="32" name="TextBox 31">
            <a:extLst>
              <a:ext uri="{FF2B5EF4-FFF2-40B4-BE49-F238E27FC236}">
                <a16:creationId xmlns:a16="http://schemas.microsoft.com/office/drawing/2014/main" id="{B95251F2-3A70-FBAD-E430-565E11F91A70}"/>
              </a:ext>
            </a:extLst>
          </p:cNvPr>
          <p:cNvSpPr txBox="1"/>
          <p:nvPr/>
        </p:nvSpPr>
        <p:spPr>
          <a:xfrm>
            <a:off x="3721160" y="2617110"/>
            <a:ext cx="4571676" cy="3621504"/>
          </a:xfrm>
          <a:prstGeom prst="rect">
            <a:avLst/>
          </a:prstGeom>
          <a:noFill/>
        </p:spPr>
        <p:txBody>
          <a:bodyPr wrap="square" rtlCol="0" anchor="t">
            <a:spAutoFit/>
          </a:bodyPr>
          <a:lstStyle/>
          <a:p>
            <a:pPr marL="285750" indent="-285750">
              <a:lnSpc>
                <a:spcPct val="100000"/>
              </a:lnSpc>
              <a:spcBef>
                <a:spcPts val="800"/>
              </a:spcBef>
              <a:buClr>
                <a:srgbClr val="00B050"/>
              </a:buClr>
              <a:buFont typeface="Wingdings" panose="05000000000000000000" pitchFamily="2" charset="2"/>
              <a:buChar char="ü"/>
            </a:pPr>
            <a:r>
              <a:rPr lang="de-DE" sz="1600" dirty="0"/>
              <a:t>3 Brunnen saniert (Vieh + Gärten)</a:t>
            </a:r>
          </a:p>
          <a:p>
            <a:pPr marL="285750" indent="-285750">
              <a:lnSpc>
                <a:spcPct val="100000"/>
              </a:lnSpc>
              <a:spcBef>
                <a:spcPts val="800"/>
              </a:spcBef>
              <a:buClr>
                <a:srgbClr val="00B050"/>
              </a:buClr>
              <a:buFont typeface="Wingdings" panose="05000000000000000000" pitchFamily="2" charset="2"/>
              <a:buChar char="ü"/>
            </a:pPr>
            <a:r>
              <a:rPr lang="de-DE" sz="1600" dirty="0"/>
              <a:t>3 Brunnen gebohrt (Landwirtschaft)</a:t>
            </a:r>
          </a:p>
          <a:p>
            <a:pPr marL="285750" indent="-285750">
              <a:spcBef>
                <a:spcPts val="800"/>
              </a:spcBef>
              <a:buClr>
                <a:srgbClr val="FFC000"/>
              </a:buClr>
              <a:buFont typeface="Wingdings" panose="05000000000000000000" pitchFamily="2" charset="2"/>
              <a:buChar char="ü"/>
            </a:pPr>
            <a:r>
              <a:rPr lang="de-DE" sz="1600" dirty="0"/>
              <a:t>16 Frauengruppen haben Modell-Farmen zur klimafreundlichen Landwirtschaft gegründet</a:t>
            </a:r>
          </a:p>
          <a:p>
            <a:pPr>
              <a:spcBef>
                <a:spcPts val="800"/>
              </a:spcBef>
              <a:buClr>
                <a:srgbClr val="FFC000"/>
              </a:buClr>
            </a:pPr>
            <a:endParaRPr lang="de-DE" sz="1600" dirty="0"/>
          </a:p>
          <a:p>
            <a:pPr marL="285750" indent="-285750">
              <a:lnSpc>
                <a:spcPct val="100000"/>
              </a:lnSpc>
              <a:spcBef>
                <a:spcPts val="800"/>
              </a:spcBef>
              <a:buClr>
                <a:srgbClr val="00B050"/>
              </a:buClr>
              <a:buFont typeface="Wingdings" panose="05000000000000000000" pitchFamily="2" charset="2"/>
              <a:buChar char="ü"/>
            </a:pPr>
            <a:r>
              <a:rPr lang="de-DE" sz="1600" dirty="0"/>
              <a:t>Training von 30 HandwerkerInnen zu Latrinenbau</a:t>
            </a:r>
          </a:p>
          <a:p>
            <a:pPr marL="285750" indent="-285750">
              <a:lnSpc>
                <a:spcPct val="100000"/>
              </a:lnSpc>
              <a:spcBef>
                <a:spcPts val="800"/>
              </a:spcBef>
              <a:buClr>
                <a:srgbClr val="FFC000"/>
              </a:buClr>
              <a:buFont typeface="Wingdings" panose="05000000000000000000" pitchFamily="2" charset="2"/>
              <a:buChar char="ü"/>
            </a:pPr>
            <a:r>
              <a:rPr lang="de-DE" sz="1600" dirty="0"/>
              <a:t>16 der 32 Latrinen für vulnerable Haushalte</a:t>
            </a:r>
          </a:p>
          <a:p>
            <a:pPr marL="285750" indent="-285750">
              <a:lnSpc>
                <a:spcPct val="100000"/>
              </a:lnSpc>
              <a:spcBef>
                <a:spcPts val="800"/>
              </a:spcBef>
              <a:buClr>
                <a:srgbClr val="FFC000"/>
              </a:buClr>
              <a:buFont typeface="Wingdings" panose="05000000000000000000" pitchFamily="2" charset="2"/>
              <a:buChar char="ü"/>
            </a:pPr>
            <a:r>
              <a:rPr lang="de-DE" sz="1600" dirty="0"/>
              <a:t>Sanitärblöcke an 2 von 4 Schulen</a:t>
            </a:r>
          </a:p>
          <a:p>
            <a:pPr marL="285750" indent="-285750">
              <a:lnSpc>
                <a:spcPct val="100000"/>
              </a:lnSpc>
              <a:spcBef>
                <a:spcPts val="800"/>
              </a:spcBef>
              <a:buClr>
                <a:srgbClr val="FFC000"/>
              </a:buClr>
              <a:buFont typeface="Wingdings" panose="05000000000000000000" pitchFamily="2" charset="2"/>
              <a:buChar char="ü"/>
            </a:pPr>
            <a:r>
              <a:rPr lang="de-DE" sz="1600" dirty="0"/>
              <a:t>Hygiene-Trainings an Schulen</a:t>
            </a:r>
          </a:p>
          <a:p>
            <a:pPr marL="285750" indent="-285750">
              <a:lnSpc>
                <a:spcPct val="100000"/>
              </a:lnSpc>
              <a:spcBef>
                <a:spcPts val="800"/>
              </a:spcBef>
              <a:buClr>
                <a:srgbClr val="FFC000"/>
              </a:buClr>
              <a:buFont typeface="Wingdings" panose="05000000000000000000" pitchFamily="2" charset="2"/>
              <a:buChar char="ü"/>
            </a:pPr>
            <a:endParaRPr lang="de-DE" sz="1600" dirty="0">
              <a:solidFill>
                <a:srgbClr val="55565A"/>
              </a:solidFill>
            </a:endParaRPr>
          </a:p>
        </p:txBody>
      </p:sp>
      <p:sp>
        <p:nvSpPr>
          <p:cNvPr id="5" name="Rectangle: Rounded Corners 4">
            <a:extLst>
              <a:ext uri="{FF2B5EF4-FFF2-40B4-BE49-F238E27FC236}">
                <a16:creationId xmlns:a16="http://schemas.microsoft.com/office/drawing/2014/main" id="{4A1CCFCF-7861-87BA-40D9-B0F50FEBE28F}"/>
              </a:ext>
            </a:extLst>
          </p:cNvPr>
          <p:cNvSpPr/>
          <p:nvPr/>
        </p:nvSpPr>
        <p:spPr>
          <a:xfrm>
            <a:off x="407988" y="1356620"/>
            <a:ext cx="3161619" cy="4581525"/>
          </a:xfrm>
          <a:prstGeom prst="roundRect">
            <a:avLst>
              <a:gd name="adj" fmla="val 1975"/>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prstClr val="black"/>
              </a:solidFill>
              <a:latin typeface="Arial"/>
            </a:endParaRPr>
          </a:p>
        </p:txBody>
      </p:sp>
      <p:pic>
        <p:nvPicPr>
          <p:cNvPr id="4" name="Grafik 8">
            <a:extLst>
              <a:ext uri="{FF2B5EF4-FFF2-40B4-BE49-F238E27FC236}">
                <a16:creationId xmlns:a16="http://schemas.microsoft.com/office/drawing/2014/main" id="{1CCD01C5-686D-D445-0D2B-C5469AE0A0C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425698" y="407551"/>
            <a:ext cx="354770" cy="480131"/>
          </a:xfrm>
          <a:prstGeom prst="rect">
            <a:avLst/>
          </a:prstGeom>
        </p:spPr>
      </p:pic>
      <p:pic>
        <p:nvPicPr>
          <p:cNvPr id="6" name="Grafik 10" descr="Ein Bild, das Text, Schrift, Screenshot enthält.&#10;&#10;Automatisch generierte Beschreibung">
            <a:extLst>
              <a:ext uri="{FF2B5EF4-FFF2-40B4-BE49-F238E27FC236}">
                <a16:creationId xmlns:a16="http://schemas.microsoft.com/office/drawing/2014/main" id="{5250266D-85C7-B7DA-CE6E-B3823FFD034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48818" y="514639"/>
            <a:ext cx="966117" cy="321394"/>
          </a:xfrm>
          <a:prstGeom prst="rect">
            <a:avLst/>
          </a:prstGeom>
        </p:spPr>
      </p:pic>
      <p:pic>
        <p:nvPicPr>
          <p:cNvPr id="8" name="Picture 2">
            <a:extLst>
              <a:ext uri="{FF2B5EF4-FFF2-40B4-BE49-F238E27FC236}">
                <a16:creationId xmlns:a16="http://schemas.microsoft.com/office/drawing/2014/main" id="{EF1237E2-CB13-BE71-B9E0-E2DA202F8C6E}"/>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883285" y="526202"/>
            <a:ext cx="887413" cy="29826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7DD69332-EC61-9769-7FF4-C8BDD2832CEE}"/>
              </a:ext>
            </a:extLst>
          </p:cNvPr>
          <p:cNvSpPr txBox="1"/>
          <p:nvPr/>
        </p:nvSpPr>
        <p:spPr>
          <a:xfrm>
            <a:off x="4404680" y="1987846"/>
            <a:ext cx="3352480" cy="369332"/>
          </a:xfrm>
          <a:prstGeom prst="rect">
            <a:avLst/>
          </a:prstGeom>
          <a:noFill/>
        </p:spPr>
        <p:txBody>
          <a:bodyPr wrap="square" rtlCol="0" anchor="ctr">
            <a:spAutoFit/>
          </a:bodyPr>
          <a:lstStyle/>
          <a:p>
            <a:pPr marL="0" lvl="1" algn="ctr" fontAlgn="b">
              <a:spcBef>
                <a:spcPct val="0"/>
              </a:spcBef>
              <a:spcAft>
                <a:spcPts val="600"/>
              </a:spcAft>
              <a:buClr>
                <a:srgbClr val="00338D"/>
              </a:buClr>
              <a:defRPr/>
            </a:pPr>
            <a:r>
              <a:rPr lang="de-DE" b="1" kern="0" dirty="0">
                <a:solidFill>
                  <a:schemeClr val="accent1"/>
                </a:solidFill>
                <a:ea typeface="ヒラギノ角ゴ Pro W3" pitchFamily="125" charset="-128"/>
                <a:sym typeface="Arial" panose="020B0604020202020204" pitchFamily="34" charset="0"/>
              </a:rPr>
              <a:t>Projektfortschritte:</a:t>
            </a:r>
          </a:p>
        </p:txBody>
      </p:sp>
      <p:sp>
        <p:nvSpPr>
          <p:cNvPr id="3" name="Fußzeilenplatzhalter 2">
            <a:extLst>
              <a:ext uri="{FF2B5EF4-FFF2-40B4-BE49-F238E27FC236}">
                <a16:creationId xmlns:a16="http://schemas.microsoft.com/office/drawing/2014/main" id="{E0E7A933-A52B-B7DB-3F4C-B2CCE09CB133}"/>
              </a:ext>
            </a:extLst>
          </p:cNvPr>
          <p:cNvSpPr>
            <a:spLocks noGrp="1"/>
          </p:cNvSpPr>
          <p:nvPr>
            <p:ph type="ftr" sz="quarter" idx="3"/>
          </p:nvPr>
        </p:nvSpPr>
        <p:spPr/>
        <p:txBody>
          <a:bodyPr/>
          <a:lstStyle/>
          <a:p>
            <a:r>
              <a:rPr lang="de-DE"/>
              <a:t>Lions für WaSH - Wasser ist Leben</a:t>
            </a:r>
            <a:endParaRPr lang="de-DE" dirty="0"/>
          </a:p>
        </p:txBody>
      </p:sp>
      <p:sp>
        <p:nvSpPr>
          <p:cNvPr id="14" name="Textfeld 13">
            <a:extLst>
              <a:ext uri="{FF2B5EF4-FFF2-40B4-BE49-F238E27FC236}">
                <a16:creationId xmlns:a16="http://schemas.microsoft.com/office/drawing/2014/main" id="{A8217327-ECFD-E92D-55D6-50BDE1578CA3}"/>
              </a:ext>
            </a:extLst>
          </p:cNvPr>
          <p:cNvSpPr txBox="1"/>
          <p:nvPr/>
        </p:nvSpPr>
        <p:spPr>
          <a:xfrm>
            <a:off x="10431907" y="6052979"/>
            <a:ext cx="1561646" cy="246221"/>
          </a:xfrm>
          <a:prstGeom prst="rect">
            <a:avLst/>
          </a:prstGeom>
          <a:noFill/>
        </p:spPr>
        <p:txBody>
          <a:bodyPr wrap="none" rtlCol="0">
            <a:spAutoFit/>
          </a:bodyPr>
          <a:lstStyle/>
          <a:p>
            <a:r>
              <a:rPr lang="de-DE" sz="1000" dirty="0">
                <a:solidFill>
                  <a:schemeClr val="bg1">
                    <a:lumMod val="75000"/>
                  </a:schemeClr>
                </a:solidFill>
              </a:rPr>
              <a:t>Bilder: HFH </a:t>
            </a:r>
            <a:r>
              <a:rPr lang="de-DE" sz="1000" dirty="0" err="1">
                <a:solidFill>
                  <a:schemeClr val="bg1">
                    <a:lumMod val="75000"/>
                  </a:schemeClr>
                </a:solidFill>
              </a:rPr>
              <a:t>Kenya</a:t>
            </a:r>
            <a:r>
              <a:rPr lang="de-DE" sz="1000" dirty="0">
                <a:solidFill>
                  <a:schemeClr val="bg1">
                    <a:lumMod val="75000"/>
                  </a:schemeClr>
                </a:solidFill>
              </a:rPr>
              <a:t>, SDL</a:t>
            </a:r>
          </a:p>
        </p:txBody>
      </p:sp>
      <p:pic>
        <p:nvPicPr>
          <p:cNvPr id="15" name="Grafik 14" descr="Landwirtschaft mit einfarbiger Füllung">
            <a:extLst>
              <a:ext uri="{FF2B5EF4-FFF2-40B4-BE49-F238E27FC236}">
                <a16:creationId xmlns:a16="http://schemas.microsoft.com/office/drawing/2014/main" id="{CCD64744-21A2-6EAE-5ED0-BC6B81FBEE4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03936" y="113581"/>
            <a:ext cx="1297231" cy="1297231"/>
          </a:xfrm>
          <a:prstGeom prst="rect">
            <a:avLst/>
          </a:prstGeom>
        </p:spPr>
      </p:pic>
      <p:grpSp>
        <p:nvGrpSpPr>
          <p:cNvPr id="16" name="Gruppieren 15">
            <a:extLst>
              <a:ext uri="{FF2B5EF4-FFF2-40B4-BE49-F238E27FC236}">
                <a16:creationId xmlns:a16="http://schemas.microsoft.com/office/drawing/2014/main" id="{A818AE97-EA41-91D5-51A8-361B41956BFF}"/>
              </a:ext>
            </a:extLst>
          </p:cNvPr>
          <p:cNvGrpSpPr/>
          <p:nvPr/>
        </p:nvGrpSpPr>
        <p:grpSpPr>
          <a:xfrm>
            <a:off x="8636391" y="1310941"/>
            <a:ext cx="3231894" cy="4683360"/>
            <a:chOff x="4079765" y="1562099"/>
            <a:chExt cx="3161619" cy="4581525"/>
          </a:xfrm>
        </p:grpSpPr>
        <p:sp>
          <p:nvSpPr>
            <p:cNvPr id="17" name="Rectangle: Rounded Corners 4">
              <a:extLst>
                <a:ext uri="{FF2B5EF4-FFF2-40B4-BE49-F238E27FC236}">
                  <a16:creationId xmlns:a16="http://schemas.microsoft.com/office/drawing/2014/main" id="{2DA28C01-F1EB-7F70-B0D2-BFD5F2C94F12}"/>
                </a:ext>
              </a:extLst>
            </p:cNvPr>
            <p:cNvSpPr/>
            <p:nvPr/>
          </p:nvSpPr>
          <p:spPr>
            <a:xfrm>
              <a:off x="4079765" y="1562099"/>
              <a:ext cx="3161619" cy="4581525"/>
            </a:xfrm>
            <a:prstGeom prst="roundRect">
              <a:avLst>
                <a:gd name="adj" fmla="val 1975"/>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prstClr val="black"/>
                </a:solidFill>
                <a:latin typeface="Arial"/>
              </a:endParaRPr>
            </a:p>
          </p:txBody>
        </p:sp>
        <p:pic>
          <p:nvPicPr>
            <p:cNvPr id="19" name="Picture 17">
              <a:extLst>
                <a:ext uri="{FF2B5EF4-FFF2-40B4-BE49-F238E27FC236}">
                  <a16:creationId xmlns:a16="http://schemas.microsoft.com/office/drawing/2014/main" id="{1BD0AD12-966A-202E-2C12-D9CDF47E987D}"/>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4228684" y="1727200"/>
              <a:ext cx="2858514" cy="4251326"/>
            </a:xfrm>
            <a:custGeom>
              <a:avLst/>
              <a:gdLst>
                <a:gd name="connsiteX0" fmla="*/ 56456 w 2858514"/>
                <a:gd name="connsiteY0" fmla="*/ 0 h 4251326"/>
                <a:gd name="connsiteX1" fmla="*/ 2802058 w 2858514"/>
                <a:gd name="connsiteY1" fmla="*/ 0 h 4251326"/>
                <a:gd name="connsiteX2" fmla="*/ 2858514 w 2858514"/>
                <a:gd name="connsiteY2" fmla="*/ 56456 h 4251326"/>
                <a:gd name="connsiteX3" fmla="*/ 2858514 w 2858514"/>
                <a:gd name="connsiteY3" fmla="*/ 4194870 h 4251326"/>
                <a:gd name="connsiteX4" fmla="*/ 2802058 w 2858514"/>
                <a:gd name="connsiteY4" fmla="*/ 4251326 h 4251326"/>
                <a:gd name="connsiteX5" fmla="*/ 56456 w 2858514"/>
                <a:gd name="connsiteY5" fmla="*/ 4251326 h 4251326"/>
                <a:gd name="connsiteX6" fmla="*/ 0 w 2858514"/>
                <a:gd name="connsiteY6" fmla="*/ 4194870 h 4251326"/>
                <a:gd name="connsiteX7" fmla="*/ 0 w 2858514"/>
                <a:gd name="connsiteY7" fmla="*/ 56456 h 4251326"/>
                <a:gd name="connsiteX8" fmla="*/ 56456 w 2858514"/>
                <a:gd name="connsiteY8" fmla="*/ 0 h 425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8514" h="4251326">
                  <a:moveTo>
                    <a:pt x="56456" y="0"/>
                  </a:moveTo>
                  <a:lnTo>
                    <a:pt x="2802058" y="0"/>
                  </a:lnTo>
                  <a:cubicBezTo>
                    <a:pt x="2833238" y="0"/>
                    <a:pt x="2858514" y="25276"/>
                    <a:pt x="2858514" y="56456"/>
                  </a:cubicBezTo>
                  <a:lnTo>
                    <a:pt x="2858514" y="4194870"/>
                  </a:lnTo>
                  <a:cubicBezTo>
                    <a:pt x="2858514" y="4226050"/>
                    <a:pt x="2833238" y="4251326"/>
                    <a:pt x="2802058" y="4251326"/>
                  </a:cubicBezTo>
                  <a:lnTo>
                    <a:pt x="56456" y="4251326"/>
                  </a:lnTo>
                  <a:cubicBezTo>
                    <a:pt x="25276" y="4251326"/>
                    <a:pt x="0" y="4226050"/>
                    <a:pt x="0" y="4194870"/>
                  </a:cubicBezTo>
                  <a:lnTo>
                    <a:pt x="0" y="56456"/>
                  </a:lnTo>
                  <a:cubicBezTo>
                    <a:pt x="0" y="25276"/>
                    <a:pt x="25276" y="0"/>
                    <a:pt x="56456" y="0"/>
                  </a:cubicBezTo>
                  <a:close/>
                </a:path>
              </a:pathLst>
            </a:custGeom>
          </p:spPr>
        </p:pic>
      </p:grpSp>
      <p:pic>
        <p:nvPicPr>
          <p:cNvPr id="20" name="Grafik 19" descr="Ein Bild, das draußen, Gras, Himmel, Pflanze enthält.&#10;&#10;KI-generierte Inhalte können fehlerhaft sein.">
            <a:extLst>
              <a:ext uri="{FF2B5EF4-FFF2-40B4-BE49-F238E27FC236}">
                <a16:creationId xmlns:a16="http://schemas.microsoft.com/office/drawing/2014/main" id="{C6E980F2-E20D-A7A7-94C1-31D210623EC2}"/>
              </a:ext>
            </a:extLst>
          </p:cNvPr>
          <p:cNvPicPr>
            <a:picLocks noChangeAspect="1"/>
          </p:cNvPicPr>
          <p:nvPr/>
        </p:nvPicPr>
        <p:blipFill>
          <a:blip r:embed="rId12" cstate="print">
            <a:extLst>
              <a:ext uri="{28A0092B-C50C-407E-A947-70E740481C1C}">
                <a14:useLocalDpi xmlns:a14="http://schemas.microsoft.com/office/drawing/2010/main"/>
              </a:ext>
            </a:extLst>
          </a:blip>
          <a:srcRect/>
          <a:stretch/>
        </p:blipFill>
        <p:spPr>
          <a:xfrm>
            <a:off x="548639" y="1530829"/>
            <a:ext cx="2873125" cy="4294705"/>
          </a:xfrm>
          <a:custGeom>
            <a:avLst/>
            <a:gdLst>
              <a:gd name="connsiteX0" fmla="*/ 56456 w 2858514"/>
              <a:gd name="connsiteY0" fmla="*/ 0 h 4251326"/>
              <a:gd name="connsiteX1" fmla="*/ 2802058 w 2858514"/>
              <a:gd name="connsiteY1" fmla="*/ 0 h 4251326"/>
              <a:gd name="connsiteX2" fmla="*/ 2858514 w 2858514"/>
              <a:gd name="connsiteY2" fmla="*/ 56456 h 4251326"/>
              <a:gd name="connsiteX3" fmla="*/ 2858514 w 2858514"/>
              <a:gd name="connsiteY3" fmla="*/ 4194870 h 4251326"/>
              <a:gd name="connsiteX4" fmla="*/ 2802058 w 2858514"/>
              <a:gd name="connsiteY4" fmla="*/ 4251326 h 4251326"/>
              <a:gd name="connsiteX5" fmla="*/ 56456 w 2858514"/>
              <a:gd name="connsiteY5" fmla="*/ 4251326 h 4251326"/>
              <a:gd name="connsiteX6" fmla="*/ 0 w 2858514"/>
              <a:gd name="connsiteY6" fmla="*/ 4194870 h 4251326"/>
              <a:gd name="connsiteX7" fmla="*/ 0 w 2858514"/>
              <a:gd name="connsiteY7" fmla="*/ 56456 h 4251326"/>
              <a:gd name="connsiteX8" fmla="*/ 56456 w 2858514"/>
              <a:gd name="connsiteY8" fmla="*/ 0 h 425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8514" h="4251326">
                <a:moveTo>
                  <a:pt x="56456" y="0"/>
                </a:moveTo>
                <a:lnTo>
                  <a:pt x="2802058" y="0"/>
                </a:lnTo>
                <a:cubicBezTo>
                  <a:pt x="2833238" y="0"/>
                  <a:pt x="2858514" y="25276"/>
                  <a:pt x="2858514" y="56456"/>
                </a:cubicBezTo>
                <a:lnTo>
                  <a:pt x="2858514" y="4194870"/>
                </a:lnTo>
                <a:cubicBezTo>
                  <a:pt x="2858514" y="4226050"/>
                  <a:pt x="2833238" y="4251326"/>
                  <a:pt x="2802058" y="4251326"/>
                </a:cubicBezTo>
                <a:lnTo>
                  <a:pt x="56456" y="4251326"/>
                </a:lnTo>
                <a:cubicBezTo>
                  <a:pt x="25276" y="4251326"/>
                  <a:pt x="0" y="4226050"/>
                  <a:pt x="0" y="4194870"/>
                </a:cubicBezTo>
                <a:lnTo>
                  <a:pt x="0" y="56456"/>
                </a:lnTo>
                <a:cubicBezTo>
                  <a:pt x="0" y="25276"/>
                  <a:pt x="25276" y="0"/>
                  <a:pt x="56456" y="0"/>
                </a:cubicBezTo>
                <a:close/>
              </a:path>
            </a:pathLst>
          </a:custGeom>
        </p:spPr>
      </p:pic>
      <p:sp>
        <p:nvSpPr>
          <p:cNvPr id="7" name="Rectangle: Rounded Corners 11">
            <a:extLst>
              <a:ext uri="{FF2B5EF4-FFF2-40B4-BE49-F238E27FC236}">
                <a16:creationId xmlns:a16="http://schemas.microsoft.com/office/drawing/2014/main" id="{05F3A0C9-2FEE-4302-FB93-F703BC336069}"/>
              </a:ext>
            </a:extLst>
          </p:cNvPr>
          <p:cNvSpPr/>
          <p:nvPr/>
        </p:nvSpPr>
        <p:spPr>
          <a:xfrm>
            <a:off x="3694848" y="2028964"/>
            <a:ext cx="4772144" cy="477715"/>
          </a:xfrm>
          <a:prstGeom prst="roundRect">
            <a:avLst>
              <a:gd name="adj" fmla="val 20575"/>
            </a:avLst>
          </a:prstGeom>
          <a:solidFill>
            <a:schemeClr val="accent4"/>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ヒラギノ角ゴ Pro W3" pitchFamily="125" charset="-128"/>
            </a:endParaRPr>
          </a:p>
        </p:txBody>
      </p:sp>
      <p:sp>
        <p:nvSpPr>
          <p:cNvPr id="18" name="TextBox 12">
            <a:extLst>
              <a:ext uri="{FF2B5EF4-FFF2-40B4-BE49-F238E27FC236}">
                <a16:creationId xmlns:a16="http://schemas.microsoft.com/office/drawing/2014/main" id="{417D90EB-0C26-A8FD-4585-F4415CEBCEBA}"/>
              </a:ext>
            </a:extLst>
          </p:cNvPr>
          <p:cNvSpPr txBox="1"/>
          <p:nvPr/>
        </p:nvSpPr>
        <p:spPr>
          <a:xfrm>
            <a:off x="4404680" y="2083156"/>
            <a:ext cx="3352480" cy="369332"/>
          </a:xfrm>
          <a:prstGeom prst="rect">
            <a:avLst/>
          </a:prstGeom>
          <a:noFill/>
        </p:spPr>
        <p:txBody>
          <a:bodyPr wrap="square" rtlCol="0" anchor="ctr">
            <a:spAutoFit/>
          </a:bodyPr>
          <a:lstStyle/>
          <a:p>
            <a:pPr marL="0" lvl="1" algn="ctr" fontAlgn="b">
              <a:spcBef>
                <a:spcPct val="0"/>
              </a:spcBef>
              <a:spcAft>
                <a:spcPts val="600"/>
              </a:spcAft>
              <a:buClr>
                <a:srgbClr val="00338D"/>
              </a:buClr>
              <a:defRPr/>
            </a:pPr>
            <a:r>
              <a:rPr lang="de-DE" b="1" kern="0" dirty="0">
                <a:solidFill>
                  <a:schemeClr val="accent1"/>
                </a:solidFill>
                <a:ea typeface="ヒラギノ角ゴ Pro W3" pitchFamily="125" charset="-128"/>
                <a:sym typeface="Arial" panose="020B0604020202020204" pitchFamily="34" charset="0"/>
              </a:rPr>
              <a:t>Projektfortschritte:</a:t>
            </a:r>
          </a:p>
        </p:txBody>
      </p:sp>
      <p:sp>
        <p:nvSpPr>
          <p:cNvPr id="21" name="Rectangle: Rounded Corners 8">
            <a:extLst>
              <a:ext uri="{FF2B5EF4-FFF2-40B4-BE49-F238E27FC236}">
                <a16:creationId xmlns:a16="http://schemas.microsoft.com/office/drawing/2014/main" id="{4CAA490F-2F38-7DFA-58D7-84A1ACD29D62}"/>
              </a:ext>
            </a:extLst>
          </p:cNvPr>
          <p:cNvSpPr/>
          <p:nvPr/>
        </p:nvSpPr>
        <p:spPr>
          <a:xfrm>
            <a:off x="3694848" y="1451930"/>
            <a:ext cx="4772144" cy="477715"/>
          </a:xfrm>
          <a:prstGeom prst="roundRect">
            <a:avLst>
              <a:gd name="adj" fmla="val 20575"/>
            </a:avLst>
          </a:prstGeom>
          <a:solidFill>
            <a:schemeClr val="accent1"/>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ヒラギノ角ゴ Pro W3" pitchFamily="125" charset="-128"/>
            </a:endParaRPr>
          </a:p>
        </p:txBody>
      </p:sp>
      <p:sp>
        <p:nvSpPr>
          <p:cNvPr id="10" name="TextBox 9">
            <a:extLst>
              <a:ext uri="{FF2B5EF4-FFF2-40B4-BE49-F238E27FC236}">
                <a16:creationId xmlns:a16="http://schemas.microsoft.com/office/drawing/2014/main" id="{2E624F3F-3AA6-975A-746B-EF7070265EAF}"/>
              </a:ext>
            </a:extLst>
          </p:cNvPr>
          <p:cNvSpPr txBox="1"/>
          <p:nvPr/>
        </p:nvSpPr>
        <p:spPr>
          <a:xfrm>
            <a:off x="4574078" y="1504800"/>
            <a:ext cx="3013684" cy="369332"/>
          </a:xfrm>
          <a:prstGeom prst="rect">
            <a:avLst/>
          </a:prstGeom>
          <a:noFill/>
        </p:spPr>
        <p:txBody>
          <a:bodyPr wrap="square" rtlCol="0" anchor="ctr">
            <a:spAutoFit/>
          </a:bodyPr>
          <a:lstStyle/>
          <a:p>
            <a:pPr marL="0" lvl="1" algn="ctr" fontAlgn="b">
              <a:spcBef>
                <a:spcPct val="0"/>
              </a:spcBef>
              <a:spcAft>
                <a:spcPts val="600"/>
              </a:spcAft>
              <a:buClr>
                <a:srgbClr val="00338D"/>
              </a:buClr>
              <a:defRPr/>
            </a:pPr>
            <a:r>
              <a:rPr lang="de-DE" b="1" kern="0" dirty="0">
                <a:solidFill>
                  <a:schemeClr val="accent4"/>
                </a:solidFill>
                <a:ea typeface="ヒラギノ角ゴ Pro W3" pitchFamily="125" charset="-128"/>
                <a:sym typeface="Arial" panose="020B0604020202020204" pitchFamily="34" charset="0"/>
              </a:rPr>
              <a:t>Laufzeit: 2023-2026</a:t>
            </a:r>
          </a:p>
        </p:txBody>
      </p:sp>
    </p:spTree>
    <p:extLst>
      <p:ext uri="{BB962C8B-B14F-4D97-AF65-F5344CB8AC3E}">
        <p14:creationId xmlns:p14="http://schemas.microsoft.com/office/powerpoint/2010/main" val="7055414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434D28-52C5-DF8D-60F1-96F37752D494}"/>
            </a:ext>
          </a:extLst>
        </p:cNvPr>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C045ECF6-7526-3A66-F3D8-96836E3C02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3" progId="TCLayout.ActiveDocument.1">
                  <p:embed/>
                </p:oleObj>
              </mc:Choice>
              <mc:Fallback>
                <p:oleObj name="think-cell Slide" r:id="rId4" imgW="344" imgH="343" progId="TCLayout.ActiveDocument.1">
                  <p:embed/>
                  <p:pic>
                    <p:nvPicPr>
                      <p:cNvPr id="52" name="think-cell data - do not delete" hidden="1">
                        <a:extLst>
                          <a:ext uri="{FF2B5EF4-FFF2-40B4-BE49-F238E27FC236}">
                            <a16:creationId xmlns:a16="http://schemas.microsoft.com/office/drawing/2014/main" id="{0D524A7A-83E8-6EED-4141-AB3E6A71BC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8D7FA2A-202B-8DF1-765F-2F3F8EDDD51D}"/>
              </a:ext>
            </a:extLst>
          </p:cNvPr>
          <p:cNvSpPr>
            <a:spLocks noGrp="1"/>
          </p:cNvSpPr>
          <p:nvPr>
            <p:ph type="body" sz="quarter" idx="10"/>
          </p:nvPr>
        </p:nvSpPr>
        <p:spPr>
          <a:xfrm>
            <a:off x="323129" y="407551"/>
            <a:ext cx="10283909" cy="480131"/>
          </a:xfrm>
        </p:spPr>
        <p:txBody>
          <a:bodyPr/>
          <a:lstStyle/>
          <a:p>
            <a:r>
              <a:rPr lang="de-DE" cap="none" dirty="0">
                <a:latin typeface="Arial" panose="020B0604020202020204" pitchFamily="34" charset="0"/>
                <a:cs typeface="Arial" panose="020B0604020202020204" pitchFamily="34" charset="0"/>
                <a:sym typeface="Arial" panose="020B0604020202020204" pitchFamily="34" charset="0"/>
              </a:rPr>
              <a:t>Sambia: Sauberes Wasser an Schulen</a:t>
            </a:r>
            <a:endParaRPr lang="de-DE" dirty="0">
              <a:latin typeface="Arial" panose="020B0604020202020204" pitchFamily="34" charset="0"/>
              <a:cs typeface="Arial" panose="020B0604020202020204" pitchFamily="34" charset="0"/>
              <a:sym typeface="Arial" panose="020B0604020202020204" pitchFamily="34" charset="0"/>
            </a:endParaRPr>
          </a:p>
        </p:txBody>
      </p:sp>
      <p:sp>
        <p:nvSpPr>
          <p:cNvPr id="9" name="Rectangle: Rounded Corners 8">
            <a:extLst>
              <a:ext uri="{FF2B5EF4-FFF2-40B4-BE49-F238E27FC236}">
                <a16:creationId xmlns:a16="http://schemas.microsoft.com/office/drawing/2014/main" id="{BC9026C0-E501-3DAB-6DF1-02AAEFC6E563}"/>
              </a:ext>
            </a:extLst>
          </p:cNvPr>
          <p:cNvSpPr/>
          <p:nvPr/>
        </p:nvSpPr>
        <p:spPr>
          <a:xfrm>
            <a:off x="6981704" y="1562100"/>
            <a:ext cx="4772144" cy="477715"/>
          </a:xfrm>
          <a:prstGeom prst="roundRect">
            <a:avLst>
              <a:gd name="adj" fmla="val 20575"/>
            </a:avLst>
          </a:prstGeom>
          <a:solidFill>
            <a:schemeClr val="accent1"/>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ヒラギノ角ゴ Pro W3" pitchFamily="125" charset="-128"/>
            </a:endParaRPr>
          </a:p>
        </p:txBody>
      </p:sp>
      <p:sp>
        <p:nvSpPr>
          <p:cNvPr id="10" name="TextBox 9">
            <a:extLst>
              <a:ext uri="{FF2B5EF4-FFF2-40B4-BE49-F238E27FC236}">
                <a16:creationId xmlns:a16="http://schemas.microsoft.com/office/drawing/2014/main" id="{9A72A5CE-D693-F23F-0C33-78B87940825A}"/>
              </a:ext>
            </a:extLst>
          </p:cNvPr>
          <p:cNvSpPr txBox="1"/>
          <p:nvPr/>
        </p:nvSpPr>
        <p:spPr>
          <a:xfrm>
            <a:off x="7161946" y="1616292"/>
            <a:ext cx="4411660" cy="369332"/>
          </a:xfrm>
          <a:prstGeom prst="rect">
            <a:avLst/>
          </a:prstGeom>
          <a:noFill/>
        </p:spPr>
        <p:txBody>
          <a:bodyPr wrap="square" rtlCol="0" anchor="ctr">
            <a:spAutoFit/>
          </a:bodyPr>
          <a:lstStyle/>
          <a:p>
            <a:pPr marL="0" lvl="1" algn="ctr" fontAlgn="b">
              <a:spcBef>
                <a:spcPct val="0"/>
              </a:spcBef>
              <a:spcAft>
                <a:spcPts val="600"/>
              </a:spcAft>
              <a:buClr>
                <a:srgbClr val="00338D"/>
              </a:buClr>
              <a:defRPr/>
            </a:pPr>
            <a:r>
              <a:rPr lang="de-DE" b="1" kern="0" dirty="0">
                <a:solidFill>
                  <a:schemeClr val="accent4"/>
                </a:solidFill>
                <a:ea typeface="ヒラギノ角ゴ Pro W3" pitchFamily="125" charset="-128"/>
                <a:sym typeface="Arial" panose="020B0604020202020204" pitchFamily="34" charset="0"/>
              </a:rPr>
              <a:t>Laufzeit: 2024-2028</a:t>
            </a:r>
          </a:p>
        </p:txBody>
      </p:sp>
      <p:sp>
        <p:nvSpPr>
          <p:cNvPr id="11" name="Rectangle: Rounded Corners 10">
            <a:extLst>
              <a:ext uri="{FF2B5EF4-FFF2-40B4-BE49-F238E27FC236}">
                <a16:creationId xmlns:a16="http://schemas.microsoft.com/office/drawing/2014/main" id="{D2B9F918-F55C-6976-5602-CEB5D9B8A4FE}"/>
              </a:ext>
            </a:extLst>
          </p:cNvPr>
          <p:cNvSpPr/>
          <p:nvPr/>
        </p:nvSpPr>
        <p:spPr>
          <a:xfrm>
            <a:off x="6981705" y="2716169"/>
            <a:ext cx="4772145" cy="2170796"/>
          </a:xfrm>
          <a:prstGeom prst="roundRect">
            <a:avLst>
              <a:gd name="adj" fmla="val 179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black"/>
              </a:solidFill>
              <a:latin typeface="Arial"/>
            </a:endParaRPr>
          </a:p>
        </p:txBody>
      </p:sp>
      <p:sp>
        <p:nvSpPr>
          <p:cNvPr id="32" name="TextBox 31">
            <a:extLst>
              <a:ext uri="{FF2B5EF4-FFF2-40B4-BE49-F238E27FC236}">
                <a16:creationId xmlns:a16="http://schemas.microsoft.com/office/drawing/2014/main" id="{8C3DC833-85F1-2D28-B776-9ECCC8EB2666}"/>
              </a:ext>
            </a:extLst>
          </p:cNvPr>
          <p:cNvSpPr txBox="1"/>
          <p:nvPr/>
        </p:nvSpPr>
        <p:spPr>
          <a:xfrm>
            <a:off x="7139860" y="2898379"/>
            <a:ext cx="4571676" cy="1857688"/>
          </a:xfrm>
          <a:prstGeom prst="rect">
            <a:avLst/>
          </a:prstGeom>
          <a:noFill/>
        </p:spPr>
        <p:txBody>
          <a:bodyPr wrap="square" rtlCol="0" anchor="t">
            <a:spAutoFit/>
          </a:bodyPr>
          <a:lstStyle/>
          <a:p>
            <a:pPr marL="285750" lvl="1" indent="-285750" fontAlgn="b">
              <a:lnSpc>
                <a:spcPct val="120000"/>
              </a:lnSpc>
              <a:spcBef>
                <a:spcPts val="800"/>
              </a:spcBef>
              <a:buClr>
                <a:srgbClr val="00B050"/>
              </a:buClr>
              <a:buFont typeface="Wingdings" panose="05000000000000000000" pitchFamily="2" charset="2"/>
              <a:buChar char="ü"/>
              <a:defRPr/>
            </a:pPr>
            <a:r>
              <a:rPr lang="de-DE" sz="1600" dirty="0">
                <a:sym typeface="Arial" panose="020B0604020202020204" pitchFamily="34" charset="0"/>
              </a:rPr>
              <a:t>Kick-Off mit lokalen Stakeholdern</a:t>
            </a:r>
          </a:p>
          <a:p>
            <a:pPr marL="285750" lvl="1" indent="-285750" fontAlgn="b">
              <a:lnSpc>
                <a:spcPct val="120000"/>
              </a:lnSpc>
              <a:spcBef>
                <a:spcPts val="800"/>
              </a:spcBef>
              <a:buClr>
                <a:srgbClr val="FFC000"/>
              </a:buClr>
              <a:buFont typeface="Wingdings" panose="05000000000000000000" pitchFamily="2" charset="2"/>
              <a:buChar char="ü"/>
              <a:defRPr/>
            </a:pPr>
            <a:r>
              <a:rPr lang="de-DE" sz="1600" dirty="0">
                <a:sym typeface="Arial" panose="020B0604020202020204" pitchFamily="34" charset="0"/>
              </a:rPr>
              <a:t>Beauftragung der Brunnenbohrung</a:t>
            </a:r>
          </a:p>
          <a:p>
            <a:pPr marL="285750" lvl="1" indent="-285750" fontAlgn="b">
              <a:lnSpc>
                <a:spcPct val="120000"/>
              </a:lnSpc>
              <a:spcBef>
                <a:spcPts val="800"/>
              </a:spcBef>
              <a:buClr>
                <a:srgbClr val="FFC000"/>
              </a:buClr>
              <a:buFont typeface="Wingdings" panose="05000000000000000000" pitchFamily="2" charset="2"/>
              <a:buChar char="ü"/>
              <a:defRPr/>
            </a:pPr>
            <a:r>
              <a:rPr lang="de-DE" sz="1600" dirty="0">
                <a:sym typeface="Arial" panose="020B0604020202020204" pitchFamily="34" charset="0"/>
              </a:rPr>
              <a:t>Vorbereitungen (z.B. Landrechte) für Wasserkioske</a:t>
            </a:r>
          </a:p>
          <a:p>
            <a:pPr marL="285750" lvl="1" indent="-285750" fontAlgn="b">
              <a:lnSpc>
                <a:spcPct val="120000"/>
              </a:lnSpc>
              <a:spcBef>
                <a:spcPts val="800"/>
              </a:spcBef>
              <a:buClr>
                <a:srgbClr val="FFC000"/>
              </a:buClr>
              <a:buFont typeface="Wingdings" panose="05000000000000000000" pitchFamily="2" charset="2"/>
              <a:buChar char="ü"/>
              <a:defRPr/>
            </a:pPr>
            <a:r>
              <a:rPr lang="de-DE" sz="1600" dirty="0">
                <a:sym typeface="Arial" panose="020B0604020202020204" pitchFamily="34" charset="0"/>
              </a:rPr>
              <a:t>3 Theatervorstellungen zu </a:t>
            </a:r>
            <a:r>
              <a:rPr lang="de-DE" sz="1600" dirty="0" err="1">
                <a:sym typeface="Arial" panose="020B0604020202020204" pitchFamily="34" charset="0"/>
              </a:rPr>
              <a:t>WaSH</a:t>
            </a:r>
            <a:endParaRPr lang="de-DE" sz="1600" dirty="0">
              <a:sym typeface="Arial" panose="020B0604020202020204" pitchFamily="34" charset="0"/>
            </a:endParaRPr>
          </a:p>
        </p:txBody>
      </p:sp>
      <p:sp>
        <p:nvSpPr>
          <p:cNvPr id="5" name="Rectangle: Rounded Corners 4">
            <a:extLst>
              <a:ext uri="{FF2B5EF4-FFF2-40B4-BE49-F238E27FC236}">
                <a16:creationId xmlns:a16="http://schemas.microsoft.com/office/drawing/2014/main" id="{B79A5A9D-50EC-EDCC-93E3-E8821D088DF0}"/>
              </a:ext>
            </a:extLst>
          </p:cNvPr>
          <p:cNvSpPr/>
          <p:nvPr/>
        </p:nvSpPr>
        <p:spPr>
          <a:xfrm>
            <a:off x="407988" y="1562100"/>
            <a:ext cx="6445250" cy="4581525"/>
          </a:xfrm>
          <a:prstGeom prst="roundRect">
            <a:avLst>
              <a:gd name="adj" fmla="val 1975"/>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prstClr val="black"/>
              </a:solidFill>
              <a:latin typeface="Arial"/>
            </a:endParaRPr>
          </a:p>
        </p:txBody>
      </p:sp>
      <p:pic>
        <p:nvPicPr>
          <p:cNvPr id="4" name="Grafik 8">
            <a:extLst>
              <a:ext uri="{FF2B5EF4-FFF2-40B4-BE49-F238E27FC236}">
                <a16:creationId xmlns:a16="http://schemas.microsoft.com/office/drawing/2014/main" id="{53A35152-AF27-F855-48EB-EA07C6D0A93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425698" y="407551"/>
            <a:ext cx="354770" cy="480131"/>
          </a:xfrm>
          <a:prstGeom prst="rect">
            <a:avLst/>
          </a:prstGeom>
        </p:spPr>
      </p:pic>
      <p:pic>
        <p:nvPicPr>
          <p:cNvPr id="6" name="Grafik 10" descr="Ein Bild, das Text, Schrift, Screenshot enthält.&#10;&#10;Automatisch generierte Beschreibung">
            <a:extLst>
              <a:ext uri="{FF2B5EF4-FFF2-40B4-BE49-F238E27FC236}">
                <a16:creationId xmlns:a16="http://schemas.microsoft.com/office/drawing/2014/main" id="{0A65EB65-9198-7F32-C77E-835C7203839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48818" y="514639"/>
            <a:ext cx="966117" cy="321394"/>
          </a:xfrm>
          <a:prstGeom prst="rect">
            <a:avLst/>
          </a:prstGeom>
        </p:spPr>
      </p:pic>
      <p:pic>
        <p:nvPicPr>
          <p:cNvPr id="8" name="Picture 2">
            <a:extLst>
              <a:ext uri="{FF2B5EF4-FFF2-40B4-BE49-F238E27FC236}">
                <a16:creationId xmlns:a16="http://schemas.microsoft.com/office/drawing/2014/main" id="{A9B5B93E-152D-E190-994A-6E25E50D4F51}"/>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883285" y="526202"/>
            <a:ext cx="887413" cy="29826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 name="Rectangle: Rounded Corners 11">
            <a:extLst>
              <a:ext uri="{FF2B5EF4-FFF2-40B4-BE49-F238E27FC236}">
                <a16:creationId xmlns:a16="http://schemas.microsoft.com/office/drawing/2014/main" id="{36A26EC8-62BD-9FD6-66E6-3DE734205F44}"/>
              </a:ext>
            </a:extLst>
          </p:cNvPr>
          <p:cNvSpPr/>
          <p:nvPr/>
        </p:nvSpPr>
        <p:spPr>
          <a:xfrm>
            <a:off x="6981704" y="2139134"/>
            <a:ext cx="4772144" cy="477715"/>
          </a:xfrm>
          <a:prstGeom prst="roundRect">
            <a:avLst>
              <a:gd name="adj" fmla="val 20575"/>
            </a:avLst>
          </a:prstGeom>
          <a:solidFill>
            <a:schemeClr val="accent4"/>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ヒラギノ角ゴ Pro W3" pitchFamily="125" charset="-128"/>
            </a:endParaRPr>
          </a:p>
        </p:txBody>
      </p:sp>
      <p:sp>
        <p:nvSpPr>
          <p:cNvPr id="13" name="TextBox 12">
            <a:extLst>
              <a:ext uri="{FF2B5EF4-FFF2-40B4-BE49-F238E27FC236}">
                <a16:creationId xmlns:a16="http://schemas.microsoft.com/office/drawing/2014/main" id="{B6510056-48B1-0EE5-7F01-16E38629D37C}"/>
              </a:ext>
            </a:extLst>
          </p:cNvPr>
          <p:cNvSpPr txBox="1"/>
          <p:nvPr/>
        </p:nvSpPr>
        <p:spPr>
          <a:xfrm>
            <a:off x="7691536" y="2193326"/>
            <a:ext cx="3352480" cy="369332"/>
          </a:xfrm>
          <a:prstGeom prst="rect">
            <a:avLst/>
          </a:prstGeom>
          <a:noFill/>
        </p:spPr>
        <p:txBody>
          <a:bodyPr wrap="square" rtlCol="0" anchor="ctr">
            <a:spAutoFit/>
          </a:bodyPr>
          <a:lstStyle/>
          <a:p>
            <a:pPr marL="0" lvl="1" algn="ctr" fontAlgn="b">
              <a:spcBef>
                <a:spcPct val="0"/>
              </a:spcBef>
              <a:spcAft>
                <a:spcPts val="600"/>
              </a:spcAft>
              <a:buClr>
                <a:srgbClr val="00338D"/>
              </a:buClr>
              <a:defRPr/>
            </a:pPr>
            <a:r>
              <a:rPr lang="de-DE" b="1" kern="0" dirty="0">
                <a:solidFill>
                  <a:schemeClr val="accent1"/>
                </a:solidFill>
                <a:ea typeface="ヒラギノ角ゴ Pro W3" pitchFamily="125" charset="-128"/>
                <a:sym typeface="Arial" panose="020B0604020202020204" pitchFamily="34" charset="0"/>
              </a:rPr>
              <a:t>Projektfortschritte:</a:t>
            </a:r>
          </a:p>
        </p:txBody>
      </p:sp>
      <p:pic>
        <p:nvPicPr>
          <p:cNvPr id="14" name="Picture 13">
            <a:extLst>
              <a:ext uri="{FF2B5EF4-FFF2-40B4-BE49-F238E27FC236}">
                <a16:creationId xmlns:a16="http://schemas.microsoft.com/office/drawing/2014/main" id="{A7581E52-F54E-7022-58EB-88438F9B1526}"/>
              </a:ext>
            </a:extLst>
          </p:cNvPr>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20000"/>
                    </a14:imgEffect>
                  </a14:imgLayer>
                </a14:imgProps>
              </a:ext>
              <a:ext uri="{28A0092B-C50C-407E-A947-70E740481C1C}">
                <a14:useLocalDpi xmlns:a14="http://schemas.microsoft.com/office/drawing/2010/main"/>
              </a:ext>
            </a:extLst>
          </a:blip>
          <a:srcRect/>
          <a:stretch/>
        </p:blipFill>
        <p:spPr>
          <a:xfrm>
            <a:off x="548058" y="1734699"/>
            <a:ext cx="6165109" cy="4236325"/>
          </a:xfrm>
          <a:prstGeom prst="roundRect">
            <a:avLst>
              <a:gd name="adj" fmla="val 3172"/>
            </a:avLst>
          </a:prstGeom>
          <a:solidFill>
            <a:schemeClr val="bg2"/>
          </a:solidFill>
          <a:ln w="12700" cap="flat">
            <a:noFill/>
            <a:prstDash val="solid"/>
            <a:miter/>
          </a:ln>
          <a:effectLst>
            <a:outerShdw blurRad="444500" dist="190500" dir="5400000" algn="t" rotWithShape="0">
              <a:prstClr val="black">
                <a:alpha val="10000"/>
              </a:prstClr>
            </a:outerShdw>
          </a:effectLst>
        </p:spPr>
      </p:pic>
      <p:sp>
        <p:nvSpPr>
          <p:cNvPr id="3" name="Fußzeilenplatzhalter 2">
            <a:extLst>
              <a:ext uri="{FF2B5EF4-FFF2-40B4-BE49-F238E27FC236}">
                <a16:creationId xmlns:a16="http://schemas.microsoft.com/office/drawing/2014/main" id="{A4B508A8-38AF-D1FF-2540-5DAFD5239A1E}"/>
              </a:ext>
            </a:extLst>
          </p:cNvPr>
          <p:cNvSpPr>
            <a:spLocks noGrp="1"/>
          </p:cNvSpPr>
          <p:nvPr>
            <p:ph type="ftr" sz="quarter" idx="3"/>
          </p:nvPr>
        </p:nvSpPr>
        <p:spPr/>
        <p:txBody>
          <a:bodyPr/>
          <a:lstStyle/>
          <a:p>
            <a:r>
              <a:rPr lang="de-DE"/>
              <a:t>Lions für WaSH - Wasser ist Leben</a:t>
            </a:r>
            <a:endParaRPr lang="de-DE" dirty="0"/>
          </a:p>
        </p:txBody>
      </p:sp>
      <p:sp>
        <p:nvSpPr>
          <p:cNvPr id="7" name="Textfeld 6">
            <a:extLst>
              <a:ext uri="{FF2B5EF4-FFF2-40B4-BE49-F238E27FC236}">
                <a16:creationId xmlns:a16="http://schemas.microsoft.com/office/drawing/2014/main" id="{1EF6FA65-5520-2095-D1CD-7D0B02A815A1}"/>
              </a:ext>
            </a:extLst>
          </p:cNvPr>
          <p:cNvSpPr txBox="1"/>
          <p:nvPr/>
        </p:nvSpPr>
        <p:spPr>
          <a:xfrm>
            <a:off x="5335867" y="5930367"/>
            <a:ext cx="1377300" cy="253916"/>
          </a:xfrm>
          <a:prstGeom prst="rect">
            <a:avLst/>
          </a:prstGeom>
          <a:noFill/>
        </p:spPr>
        <p:txBody>
          <a:bodyPr wrap="none" rtlCol="0">
            <a:spAutoFit/>
          </a:bodyPr>
          <a:lstStyle/>
          <a:p>
            <a:r>
              <a:rPr lang="de-DE" sz="1050" dirty="0">
                <a:solidFill>
                  <a:schemeClr val="bg1">
                    <a:lumMod val="75000"/>
                  </a:schemeClr>
                </a:solidFill>
              </a:rPr>
              <a:t>Bilder: HFH Sambia</a:t>
            </a:r>
          </a:p>
        </p:txBody>
      </p:sp>
      <p:pic>
        <p:nvPicPr>
          <p:cNvPr id="15" name="Grafik 14" descr="Klassenzimmer mit einfarbiger Füllung">
            <a:extLst>
              <a:ext uri="{FF2B5EF4-FFF2-40B4-BE49-F238E27FC236}">
                <a16:creationId xmlns:a16="http://schemas.microsoft.com/office/drawing/2014/main" id="{B7ADAC2B-3600-9A15-9305-A804BB4EB6B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79383" y="5042540"/>
            <a:ext cx="1101085" cy="1101085"/>
          </a:xfrm>
          <a:prstGeom prst="rect">
            <a:avLst/>
          </a:prstGeom>
        </p:spPr>
      </p:pic>
    </p:spTree>
    <p:extLst>
      <p:ext uri="{BB962C8B-B14F-4D97-AF65-F5344CB8AC3E}">
        <p14:creationId xmlns:p14="http://schemas.microsoft.com/office/powerpoint/2010/main" val="22955898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97CB4-292F-97B0-8A8F-347B4483A3D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2D4C15-21E7-2A77-B087-F2DD7E886DCF}"/>
              </a:ext>
            </a:extLst>
          </p:cNvPr>
          <p:cNvGraphicFramePr>
            <a:graphicFrameLocks noChangeAspect="1"/>
          </p:cNvGraphicFramePr>
          <p:nvPr>
            <p:custDataLst>
              <p:tags r:id="rId1"/>
            </p:custDataLst>
            <p:extLst>
              <p:ext uri="{D42A27DB-BD31-4B8C-83A1-F6EECF244321}">
                <p14:modId xmlns:p14="http://schemas.microsoft.com/office/powerpoint/2010/main" val="4243156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392" progId="TCLayout.ActiveDocument.1">
                  <p:embed/>
                </p:oleObj>
              </mc:Choice>
              <mc:Fallback>
                <p:oleObj name="think-cell Slide" r:id="rId4" imgW="405"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5D8077F0-11F2-8DD8-432B-2944AE0B47F5}"/>
              </a:ext>
            </a:extLst>
          </p:cNvPr>
          <p:cNvSpPr>
            <a:spLocks noGrp="1"/>
          </p:cNvSpPr>
          <p:nvPr>
            <p:ph type="body" sz="quarter" idx="10"/>
          </p:nvPr>
        </p:nvSpPr>
        <p:spPr/>
        <p:txBody>
          <a:bodyPr/>
          <a:lstStyle/>
          <a:p>
            <a:r>
              <a:rPr lang="de-DE" dirty="0">
                <a:latin typeface="Arial" panose="020B0604020202020204" pitchFamily="34" charset="0"/>
                <a:cs typeface="Arial" panose="020B0604020202020204" pitchFamily="34" charset="0"/>
                <a:sym typeface="Arial" panose="020B0604020202020204" pitchFamily="34" charset="0"/>
              </a:rPr>
              <a:t>Lions WaSH-Projekt in Malawi 2024/2025</a:t>
            </a:r>
          </a:p>
        </p:txBody>
      </p:sp>
      <p:grpSp>
        <p:nvGrpSpPr>
          <p:cNvPr id="11" name="Group 10">
            <a:extLst>
              <a:ext uri="{FF2B5EF4-FFF2-40B4-BE49-F238E27FC236}">
                <a16:creationId xmlns:a16="http://schemas.microsoft.com/office/drawing/2014/main" id="{21FBB839-5F34-E992-A3E7-E31F3EDA8E0D}"/>
              </a:ext>
            </a:extLst>
          </p:cNvPr>
          <p:cNvGrpSpPr/>
          <p:nvPr/>
        </p:nvGrpSpPr>
        <p:grpSpPr>
          <a:xfrm>
            <a:off x="407988" y="1360073"/>
            <a:ext cx="11345862" cy="502333"/>
            <a:chOff x="431799" y="1489075"/>
            <a:chExt cx="5545636" cy="502333"/>
          </a:xfrm>
        </p:grpSpPr>
        <p:sp>
          <p:nvSpPr>
            <p:cNvPr id="12" name="Rectangle: Rounded Corners 11">
              <a:extLst>
                <a:ext uri="{FF2B5EF4-FFF2-40B4-BE49-F238E27FC236}">
                  <a16:creationId xmlns:a16="http://schemas.microsoft.com/office/drawing/2014/main" id="{3B641230-3865-B6CE-384F-C66FF6D9FBA9}"/>
                </a:ext>
              </a:extLst>
            </p:cNvPr>
            <p:cNvSpPr/>
            <p:nvPr/>
          </p:nvSpPr>
          <p:spPr>
            <a:xfrm>
              <a:off x="431799" y="1489075"/>
              <a:ext cx="5545636" cy="502333"/>
            </a:xfrm>
            <a:prstGeom prst="roundRect">
              <a:avLst>
                <a:gd name="adj" fmla="val 14333"/>
              </a:avLst>
            </a:prstGeom>
            <a:solidFill>
              <a:srgbClr val="EBB700"/>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13" name="TextBox 12">
              <a:extLst>
                <a:ext uri="{FF2B5EF4-FFF2-40B4-BE49-F238E27FC236}">
                  <a16:creationId xmlns:a16="http://schemas.microsoft.com/office/drawing/2014/main" id="{F111CA24-B880-7165-A569-723775BF3AAF}"/>
                </a:ext>
              </a:extLst>
            </p:cNvPr>
            <p:cNvSpPr txBox="1"/>
            <p:nvPr/>
          </p:nvSpPr>
          <p:spPr>
            <a:xfrm>
              <a:off x="1160194" y="1555575"/>
              <a:ext cx="4088847" cy="369332"/>
            </a:xfrm>
            <a:prstGeom prst="rect">
              <a:avLst/>
            </a:prstGeom>
            <a:noFill/>
          </p:spPr>
          <p:txBody>
            <a:bodyPr wrap="square" rtlCol="0" anchor="ctr">
              <a:spAutoFit/>
            </a:bodyPr>
            <a:lstStyle/>
            <a:p>
              <a:pPr algn="ctr">
                <a:spcAft>
                  <a:spcPts val="600"/>
                </a:spcAft>
                <a:defRPr/>
              </a:pPr>
              <a:r>
                <a:rPr lang="de-DE" b="1" kern="0" dirty="0">
                  <a:solidFill>
                    <a:srgbClr val="00338D"/>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rPr>
                <a:t>Wie wir helfen:</a:t>
              </a:r>
            </a:p>
          </p:txBody>
        </p:sp>
      </p:grpSp>
      <p:sp>
        <p:nvSpPr>
          <p:cNvPr id="17" name="Rectangle: Rounded Corners 16">
            <a:extLst>
              <a:ext uri="{FF2B5EF4-FFF2-40B4-BE49-F238E27FC236}">
                <a16:creationId xmlns:a16="http://schemas.microsoft.com/office/drawing/2014/main" id="{8696C6CE-4B0D-9A5F-32CD-6C9FD4CDC109}"/>
              </a:ext>
            </a:extLst>
          </p:cNvPr>
          <p:cNvSpPr/>
          <p:nvPr/>
        </p:nvSpPr>
        <p:spPr>
          <a:xfrm>
            <a:off x="407988" y="2028992"/>
            <a:ext cx="3683000" cy="2493382"/>
          </a:xfrm>
          <a:prstGeom prst="roundRect">
            <a:avLst>
              <a:gd name="adj" fmla="val 288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8" name="Rectangle: Rounded Corners 17">
            <a:extLst>
              <a:ext uri="{FF2B5EF4-FFF2-40B4-BE49-F238E27FC236}">
                <a16:creationId xmlns:a16="http://schemas.microsoft.com/office/drawing/2014/main" id="{3E4F31FA-66E6-F3ED-17AD-8B5B26365998}"/>
              </a:ext>
            </a:extLst>
          </p:cNvPr>
          <p:cNvSpPr/>
          <p:nvPr/>
        </p:nvSpPr>
        <p:spPr>
          <a:xfrm>
            <a:off x="4254500" y="2028992"/>
            <a:ext cx="3683000" cy="2493382"/>
          </a:xfrm>
          <a:prstGeom prst="roundRect">
            <a:avLst>
              <a:gd name="adj" fmla="val 288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9" name="Rectangle: Rounded Corners 18">
            <a:extLst>
              <a:ext uri="{FF2B5EF4-FFF2-40B4-BE49-F238E27FC236}">
                <a16:creationId xmlns:a16="http://schemas.microsoft.com/office/drawing/2014/main" id="{1392FE70-E9ED-7F9A-54AD-910BE74B0F5E}"/>
              </a:ext>
            </a:extLst>
          </p:cNvPr>
          <p:cNvSpPr/>
          <p:nvPr/>
        </p:nvSpPr>
        <p:spPr>
          <a:xfrm>
            <a:off x="8070850" y="2028992"/>
            <a:ext cx="3683000" cy="2493382"/>
          </a:xfrm>
          <a:prstGeom prst="roundRect">
            <a:avLst>
              <a:gd name="adj" fmla="val 288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pic>
        <p:nvPicPr>
          <p:cNvPr id="2" name="Bildplatzhalter 9">
            <a:extLst>
              <a:ext uri="{FF2B5EF4-FFF2-40B4-BE49-F238E27FC236}">
                <a16:creationId xmlns:a16="http://schemas.microsoft.com/office/drawing/2014/main" id="{765C75FC-0018-1A28-A149-122D9B794ADF}"/>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4366261" y="2153823"/>
            <a:ext cx="3459478" cy="2243720"/>
          </a:xfrm>
          <a:prstGeom prst="roundRect">
            <a:avLst>
              <a:gd name="adj" fmla="val 3172"/>
            </a:avLst>
          </a:prstGeom>
          <a:solidFill>
            <a:schemeClr val="bg2"/>
          </a:solidFill>
          <a:ln w="12700" cap="flat">
            <a:noFill/>
            <a:prstDash val="solid"/>
            <a:miter/>
          </a:ln>
          <a:effectLst>
            <a:outerShdw blurRad="444500" dist="190500" dir="5400000" algn="t" rotWithShape="0">
              <a:prstClr val="black">
                <a:alpha val="10000"/>
              </a:prstClr>
            </a:outerShdw>
          </a:effectLst>
        </p:spPr>
      </p:pic>
      <p:pic>
        <p:nvPicPr>
          <p:cNvPr id="3" name="Bildplatzhalter 19">
            <a:extLst>
              <a:ext uri="{FF2B5EF4-FFF2-40B4-BE49-F238E27FC236}">
                <a16:creationId xmlns:a16="http://schemas.microsoft.com/office/drawing/2014/main" id="{66377194-BB56-DD5A-6F20-D6515CA0C399}"/>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519749" y="2153823"/>
            <a:ext cx="3459478" cy="2243720"/>
          </a:xfrm>
          <a:prstGeom prst="roundRect">
            <a:avLst>
              <a:gd name="adj" fmla="val 3172"/>
            </a:avLst>
          </a:prstGeom>
          <a:solidFill>
            <a:schemeClr val="bg2"/>
          </a:solidFill>
          <a:ln w="12700" cap="flat">
            <a:noFill/>
            <a:prstDash val="solid"/>
            <a:miter/>
          </a:ln>
          <a:effectLst>
            <a:outerShdw blurRad="444500" dist="190500" dir="5400000" algn="t" rotWithShape="0">
              <a:prstClr val="black">
                <a:alpha val="10000"/>
              </a:prstClr>
            </a:outerShdw>
          </a:effectLst>
        </p:spPr>
      </p:pic>
      <p:pic>
        <p:nvPicPr>
          <p:cNvPr id="4" name="Bildplatzhalter 21">
            <a:extLst>
              <a:ext uri="{FF2B5EF4-FFF2-40B4-BE49-F238E27FC236}">
                <a16:creationId xmlns:a16="http://schemas.microsoft.com/office/drawing/2014/main" id="{05F44977-9E98-BB10-5952-3607A7D72774}"/>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8182610" y="2153823"/>
            <a:ext cx="3459478" cy="2243720"/>
          </a:xfrm>
          <a:prstGeom prst="roundRect">
            <a:avLst>
              <a:gd name="adj" fmla="val 3172"/>
            </a:avLst>
          </a:prstGeom>
          <a:solidFill>
            <a:schemeClr val="bg2"/>
          </a:solidFill>
          <a:ln w="12700" cap="flat">
            <a:noFill/>
            <a:prstDash val="solid"/>
            <a:miter/>
          </a:ln>
          <a:effectLst>
            <a:outerShdw blurRad="444500" dist="190500" dir="5400000" algn="t" rotWithShape="0">
              <a:prstClr val="black">
                <a:alpha val="10000"/>
              </a:prstClr>
            </a:outerShdw>
          </a:effectLst>
        </p:spPr>
      </p:pic>
      <p:sp>
        <p:nvSpPr>
          <p:cNvPr id="24" name="Rectangle: Rounded Corners 23">
            <a:extLst>
              <a:ext uri="{FF2B5EF4-FFF2-40B4-BE49-F238E27FC236}">
                <a16:creationId xmlns:a16="http://schemas.microsoft.com/office/drawing/2014/main" id="{56EF7A71-55B7-7A8B-F135-EE2F0771CF9D}"/>
              </a:ext>
            </a:extLst>
          </p:cNvPr>
          <p:cNvSpPr/>
          <p:nvPr/>
        </p:nvSpPr>
        <p:spPr>
          <a:xfrm>
            <a:off x="850900" y="4711652"/>
            <a:ext cx="3240088" cy="1229945"/>
          </a:xfrm>
          <a:prstGeom prst="roundRect">
            <a:avLst>
              <a:gd name="adj" fmla="val 5854"/>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auto">
              <a:spcBef>
                <a:spcPts val="0"/>
              </a:spcBef>
              <a:spcAft>
                <a:spcPts val="0"/>
              </a:spcAft>
            </a:pPr>
            <a:endParaRPr lang="en-US">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26" name="Parallelogram 25">
            <a:extLst>
              <a:ext uri="{FF2B5EF4-FFF2-40B4-BE49-F238E27FC236}">
                <a16:creationId xmlns:a16="http://schemas.microsoft.com/office/drawing/2014/main" id="{D40FAB8A-83E4-810F-3A77-F8E825E268B0}"/>
              </a:ext>
            </a:extLst>
          </p:cNvPr>
          <p:cNvSpPr/>
          <p:nvPr/>
        </p:nvSpPr>
        <p:spPr>
          <a:xfrm>
            <a:off x="407988" y="5059814"/>
            <a:ext cx="906818" cy="533622"/>
          </a:xfrm>
          <a:prstGeom prst="parallelogram">
            <a:avLst>
              <a:gd name="adj" fmla="val 56566"/>
            </a:avLst>
          </a:prstGeom>
          <a:solidFill>
            <a:srgbClr val="EBB700"/>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38D"/>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27" name="TextBox 26">
            <a:extLst>
              <a:ext uri="{FF2B5EF4-FFF2-40B4-BE49-F238E27FC236}">
                <a16:creationId xmlns:a16="http://schemas.microsoft.com/office/drawing/2014/main" id="{21E3300C-E28D-3B81-8CB3-FFC2D37897F3}"/>
              </a:ext>
            </a:extLst>
          </p:cNvPr>
          <p:cNvSpPr txBox="1"/>
          <p:nvPr/>
        </p:nvSpPr>
        <p:spPr>
          <a:xfrm>
            <a:off x="1371410" y="4788016"/>
            <a:ext cx="2648354" cy="1077218"/>
          </a:xfrm>
          <a:prstGeom prst="rect">
            <a:avLst/>
          </a:prstGeom>
          <a:noFill/>
        </p:spPr>
        <p:txBody>
          <a:bodyPr wrap="square" rtlCol="0" anchor="ctr">
            <a:spAutoFit/>
          </a:bodyPr>
          <a:lstStyle/>
          <a:p>
            <a:pPr marL="0" lvl="1" indent="-230400" defTabSz="422039" fontAlgn="b">
              <a:spcBef>
                <a:spcPct val="0"/>
              </a:spcBef>
              <a:spcAft>
                <a:spcPts val="600"/>
              </a:spcAft>
              <a:buClr>
                <a:schemeClr val="accent1"/>
              </a:buClr>
              <a:defRPr/>
            </a:pPr>
            <a:r>
              <a:rPr lang="de-DE" sz="1600" dirty="0">
                <a:latin typeface="Arial" panose="020B0604020202020204" pitchFamily="34" charset="0"/>
                <a:cs typeface="Arial" panose="020B0604020202020204" pitchFamily="34" charset="0"/>
                <a:sym typeface="Arial" panose="020B0604020202020204" pitchFamily="34" charset="0"/>
              </a:rPr>
              <a:t>Sauberes Wasser: Brunnen und Wasserkomitees zur Erhaltung der Infrastruktur</a:t>
            </a:r>
            <a:endParaRPr lang="de-DE" altLang="de-DE" sz="1600" dirty="0">
              <a:latin typeface="Arial" panose="020B0604020202020204" pitchFamily="34" charset="0"/>
              <a:cs typeface="Arial" panose="020B0604020202020204" pitchFamily="34" charset="0"/>
              <a:sym typeface="Arial" panose="020B0604020202020204" pitchFamily="34" charset="0"/>
            </a:endParaRPr>
          </a:p>
        </p:txBody>
      </p:sp>
      <p:sp>
        <p:nvSpPr>
          <p:cNvPr id="28" name="Rectangle: Rounded Corners 27">
            <a:extLst>
              <a:ext uri="{FF2B5EF4-FFF2-40B4-BE49-F238E27FC236}">
                <a16:creationId xmlns:a16="http://schemas.microsoft.com/office/drawing/2014/main" id="{AED943A9-AC70-6855-476C-0B96622CD8FB}"/>
              </a:ext>
            </a:extLst>
          </p:cNvPr>
          <p:cNvSpPr/>
          <p:nvPr/>
        </p:nvSpPr>
        <p:spPr>
          <a:xfrm>
            <a:off x="4697412" y="4711652"/>
            <a:ext cx="3240088" cy="1229945"/>
          </a:xfrm>
          <a:prstGeom prst="roundRect">
            <a:avLst>
              <a:gd name="adj" fmla="val 5854"/>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auto">
              <a:spcBef>
                <a:spcPts val="0"/>
              </a:spcBef>
              <a:spcAft>
                <a:spcPts val="0"/>
              </a:spcAft>
            </a:pPr>
            <a:endParaRPr lang="en-US">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29" name="Parallelogram 28">
            <a:extLst>
              <a:ext uri="{FF2B5EF4-FFF2-40B4-BE49-F238E27FC236}">
                <a16:creationId xmlns:a16="http://schemas.microsoft.com/office/drawing/2014/main" id="{C3764BCA-6B5F-AAAC-5E98-EC2A4FDF2857}"/>
              </a:ext>
            </a:extLst>
          </p:cNvPr>
          <p:cNvSpPr/>
          <p:nvPr/>
        </p:nvSpPr>
        <p:spPr>
          <a:xfrm>
            <a:off x="4254500" y="5059814"/>
            <a:ext cx="906818" cy="533622"/>
          </a:xfrm>
          <a:prstGeom prst="parallelogram">
            <a:avLst>
              <a:gd name="adj" fmla="val 56566"/>
            </a:avLst>
          </a:prstGeom>
          <a:solidFill>
            <a:srgbClr val="EBB700"/>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38D"/>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30" name="TextBox 29">
            <a:extLst>
              <a:ext uri="{FF2B5EF4-FFF2-40B4-BE49-F238E27FC236}">
                <a16:creationId xmlns:a16="http://schemas.microsoft.com/office/drawing/2014/main" id="{75E04D07-D983-B7F9-E4B6-F810235C112D}"/>
              </a:ext>
            </a:extLst>
          </p:cNvPr>
          <p:cNvSpPr txBox="1"/>
          <p:nvPr/>
        </p:nvSpPr>
        <p:spPr>
          <a:xfrm>
            <a:off x="5217922" y="5034238"/>
            <a:ext cx="2648354" cy="584775"/>
          </a:xfrm>
          <a:prstGeom prst="rect">
            <a:avLst/>
          </a:prstGeom>
          <a:noFill/>
        </p:spPr>
        <p:txBody>
          <a:bodyPr wrap="square" rtlCol="0" anchor="ctr">
            <a:spAutoFit/>
          </a:bodyPr>
          <a:lstStyle/>
          <a:p>
            <a:pPr marL="0" lvl="1" indent="-230400" defTabSz="422039" fontAlgn="b">
              <a:spcBef>
                <a:spcPct val="0"/>
              </a:spcBef>
              <a:spcAft>
                <a:spcPts val="600"/>
              </a:spcAft>
              <a:buClr>
                <a:schemeClr val="accent1"/>
              </a:buClr>
              <a:defRPr/>
            </a:pPr>
            <a:r>
              <a:rPr lang="de-DE" sz="1600" dirty="0">
                <a:latin typeface="Arial" panose="020B0604020202020204" pitchFamily="34" charset="0"/>
                <a:cs typeface="Arial" panose="020B0604020202020204" pitchFamily="34" charset="0"/>
                <a:sym typeface="Arial" panose="020B0604020202020204" pitchFamily="34" charset="0"/>
              </a:rPr>
              <a:t>Sichere Sanitäranlagen und Hygiene-Schulungen</a:t>
            </a:r>
            <a:endParaRPr lang="de-DE" altLang="de-DE" sz="1600" dirty="0">
              <a:latin typeface="Arial" panose="020B0604020202020204" pitchFamily="34" charset="0"/>
              <a:cs typeface="Arial" panose="020B0604020202020204" pitchFamily="34" charset="0"/>
              <a:sym typeface="Arial" panose="020B0604020202020204" pitchFamily="34" charset="0"/>
            </a:endParaRPr>
          </a:p>
        </p:txBody>
      </p:sp>
      <p:sp>
        <p:nvSpPr>
          <p:cNvPr id="33" name="Rectangle: Rounded Corners 32">
            <a:extLst>
              <a:ext uri="{FF2B5EF4-FFF2-40B4-BE49-F238E27FC236}">
                <a16:creationId xmlns:a16="http://schemas.microsoft.com/office/drawing/2014/main" id="{146247CE-A5F5-D324-0DF5-318F6B54FF13}"/>
              </a:ext>
            </a:extLst>
          </p:cNvPr>
          <p:cNvSpPr/>
          <p:nvPr/>
        </p:nvSpPr>
        <p:spPr>
          <a:xfrm>
            <a:off x="8513762" y="4711652"/>
            <a:ext cx="3240088" cy="1229945"/>
          </a:xfrm>
          <a:prstGeom prst="roundRect">
            <a:avLst>
              <a:gd name="adj" fmla="val 5854"/>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auto">
              <a:spcBef>
                <a:spcPts val="0"/>
              </a:spcBef>
              <a:spcAft>
                <a:spcPts val="0"/>
              </a:spcAft>
            </a:pPr>
            <a:endParaRPr lang="en-US">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34" name="Parallelogram 33">
            <a:extLst>
              <a:ext uri="{FF2B5EF4-FFF2-40B4-BE49-F238E27FC236}">
                <a16:creationId xmlns:a16="http://schemas.microsoft.com/office/drawing/2014/main" id="{930837B1-817B-D08C-5BDA-DA2C1609A070}"/>
              </a:ext>
            </a:extLst>
          </p:cNvPr>
          <p:cNvSpPr/>
          <p:nvPr/>
        </p:nvSpPr>
        <p:spPr>
          <a:xfrm>
            <a:off x="8070850" y="5059814"/>
            <a:ext cx="906818" cy="533622"/>
          </a:xfrm>
          <a:prstGeom prst="parallelogram">
            <a:avLst>
              <a:gd name="adj" fmla="val 56566"/>
            </a:avLst>
          </a:prstGeom>
          <a:solidFill>
            <a:srgbClr val="EBB700"/>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38D"/>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35" name="TextBox 34">
            <a:extLst>
              <a:ext uri="{FF2B5EF4-FFF2-40B4-BE49-F238E27FC236}">
                <a16:creationId xmlns:a16="http://schemas.microsoft.com/office/drawing/2014/main" id="{2B58CCA8-FD5F-B918-1DE7-E34925F9EE85}"/>
              </a:ext>
            </a:extLst>
          </p:cNvPr>
          <p:cNvSpPr txBox="1"/>
          <p:nvPr/>
        </p:nvSpPr>
        <p:spPr>
          <a:xfrm>
            <a:off x="9034272" y="4788016"/>
            <a:ext cx="2648354" cy="1077218"/>
          </a:xfrm>
          <a:prstGeom prst="rect">
            <a:avLst/>
          </a:prstGeom>
          <a:noFill/>
        </p:spPr>
        <p:txBody>
          <a:bodyPr wrap="square" rtlCol="0" anchor="ctr">
            <a:spAutoFit/>
          </a:bodyPr>
          <a:lstStyle/>
          <a:p>
            <a:pPr marL="0" lvl="1" indent="-230400" defTabSz="422039" fontAlgn="b">
              <a:spcBef>
                <a:spcPct val="0"/>
              </a:spcBef>
              <a:spcAft>
                <a:spcPts val="600"/>
              </a:spcAft>
              <a:buClr>
                <a:schemeClr val="accent1"/>
              </a:buClr>
              <a:defRPr/>
            </a:pPr>
            <a:r>
              <a:rPr lang="de-DE" sz="1600" dirty="0">
                <a:latin typeface="Arial" panose="020B0604020202020204" pitchFamily="34" charset="0"/>
                <a:cs typeface="Arial" panose="020B0604020202020204" pitchFamily="34" charset="0"/>
                <a:sym typeface="Arial" panose="020B0604020202020204" pitchFamily="34" charset="0"/>
              </a:rPr>
              <a:t>Anpassung an den Klimawandel: Maßnahmen und bessere Koordinierung zur Katastrophenvorsorge</a:t>
            </a:r>
            <a:endParaRPr lang="de-DE" altLang="de-DE" sz="1600" dirty="0">
              <a:latin typeface="Arial" panose="020B0604020202020204" pitchFamily="34" charset="0"/>
              <a:cs typeface="Arial" panose="020B0604020202020204" pitchFamily="34" charset="0"/>
              <a:sym typeface="Arial" panose="020B0604020202020204" pitchFamily="34" charset="0"/>
            </a:endParaRPr>
          </a:p>
        </p:txBody>
      </p:sp>
      <p:pic>
        <p:nvPicPr>
          <p:cNvPr id="9" name="Graphic 8" descr="Thermometer with solid fill">
            <a:extLst>
              <a:ext uri="{FF2B5EF4-FFF2-40B4-BE49-F238E27FC236}">
                <a16:creationId xmlns:a16="http://schemas.microsoft.com/office/drawing/2014/main" id="{DE78AA5C-CCA1-43CC-5E53-4F63C59869F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70062" y="5172427"/>
            <a:ext cx="308395" cy="308395"/>
          </a:xfrm>
          <a:prstGeom prst="rect">
            <a:avLst/>
          </a:prstGeom>
        </p:spPr>
      </p:pic>
      <p:pic>
        <p:nvPicPr>
          <p:cNvPr id="20" name="Graphic 19" descr="Handwashing with solid fill">
            <a:extLst>
              <a:ext uri="{FF2B5EF4-FFF2-40B4-BE49-F238E27FC236}">
                <a16:creationId xmlns:a16="http://schemas.microsoft.com/office/drawing/2014/main" id="{0DD8B1D0-ED2D-1B11-F3B9-8C678CF558D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53711" y="5172428"/>
            <a:ext cx="308395" cy="308395"/>
          </a:xfrm>
          <a:prstGeom prst="rect">
            <a:avLst/>
          </a:prstGeom>
        </p:spPr>
      </p:pic>
      <p:pic>
        <p:nvPicPr>
          <p:cNvPr id="22" name="Graphic 21" descr="Water with solid fill">
            <a:extLst>
              <a:ext uri="{FF2B5EF4-FFF2-40B4-BE49-F238E27FC236}">
                <a16:creationId xmlns:a16="http://schemas.microsoft.com/office/drawing/2014/main" id="{D1BE199A-5F0B-EEBD-C4A0-64FF9F7901C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07199" y="5172428"/>
            <a:ext cx="308395" cy="308395"/>
          </a:xfrm>
          <a:prstGeom prst="rect">
            <a:avLst/>
          </a:prstGeom>
        </p:spPr>
      </p:pic>
      <p:sp>
        <p:nvSpPr>
          <p:cNvPr id="23" name="TextBox 22">
            <a:extLst>
              <a:ext uri="{FF2B5EF4-FFF2-40B4-BE49-F238E27FC236}">
                <a16:creationId xmlns:a16="http://schemas.microsoft.com/office/drawing/2014/main" id="{57548432-68B4-2BF8-D3E2-06120E20218A}"/>
              </a:ext>
            </a:extLst>
          </p:cNvPr>
          <p:cNvSpPr txBox="1"/>
          <p:nvPr/>
        </p:nvSpPr>
        <p:spPr>
          <a:xfrm>
            <a:off x="10018471" y="6052979"/>
            <a:ext cx="1878598" cy="246221"/>
          </a:xfrm>
          <a:prstGeom prst="rect">
            <a:avLst/>
          </a:prstGeom>
          <a:noFill/>
        </p:spPr>
        <p:txBody>
          <a:bodyPr wrap="square" rtlCol="0" anchor="ctr">
            <a:spAutoFit/>
          </a:bodyPr>
          <a:lstStyle/>
          <a:p>
            <a:pPr marL="0" lvl="1" algn="r" fontAlgn="b">
              <a:spcBef>
                <a:spcPct val="0"/>
              </a:spcBef>
              <a:spcAft>
                <a:spcPts val="600"/>
              </a:spcAft>
              <a:buClr>
                <a:srgbClr val="00338D"/>
              </a:buClr>
              <a:defRPr/>
            </a:pPr>
            <a:r>
              <a:rPr lang="de-DE" sz="1000" dirty="0">
                <a:solidFill>
                  <a:schemeClr val="bg1">
                    <a:lumMod val="75000"/>
                  </a:schemeClr>
                </a:solidFill>
                <a:latin typeface="Arial" panose="020B0604020202020204" pitchFamily="34" charset="0"/>
                <a:cs typeface="Arial" panose="020B0604020202020204" pitchFamily="34" charset="0"/>
                <a:sym typeface="Arial" panose="020B0604020202020204" pitchFamily="34" charset="0"/>
              </a:rPr>
              <a:t>Bilder: HFH Malawi, SDL</a:t>
            </a:r>
          </a:p>
        </p:txBody>
      </p:sp>
      <p:sp>
        <p:nvSpPr>
          <p:cNvPr id="5" name="Fußzeilenplatzhalter 4">
            <a:extLst>
              <a:ext uri="{FF2B5EF4-FFF2-40B4-BE49-F238E27FC236}">
                <a16:creationId xmlns:a16="http://schemas.microsoft.com/office/drawing/2014/main" id="{288470E7-EA0E-B719-5D37-D402D3150719}"/>
              </a:ext>
            </a:extLst>
          </p:cNvPr>
          <p:cNvSpPr>
            <a:spLocks noGrp="1"/>
          </p:cNvSpPr>
          <p:nvPr>
            <p:ph type="ftr" sz="quarter" idx="3"/>
          </p:nvPr>
        </p:nvSpPr>
        <p:spPr/>
        <p:txBody>
          <a:bodyPr/>
          <a:lstStyle/>
          <a:p>
            <a:r>
              <a:rPr lang="de-DE"/>
              <a:t>Lions für WaSH - Wasser ist Leben</a:t>
            </a:r>
            <a:endParaRPr lang="de-DE" dirty="0"/>
          </a:p>
        </p:txBody>
      </p:sp>
    </p:spTree>
    <p:extLst>
      <p:ext uri="{BB962C8B-B14F-4D97-AF65-F5344CB8AC3E}">
        <p14:creationId xmlns:p14="http://schemas.microsoft.com/office/powerpoint/2010/main" val="10660090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8D9521-60C2-7C62-37EB-470E2629AF87}"/>
              </a:ext>
            </a:extLst>
          </p:cNvPr>
          <p:cNvSpPr>
            <a:spLocks noGrp="1"/>
          </p:cNvSpPr>
          <p:nvPr>
            <p:ph type="body" sz="quarter" idx="10"/>
          </p:nvPr>
        </p:nvSpPr>
        <p:spPr/>
        <p:txBody>
          <a:bodyPr/>
          <a:lstStyle/>
          <a:p>
            <a:r>
              <a:rPr lang="da-DK" dirty="0"/>
              <a:t>Lions WaSH-Projekt 2025/26 (in Planung)</a:t>
            </a:r>
            <a:endParaRPr lang="de-DE" dirty="0"/>
          </a:p>
        </p:txBody>
      </p:sp>
      <p:sp>
        <p:nvSpPr>
          <p:cNvPr id="5" name="Text Placeholder 4">
            <a:extLst>
              <a:ext uri="{FF2B5EF4-FFF2-40B4-BE49-F238E27FC236}">
                <a16:creationId xmlns:a16="http://schemas.microsoft.com/office/drawing/2014/main" id="{E2516E4A-4375-3CDA-DDF2-68B314DA0F3E}"/>
              </a:ext>
            </a:extLst>
          </p:cNvPr>
          <p:cNvSpPr>
            <a:spLocks noGrp="1"/>
          </p:cNvSpPr>
          <p:nvPr>
            <p:ph type="body" sz="quarter" idx="13"/>
          </p:nvPr>
        </p:nvSpPr>
        <p:spPr/>
        <p:txBody>
          <a:bodyPr/>
          <a:lstStyle/>
          <a:p>
            <a:pPr lvl="1"/>
            <a:r>
              <a:rPr lang="da-DK" dirty="0"/>
              <a:t>Voraussichtlich Sambia, Kitwe</a:t>
            </a:r>
            <a:endParaRPr lang="de-DE" dirty="0"/>
          </a:p>
        </p:txBody>
      </p:sp>
      <p:sp>
        <p:nvSpPr>
          <p:cNvPr id="6" name="Text Placeholder 5">
            <a:extLst>
              <a:ext uri="{FF2B5EF4-FFF2-40B4-BE49-F238E27FC236}">
                <a16:creationId xmlns:a16="http://schemas.microsoft.com/office/drawing/2014/main" id="{1A3C0938-9D01-6A9D-D1D2-04968377D6B1}"/>
              </a:ext>
            </a:extLst>
          </p:cNvPr>
          <p:cNvSpPr>
            <a:spLocks noGrp="1"/>
          </p:cNvSpPr>
          <p:nvPr>
            <p:ph type="body" sz="quarter" idx="14"/>
          </p:nvPr>
        </p:nvSpPr>
        <p:spPr>
          <a:xfrm>
            <a:off x="6631152" y="3388697"/>
            <a:ext cx="4139950" cy="928331"/>
          </a:xfrm>
        </p:spPr>
        <p:txBody>
          <a:bodyPr/>
          <a:lstStyle/>
          <a:p>
            <a:pPr lvl="1">
              <a:lnSpc>
                <a:spcPct val="100000"/>
              </a:lnSpc>
              <a:spcBef>
                <a:spcPts val="600"/>
              </a:spcBef>
            </a:pPr>
            <a:r>
              <a:rPr lang="de-DE" dirty="0"/>
              <a:t>Schwerpunkte: </a:t>
            </a:r>
          </a:p>
          <a:p>
            <a:pPr marL="342900" lvl="1" indent="-342900">
              <a:lnSpc>
                <a:spcPct val="100000"/>
              </a:lnSpc>
              <a:spcBef>
                <a:spcPts val="600"/>
              </a:spcBef>
              <a:buFontTx/>
              <a:buChar char="-"/>
            </a:pPr>
            <a:r>
              <a:rPr lang="de-DE" dirty="0"/>
              <a:t>Wasserversorgung</a:t>
            </a:r>
          </a:p>
          <a:p>
            <a:pPr marL="342900" lvl="1" indent="-342900">
              <a:lnSpc>
                <a:spcPct val="100000"/>
              </a:lnSpc>
              <a:spcBef>
                <a:spcPts val="600"/>
              </a:spcBef>
              <a:buFontTx/>
              <a:buChar char="-"/>
            </a:pPr>
            <a:r>
              <a:rPr lang="de-DE" dirty="0"/>
              <a:t>sichere Sanitäranlagen</a:t>
            </a:r>
          </a:p>
          <a:p>
            <a:pPr marL="342900" lvl="1" indent="-342900">
              <a:lnSpc>
                <a:spcPct val="100000"/>
              </a:lnSpc>
              <a:spcBef>
                <a:spcPts val="600"/>
              </a:spcBef>
              <a:buFontTx/>
              <a:buChar char="-"/>
            </a:pPr>
            <a:r>
              <a:rPr lang="de-DE" dirty="0"/>
              <a:t>Hygiene</a:t>
            </a:r>
          </a:p>
        </p:txBody>
      </p:sp>
      <p:sp>
        <p:nvSpPr>
          <p:cNvPr id="7" name="Text Placeholder 6">
            <a:extLst>
              <a:ext uri="{FF2B5EF4-FFF2-40B4-BE49-F238E27FC236}">
                <a16:creationId xmlns:a16="http://schemas.microsoft.com/office/drawing/2014/main" id="{3FEB6F73-76C4-3AFC-E035-643CCFC576E3}"/>
              </a:ext>
            </a:extLst>
          </p:cNvPr>
          <p:cNvSpPr>
            <a:spLocks noGrp="1"/>
          </p:cNvSpPr>
          <p:nvPr>
            <p:ph type="body" sz="quarter" idx="15"/>
          </p:nvPr>
        </p:nvSpPr>
        <p:spPr>
          <a:xfrm>
            <a:off x="5604809" y="4824243"/>
            <a:ext cx="4350953" cy="928331"/>
          </a:xfrm>
        </p:spPr>
        <p:txBody>
          <a:bodyPr/>
          <a:lstStyle/>
          <a:p>
            <a:pPr lvl="1">
              <a:lnSpc>
                <a:spcPct val="100000"/>
              </a:lnSpc>
              <a:spcBef>
                <a:spcPts val="600"/>
              </a:spcBef>
            </a:pPr>
            <a:r>
              <a:rPr lang="de-DE" dirty="0"/>
              <a:t>Projektvolumen gesamt: 1,01 Mio. €</a:t>
            </a:r>
          </a:p>
          <a:p>
            <a:pPr lvl="1">
              <a:lnSpc>
                <a:spcPct val="100000"/>
              </a:lnSpc>
              <a:spcBef>
                <a:spcPts val="600"/>
              </a:spcBef>
            </a:pPr>
            <a:r>
              <a:rPr lang="de-DE" dirty="0"/>
              <a:t>Lions-Anteil: 245.000 €</a:t>
            </a:r>
          </a:p>
        </p:txBody>
      </p:sp>
      <p:pic>
        <p:nvPicPr>
          <p:cNvPr id="14" name="Bildplatzhalter 13" descr="Markierung mit einfarbiger Füllung">
            <a:extLst>
              <a:ext uri="{FF2B5EF4-FFF2-40B4-BE49-F238E27FC236}">
                <a16:creationId xmlns:a16="http://schemas.microsoft.com/office/drawing/2014/main" id="{49882774-88C9-8D71-265C-49D71F798210}"/>
              </a:ext>
            </a:extLst>
          </p:cNvPr>
          <p:cNvPicPr>
            <a:picLocks noGrp="1" noChangeAspect="1"/>
          </p:cNvPicPr>
          <p:nvPr>
            <p:ph type="pic" sz="quarter" idx="16"/>
          </p:nvPr>
        </p:nvPicPr>
        <p:blipFill>
          <a:blip r:embed="rId2">
            <a:extLst>
              <a:ext uri="{96DAC541-7B7A-43D3-8B79-37D633B846F1}">
                <asvg:svgBlip xmlns:asvg="http://schemas.microsoft.com/office/drawing/2016/SVG/main" r:embed="rId3"/>
              </a:ext>
            </a:extLst>
          </a:blip>
          <a:srcRect l="-39330" t="982" r="-39091" b="-6080"/>
          <a:stretch/>
        </p:blipFill>
        <p:spPr>
          <a:xfrm>
            <a:off x="6152341" y="2110546"/>
            <a:ext cx="1042632" cy="613541"/>
          </a:xfrm>
        </p:spPr>
      </p:pic>
      <p:pic>
        <p:nvPicPr>
          <p:cNvPr id="16" name="Bildplatzhalter 15" descr="Tropfender Wasserhahn mit einfarbiger Füllung">
            <a:extLst>
              <a:ext uri="{FF2B5EF4-FFF2-40B4-BE49-F238E27FC236}">
                <a16:creationId xmlns:a16="http://schemas.microsoft.com/office/drawing/2014/main" id="{B3EE6201-831C-FB05-6DC9-F50C5F251F52}"/>
              </a:ext>
            </a:extLst>
          </p:cNvPr>
          <p:cNvPicPr>
            <a:picLocks noGrp="1" noChangeAspect="1"/>
          </p:cNvPicPr>
          <p:nvPr>
            <p:ph type="pic" sz="quarter" idx="17"/>
          </p:nvPr>
        </p:nvPicPr>
        <p:blipFill>
          <a:blip r:embed="rId4">
            <a:extLst>
              <a:ext uri="{96DAC541-7B7A-43D3-8B79-37D633B846F1}">
                <asvg:svgBlip xmlns:asvg="http://schemas.microsoft.com/office/drawing/2016/SVG/main" r:embed="rId5"/>
              </a:ext>
            </a:extLst>
          </a:blip>
          <a:srcRect l="-28164" t="-3362" r="-42043" b="3362"/>
          <a:stretch/>
        </p:blipFill>
        <p:spPr>
          <a:xfrm>
            <a:off x="5339541" y="3546092"/>
            <a:ext cx="1042632" cy="613541"/>
          </a:xfrm>
        </p:spPr>
      </p:pic>
      <p:pic>
        <p:nvPicPr>
          <p:cNvPr id="23" name="Bildplatzhalter 22" descr="Münzen mit einfarbiger Füllung">
            <a:extLst>
              <a:ext uri="{FF2B5EF4-FFF2-40B4-BE49-F238E27FC236}">
                <a16:creationId xmlns:a16="http://schemas.microsoft.com/office/drawing/2014/main" id="{96AAC500-8C49-24A2-78D8-52648EAA52F9}"/>
              </a:ext>
            </a:extLst>
          </p:cNvPr>
          <p:cNvPicPr>
            <a:picLocks noGrp="1" noChangeAspect="1"/>
          </p:cNvPicPr>
          <p:nvPr>
            <p:ph type="pic" sz="quarter" idx="18"/>
          </p:nvPr>
        </p:nvPicPr>
        <p:blipFill>
          <a:blip r:embed="rId6">
            <a:extLst>
              <a:ext uri="{96DAC541-7B7A-43D3-8B79-37D633B846F1}">
                <asvg:svgBlip xmlns:asvg="http://schemas.microsoft.com/office/drawing/2016/SVG/main" r:embed="rId7"/>
              </a:ext>
            </a:extLst>
          </a:blip>
          <a:srcRect l="-46140" t="-11657" r="-63210" b="-11657"/>
          <a:stretch/>
        </p:blipFill>
        <p:spPr>
          <a:xfrm>
            <a:off x="4524201" y="4981638"/>
            <a:ext cx="1042632" cy="613541"/>
          </a:xfrm>
        </p:spPr>
      </p:pic>
      <p:sp>
        <p:nvSpPr>
          <p:cNvPr id="11" name="Footer Placeholder 10">
            <a:extLst>
              <a:ext uri="{FF2B5EF4-FFF2-40B4-BE49-F238E27FC236}">
                <a16:creationId xmlns:a16="http://schemas.microsoft.com/office/drawing/2014/main" id="{86C1990C-763F-4BBE-3C60-B9B9BA992122}"/>
              </a:ext>
            </a:extLst>
          </p:cNvPr>
          <p:cNvSpPr>
            <a:spLocks noGrp="1"/>
          </p:cNvSpPr>
          <p:nvPr>
            <p:ph type="ftr" sz="quarter" idx="3"/>
          </p:nvPr>
        </p:nvSpPr>
        <p:spPr/>
        <p:txBody>
          <a:bodyPr/>
          <a:lstStyle/>
          <a:p>
            <a:r>
              <a:rPr lang="de-DE" dirty="0"/>
              <a:t>Titel des Vortrags, Name des Referenten, Veranstaltung, Datum</a:t>
            </a:r>
            <a:endParaRPr lang="en-GB" dirty="0"/>
          </a:p>
        </p:txBody>
      </p:sp>
      <p:pic>
        <p:nvPicPr>
          <p:cNvPr id="8" name="Bildplatzhalter 7" descr="Ein Bild, das Person, Menschliches Gesicht, Stecker Stöpsel Wasserhahn, draußen enthält.&#10;&#10;KI-generierte Inhalte können fehlerhaft sein.">
            <a:extLst>
              <a:ext uri="{FF2B5EF4-FFF2-40B4-BE49-F238E27FC236}">
                <a16:creationId xmlns:a16="http://schemas.microsoft.com/office/drawing/2014/main" id="{89A434C1-396E-2DD8-9F62-D2FB5522482C}"/>
              </a:ext>
            </a:extLst>
          </p:cNvPr>
          <p:cNvPicPr>
            <a:picLocks noGrp="1" noChangeAspect="1"/>
          </p:cNvPicPr>
          <p:nvPr>
            <p:ph type="pic" sz="quarter" idx="20"/>
          </p:nvPr>
        </p:nvPicPr>
        <p:blipFill>
          <a:blip r:embed="rId8" cstate="print">
            <a:extLst>
              <a:ext uri="{28A0092B-C50C-407E-A947-70E740481C1C}">
                <a14:useLocalDpi xmlns:a14="http://schemas.microsoft.com/office/drawing/2010/main" val="0"/>
              </a:ext>
            </a:extLst>
          </a:blip>
          <a:srcRect l="2052" r="2052"/>
          <a:stretch>
            <a:fillRect/>
          </a:stretch>
        </p:blipFill>
        <p:spPr/>
      </p:pic>
      <p:pic>
        <p:nvPicPr>
          <p:cNvPr id="17" name="Grafik 16">
            <a:extLst>
              <a:ext uri="{FF2B5EF4-FFF2-40B4-BE49-F238E27FC236}">
                <a16:creationId xmlns:a16="http://schemas.microsoft.com/office/drawing/2014/main" id="{344DD170-9E30-5FA5-D273-4AB910240E2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006816" y="183045"/>
            <a:ext cx="880981" cy="1192281"/>
          </a:xfrm>
          <a:prstGeom prst="rect">
            <a:avLst/>
          </a:prstGeom>
        </p:spPr>
      </p:pic>
      <p:pic>
        <p:nvPicPr>
          <p:cNvPr id="21" name="Grafik 20" descr="Ein Bild, das Text, Schrift, Grafiken, Logo enthält.&#10;&#10;Automatisch generierte Beschreibung">
            <a:extLst>
              <a:ext uri="{FF2B5EF4-FFF2-40B4-BE49-F238E27FC236}">
                <a16:creationId xmlns:a16="http://schemas.microsoft.com/office/drawing/2014/main" id="{696455B0-7DF9-5BF1-A812-59DD1B1C07FB}"/>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8227546" y="364800"/>
            <a:ext cx="2379492" cy="875293"/>
          </a:xfrm>
          <a:prstGeom prst="rect">
            <a:avLst/>
          </a:prstGeom>
        </p:spPr>
      </p:pic>
    </p:spTree>
    <p:extLst>
      <p:ext uri="{BB962C8B-B14F-4D97-AF65-F5344CB8AC3E}">
        <p14:creationId xmlns:p14="http://schemas.microsoft.com/office/powerpoint/2010/main" val="21381214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4B5F8751-70AF-22DA-8F44-05A5EE334A9D}"/>
              </a:ext>
            </a:extLst>
          </p:cNvPr>
          <p:cNvSpPr>
            <a:spLocks noGrp="1"/>
          </p:cNvSpPr>
          <p:nvPr>
            <p:ph type="body" sz="quarter" idx="17"/>
          </p:nvPr>
        </p:nvSpPr>
        <p:spPr/>
        <p:txBody>
          <a:bodyPr/>
          <a:lstStyle/>
          <a:p>
            <a:r>
              <a:rPr lang="de-DE" dirty="0"/>
              <a:t>Lions für WaSH</a:t>
            </a:r>
          </a:p>
        </p:txBody>
      </p:sp>
    </p:spTree>
    <p:extLst>
      <p:ext uri="{BB962C8B-B14F-4D97-AF65-F5344CB8AC3E}">
        <p14:creationId xmlns:p14="http://schemas.microsoft.com/office/powerpoint/2010/main" val="25505896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768B46A7-BBA0-4D99-BD74-23F7BFC60D34}"/>
              </a:ext>
            </a:extLst>
          </p:cNvPr>
          <p:cNvSpPr>
            <a:spLocks noGrp="1"/>
          </p:cNvSpPr>
          <p:nvPr>
            <p:ph type="ftr" sz="quarter" idx="3"/>
          </p:nvPr>
        </p:nvSpPr>
        <p:spPr/>
        <p:txBody>
          <a:bodyPr/>
          <a:lstStyle/>
          <a:p>
            <a:r>
              <a:rPr lang="de-DE" dirty="0"/>
              <a:t>Lions für </a:t>
            </a:r>
            <a:r>
              <a:rPr lang="de-DE" dirty="0" err="1"/>
              <a:t>WaSH</a:t>
            </a:r>
            <a:r>
              <a:rPr lang="de-DE" dirty="0"/>
              <a:t> - Wasser ist Leben</a:t>
            </a:r>
          </a:p>
        </p:txBody>
      </p:sp>
      <p:pic>
        <p:nvPicPr>
          <p:cNvPr id="19" name="Bildplatzhalter 18" descr="Ein Bild, das Kleidung, Person, draußen, Himmel enthält.&#10;&#10;Automatisch generierte Beschreibung">
            <a:extLst>
              <a:ext uri="{FF2B5EF4-FFF2-40B4-BE49-F238E27FC236}">
                <a16:creationId xmlns:a16="http://schemas.microsoft.com/office/drawing/2014/main" id="{B66A72F4-DBF0-C24F-386B-7C91FBED7FEE}"/>
              </a:ext>
            </a:extLst>
          </p:cNvPr>
          <p:cNvPicPr>
            <a:picLocks noGrp="1" noChangeAspect="1"/>
          </p:cNvPicPr>
          <p:nvPr>
            <p:ph type="pic" sz="quarter" idx="4294967295"/>
          </p:nvPr>
        </p:nvPicPr>
        <p:blipFill>
          <a:blip r:embed="rId3" cstate="screen">
            <a:extLst>
              <a:ext uri="{28A0092B-C50C-407E-A947-70E740481C1C}">
                <a14:useLocalDpi xmlns:a14="http://schemas.microsoft.com/office/drawing/2010/main"/>
              </a:ext>
            </a:extLst>
          </a:blip>
          <a:srcRect/>
          <a:stretch>
            <a:fillRect/>
          </a:stretch>
        </p:blipFill>
        <p:spPr>
          <a:xfrm>
            <a:off x="428587" y="1202292"/>
            <a:ext cx="3741738" cy="4648200"/>
          </a:xfrm>
          <a:prstGeom prst="roundRect">
            <a:avLst>
              <a:gd name="adj" fmla="val 3172"/>
            </a:avLst>
          </a:prstGeom>
          <a:solidFill>
            <a:schemeClr val="bg2"/>
          </a:solidFill>
          <a:ln w="165100" cap="flat">
            <a:solidFill>
              <a:schemeClr val="bg1"/>
            </a:solidFill>
            <a:prstDash val="solid"/>
            <a:miter/>
          </a:ln>
          <a:effectLst>
            <a:outerShdw blurRad="444500" dist="190500" dir="5400000" algn="t" rotWithShape="0">
              <a:prstClr val="black">
                <a:alpha val="10000"/>
              </a:prstClr>
            </a:outerShdw>
          </a:effectLst>
        </p:spPr>
      </p:pic>
      <p:sp>
        <p:nvSpPr>
          <p:cNvPr id="8" name="Textfeld 7">
            <a:extLst>
              <a:ext uri="{FF2B5EF4-FFF2-40B4-BE49-F238E27FC236}">
                <a16:creationId xmlns:a16="http://schemas.microsoft.com/office/drawing/2014/main" id="{68B44F8A-9080-420E-B5B8-A06529E28F6E}"/>
              </a:ext>
            </a:extLst>
          </p:cNvPr>
          <p:cNvSpPr txBox="1"/>
          <p:nvPr/>
        </p:nvSpPr>
        <p:spPr>
          <a:xfrm>
            <a:off x="2872866" y="5806230"/>
            <a:ext cx="1507242" cy="261610"/>
          </a:xfrm>
          <a:prstGeom prst="rect">
            <a:avLst/>
          </a:prstGeom>
          <a:noFill/>
        </p:spPr>
        <p:txBody>
          <a:bodyPr wrap="square" rtlCol="0">
            <a:spAutoFit/>
          </a:bodyPr>
          <a:lstStyle/>
          <a:p>
            <a:r>
              <a:rPr lang="de-DE" sz="1050" dirty="0">
                <a:solidFill>
                  <a:schemeClr val="bg1">
                    <a:lumMod val="65000"/>
                  </a:schemeClr>
                </a:solidFill>
              </a:rPr>
              <a:t>Bild: HFH Sambia</a:t>
            </a:r>
          </a:p>
        </p:txBody>
      </p:sp>
      <p:pic>
        <p:nvPicPr>
          <p:cNvPr id="9" name="Grafik 8">
            <a:extLst>
              <a:ext uri="{FF2B5EF4-FFF2-40B4-BE49-F238E27FC236}">
                <a16:creationId xmlns:a16="http://schemas.microsoft.com/office/drawing/2014/main" id="{BF6E77D2-C8B2-4DE7-9BD0-F66774DDA61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324210" y="194278"/>
            <a:ext cx="1394934" cy="1310159"/>
          </a:xfrm>
          <a:prstGeom prst="rect">
            <a:avLst/>
          </a:prstGeom>
        </p:spPr>
      </p:pic>
      <p:sp>
        <p:nvSpPr>
          <p:cNvPr id="2" name="Textfeld 1">
            <a:extLst>
              <a:ext uri="{FF2B5EF4-FFF2-40B4-BE49-F238E27FC236}">
                <a16:creationId xmlns:a16="http://schemas.microsoft.com/office/drawing/2014/main" id="{B411409F-7E28-9B31-016D-CFDBD2E09A41}"/>
              </a:ext>
            </a:extLst>
          </p:cNvPr>
          <p:cNvSpPr txBox="1"/>
          <p:nvPr/>
        </p:nvSpPr>
        <p:spPr>
          <a:xfrm>
            <a:off x="4835526" y="4508838"/>
            <a:ext cx="1904846" cy="590931"/>
          </a:xfrm>
          <a:prstGeom prst="rect">
            <a:avLst/>
          </a:prstGeom>
          <a:noFill/>
        </p:spPr>
        <p:txBody>
          <a:bodyPr wrap="square" rtlCol="0">
            <a:spAutoFit/>
          </a:bodyPr>
          <a:lstStyle/>
          <a:p>
            <a:pPr algn="ctr">
              <a:lnSpc>
                <a:spcPct val="90000"/>
              </a:lnSpc>
              <a:spcBef>
                <a:spcPct val="0"/>
              </a:spcBef>
            </a:pPr>
            <a:r>
              <a:rPr lang="de-DE" dirty="0">
                <a:solidFill>
                  <a:schemeClr val="accent3">
                    <a:lumMod val="75000"/>
                  </a:schemeClr>
                </a:solidFill>
                <a:latin typeface="+mj-lt"/>
                <a:ea typeface="+mj-ea"/>
                <a:cs typeface="+mj-cs"/>
              </a:rPr>
              <a:t>Memorandum </a:t>
            </a:r>
            <a:r>
              <a:rPr lang="de-DE" dirty="0" err="1">
                <a:solidFill>
                  <a:schemeClr val="accent3">
                    <a:lumMod val="75000"/>
                  </a:schemeClr>
                </a:solidFill>
                <a:latin typeface="+mj-lt"/>
                <a:ea typeface="+mj-ea"/>
                <a:cs typeface="+mj-cs"/>
              </a:rPr>
              <a:t>of</a:t>
            </a:r>
            <a:r>
              <a:rPr lang="de-DE" dirty="0">
                <a:solidFill>
                  <a:schemeClr val="accent3">
                    <a:lumMod val="75000"/>
                  </a:schemeClr>
                </a:solidFill>
                <a:latin typeface="+mj-lt"/>
                <a:ea typeface="+mj-ea"/>
                <a:cs typeface="+mj-cs"/>
              </a:rPr>
              <a:t> Understanding</a:t>
            </a:r>
          </a:p>
        </p:txBody>
      </p:sp>
      <p:sp>
        <p:nvSpPr>
          <p:cNvPr id="7" name="Textfeld 6">
            <a:extLst>
              <a:ext uri="{FF2B5EF4-FFF2-40B4-BE49-F238E27FC236}">
                <a16:creationId xmlns:a16="http://schemas.microsoft.com/office/drawing/2014/main" id="{BDD48032-D7C8-10F5-F21C-AA538B4FB98B}"/>
              </a:ext>
            </a:extLst>
          </p:cNvPr>
          <p:cNvSpPr txBox="1"/>
          <p:nvPr/>
        </p:nvSpPr>
        <p:spPr>
          <a:xfrm>
            <a:off x="8468379" y="4579331"/>
            <a:ext cx="2524259" cy="590931"/>
          </a:xfrm>
          <a:prstGeom prst="rect">
            <a:avLst/>
          </a:prstGeom>
          <a:noFill/>
        </p:spPr>
        <p:txBody>
          <a:bodyPr wrap="square" rtlCol="0">
            <a:spAutoFit/>
          </a:bodyPr>
          <a:lstStyle/>
          <a:p>
            <a:pPr algn="ctr">
              <a:lnSpc>
                <a:spcPct val="90000"/>
              </a:lnSpc>
              <a:spcBef>
                <a:spcPct val="0"/>
              </a:spcBef>
            </a:pPr>
            <a:r>
              <a:rPr lang="de-DE" dirty="0">
                <a:solidFill>
                  <a:schemeClr val="accent3">
                    <a:lumMod val="75000"/>
                  </a:schemeClr>
                </a:solidFill>
                <a:latin typeface="+mj-lt"/>
                <a:ea typeface="+mj-ea"/>
                <a:cs typeface="+mj-cs"/>
              </a:rPr>
              <a:t>Förderung durch das BMZ</a:t>
            </a:r>
          </a:p>
        </p:txBody>
      </p:sp>
      <p:pic>
        <p:nvPicPr>
          <p:cNvPr id="11" name="Grafik 10" descr="Ein Bild, das Text, Logo, Schrift, Emblem enthält.&#10;&#10;Automatisch generierte Beschreibung">
            <a:extLst>
              <a:ext uri="{FF2B5EF4-FFF2-40B4-BE49-F238E27FC236}">
                <a16:creationId xmlns:a16="http://schemas.microsoft.com/office/drawing/2014/main" id="{58ADEA85-DCCD-CE91-829D-01360C060E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34328" y="5122015"/>
            <a:ext cx="1507242" cy="1148305"/>
          </a:xfrm>
          <a:prstGeom prst="rect">
            <a:avLst/>
          </a:prstGeom>
        </p:spPr>
      </p:pic>
      <p:pic>
        <p:nvPicPr>
          <p:cNvPr id="12" name="Grafik 11" descr="Ein Bild, das Text, Schrift, Screenshot enthält.&#10;&#10;Automatisch generierte Beschreibung">
            <a:extLst>
              <a:ext uri="{FF2B5EF4-FFF2-40B4-BE49-F238E27FC236}">
                <a16:creationId xmlns:a16="http://schemas.microsoft.com/office/drawing/2014/main" id="{428F2E6D-312E-B002-EF49-1E2971B103C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68379" y="5356615"/>
            <a:ext cx="2573282" cy="856042"/>
          </a:xfrm>
          <a:prstGeom prst="rect">
            <a:avLst/>
          </a:prstGeom>
        </p:spPr>
      </p:pic>
      <p:sp>
        <p:nvSpPr>
          <p:cNvPr id="14" name="Textplatzhalter 13">
            <a:extLst>
              <a:ext uri="{FF2B5EF4-FFF2-40B4-BE49-F238E27FC236}">
                <a16:creationId xmlns:a16="http://schemas.microsoft.com/office/drawing/2014/main" id="{BF1A6F68-C1C3-7697-D51E-74654B4CBC91}"/>
              </a:ext>
            </a:extLst>
          </p:cNvPr>
          <p:cNvSpPr>
            <a:spLocks noGrp="1"/>
          </p:cNvSpPr>
          <p:nvPr>
            <p:ph type="body" sz="quarter" idx="10"/>
          </p:nvPr>
        </p:nvSpPr>
        <p:spPr/>
        <p:txBody>
          <a:bodyPr/>
          <a:lstStyle/>
          <a:p>
            <a:r>
              <a:rPr lang="de-DE" dirty="0"/>
              <a:t>Gemeinsam für WaSH</a:t>
            </a:r>
          </a:p>
        </p:txBody>
      </p:sp>
      <p:grpSp>
        <p:nvGrpSpPr>
          <p:cNvPr id="15" name="Group 10">
            <a:extLst>
              <a:ext uri="{FF2B5EF4-FFF2-40B4-BE49-F238E27FC236}">
                <a16:creationId xmlns:a16="http://schemas.microsoft.com/office/drawing/2014/main" id="{B4705F62-9F7A-6C6F-C261-BDFD999D83A4}"/>
              </a:ext>
            </a:extLst>
          </p:cNvPr>
          <p:cNvGrpSpPr/>
          <p:nvPr/>
        </p:nvGrpSpPr>
        <p:grpSpPr>
          <a:xfrm>
            <a:off x="4476307" y="1590980"/>
            <a:ext cx="7181850" cy="2731505"/>
            <a:chOff x="431799" y="1489075"/>
            <a:chExt cx="5545636" cy="2917858"/>
          </a:xfrm>
        </p:grpSpPr>
        <p:sp>
          <p:nvSpPr>
            <p:cNvPr id="16" name="Rectangle: Rounded Corners 11">
              <a:extLst>
                <a:ext uri="{FF2B5EF4-FFF2-40B4-BE49-F238E27FC236}">
                  <a16:creationId xmlns:a16="http://schemas.microsoft.com/office/drawing/2014/main" id="{ABC9D3AF-EE32-D3F6-169C-0E5CF4D504B8}"/>
                </a:ext>
              </a:extLst>
            </p:cNvPr>
            <p:cNvSpPr/>
            <p:nvPr/>
          </p:nvSpPr>
          <p:spPr>
            <a:xfrm>
              <a:off x="431799" y="1489075"/>
              <a:ext cx="5545636" cy="2917858"/>
            </a:xfrm>
            <a:prstGeom prst="roundRect">
              <a:avLst>
                <a:gd name="adj" fmla="val 14333"/>
              </a:avLst>
            </a:prstGeom>
            <a:solidFill>
              <a:srgbClr val="EBB700"/>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17" name="TextBox 12">
              <a:extLst>
                <a:ext uri="{FF2B5EF4-FFF2-40B4-BE49-F238E27FC236}">
                  <a16:creationId xmlns:a16="http://schemas.microsoft.com/office/drawing/2014/main" id="{B3F238F0-92CF-726A-036C-FD141B7BB56E}"/>
                </a:ext>
              </a:extLst>
            </p:cNvPr>
            <p:cNvSpPr txBox="1"/>
            <p:nvPr/>
          </p:nvSpPr>
          <p:spPr>
            <a:xfrm>
              <a:off x="709178" y="1768612"/>
              <a:ext cx="5092080" cy="2400052"/>
            </a:xfrm>
            <a:prstGeom prst="rect">
              <a:avLst/>
            </a:prstGeom>
            <a:noFill/>
          </p:spPr>
          <p:txBody>
            <a:bodyPr wrap="square" rtlCol="0" anchor="ctr">
              <a:spAutoFit/>
            </a:bodyPr>
            <a:lstStyle/>
            <a:p>
              <a:pPr marL="0" indent="0">
                <a:buClr>
                  <a:srgbClr val="EBB700"/>
                </a:buClr>
                <a:buNone/>
              </a:pPr>
              <a:r>
                <a:rPr lang="de-DE" sz="2000" b="1" dirty="0">
                  <a:solidFill>
                    <a:schemeClr val="bg1"/>
                  </a:solidFill>
                </a:rPr>
                <a:t>Beschluss MDV Mannheim (2021):</a:t>
              </a:r>
            </a:p>
            <a:p>
              <a:pPr>
                <a:lnSpc>
                  <a:spcPct val="100000"/>
                </a:lnSpc>
                <a:buNone/>
              </a:pPr>
              <a:r>
                <a:rPr lang="de-DE" sz="2000" dirty="0">
                  <a:solidFill>
                    <a:schemeClr val="bg1"/>
                  </a:solidFill>
                  <a:ea typeface="+mj-lt"/>
                  <a:cs typeface="+mj-lt"/>
                </a:rPr>
                <a:t>"Umwelt und Nachhaltigkeit: Seit 1972 setzen sich die Lions ein für die Erhaltung der Umwelt, das Wohlergehen und die Entwicklung der Menschheit. Der Multi-Distrikt fördert die CO</a:t>
              </a:r>
              <a:r>
                <a:rPr lang="de-DE" sz="2000" baseline="-25000" dirty="0">
                  <a:solidFill>
                    <a:schemeClr val="bg1"/>
                  </a:solidFill>
                  <a:ea typeface="+mj-lt"/>
                  <a:cs typeface="+mj-lt"/>
                </a:rPr>
                <a:t>2</a:t>
              </a:r>
              <a:r>
                <a:rPr lang="de-DE" sz="2000" dirty="0">
                  <a:solidFill>
                    <a:schemeClr val="bg1"/>
                  </a:solidFill>
                  <a:ea typeface="+mj-lt"/>
                  <a:cs typeface="+mj-lt"/>
                </a:rPr>
                <a:t>-Kompensation und </a:t>
              </a:r>
              <a:r>
                <a:rPr lang="de-DE" sz="2000" b="1" dirty="0">
                  <a:solidFill>
                    <a:schemeClr val="bg1"/>
                  </a:solidFill>
                  <a:ea typeface="+mj-lt"/>
                  <a:cs typeface="+mj-lt"/>
                </a:rPr>
                <a:t>WaSH (Wasser, Sanitärversorgung und Hygiene)-Projekte zur Verbesserung der Lebenssituation</a:t>
              </a:r>
              <a:r>
                <a:rPr lang="de-DE" sz="2000" dirty="0">
                  <a:solidFill>
                    <a:schemeClr val="bg1"/>
                  </a:solidFill>
                  <a:ea typeface="+mj-lt"/>
                  <a:cs typeface="+mj-lt"/>
                </a:rPr>
                <a:t>. […]</a:t>
              </a:r>
              <a:endParaRPr lang="de-DE" sz="2000" b="1" kern="0" dirty="0">
                <a:solidFill>
                  <a:srgbClr val="00338D"/>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23114249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0">
            <a:extLst>
              <a:ext uri="{FF2B5EF4-FFF2-40B4-BE49-F238E27FC236}">
                <a16:creationId xmlns:a16="http://schemas.microsoft.com/office/drawing/2014/main" id="{DEAD0997-40AA-2444-FC64-D7202FC9C62E}"/>
              </a:ext>
            </a:extLst>
          </p:cNvPr>
          <p:cNvSpPr/>
          <p:nvPr/>
        </p:nvSpPr>
        <p:spPr>
          <a:xfrm>
            <a:off x="7152799" y="1210066"/>
            <a:ext cx="4772145" cy="4976502"/>
          </a:xfrm>
          <a:prstGeom prst="roundRect">
            <a:avLst>
              <a:gd name="adj" fmla="val 179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black"/>
              </a:solidFill>
              <a:latin typeface="Arial"/>
            </a:endParaRPr>
          </a:p>
        </p:txBody>
      </p:sp>
      <p:sp>
        <p:nvSpPr>
          <p:cNvPr id="8" name="Fußzeilenplatzhalter 4">
            <a:extLst>
              <a:ext uri="{FF2B5EF4-FFF2-40B4-BE49-F238E27FC236}">
                <a16:creationId xmlns:a16="http://schemas.microsoft.com/office/drawing/2014/main" id="{92C904D2-569E-4CA9-8AEE-6E173396DA64}"/>
              </a:ext>
            </a:extLst>
          </p:cNvPr>
          <p:cNvSpPr>
            <a:spLocks noGrp="1"/>
          </p:cNvSpPr>
          <p:nvPr>
            <p:ph type="ftr" sz="quarter" idx="3"/>
          </p:nvPr>
        </p:nvSpPr>
        <p:spPr/>
        <p:txBody>
          <a:bodyPr/>
          <a:lstStyle/>
          <a:p>
            <a:r>
              <a:rPr lang="de-DE"/>
              <a:t>Lions für WaSH - Wasser ist Leben</a:t>
            </a:r>
            <a:endParaRPr lang="de-DE" dirty="0"/>
          </a:p>
        </p:txBody>
      </p:sp>
      <p:pic>
        <p:nvPicPr>
          <p:cNvPr id="9" name="Bildplatzhalter 8">
            <a:extLst>
              <a:ext uri="{FF2B5EF4-FFF2-40B4-BE49-F238E27FC236}">
                <a16:creationId xmlns:a16="http://schemas.microsoft.com/office/drawing/2014/main" id="{E405D7B4-0F4E-BFC4-C85F-D9F32AD246CF}"/>
              </a:ext>
            </a:extLst>
          </p:cNvPr>
          <p:cNvPicPr>
            <a:picLocks noGrp="1" noChangeAspect="1"/>
          </p:cNvPicPr>
          <p:nvPr>
            <p:ph type="pic" sz="quarter" idx="4294967295"/>
          </p:nvPr>
        </p:nvPicPr>
        <p:blipFill>
          <a:blip r:embed="rId3" cstate="print">
            <a:extLst>
              <a:ext uri="{28A0092B-C50C-407E-A947-70E740481C1C}">
                <a14:useLocalDpi xmlns:a14="http://schemas.microsoft.com/office/drawing/2010/main"/>
              </a:ext>
            </a:extLst>
          </a:blip>
          <a:srcRect/>
          <a:stretch/>
        </p:blipFill>
        <p:spPr>
          <a:xfrm>
            <a:off x="323129" y="1350333"/>
            <a:ext cx="6426200" cy="4648200"/>
          </a:xfrm>
          <a:prstGeom prst="roundRect">
            <a:avLst>
              <a:gd name="adj" fmla="val 3172"/>
            </a:avLst>
          </a:prstGeom>
          <a:solidFill>
            <a:schemeClr val="bg2"/>
          </a:solidFill>
          <a:ln w="165100" cap="flat">
            <a:solidFill>
              <a:schemeClr val="bg1"/>
            </a:solidFill>
            <a:prstDash val="solid"/>
            <a:miter/>
          </a:ln>
          <a:effectLst>
            <a:outerShdw blurRad="444500" dist="190500" dir="5400000" algn="t" rotWithShape="0">
              <a:prstClr val="black">
                <a:alpha val="10000"/>
              </a:prstClr>
            </a:outerShdw>
          </a:effectLst>
        </p:spPr>
      </p:pic>
      <p:sp>
        <p:nvSpPr>
          <p:cNvPr id="6" name="Textfeld 5">
            <a:extLst>
              <a:ext uri="{FF2B5EF4-FFF2-40B4-BE49-F238E27FC236}">
                <a16:creationId xmlns:a16="http://schemas.microsoft.com/office/drawing/2014/main" id="{A60CCADD-3A97-40C1-A823-3663BD1BFBB3}"/>
              </a:ext>
            </a:extLst>
          </p:cNvPr>
          <p:cNvSpPr txBox="1"/>
          <p:nvPr/>
        </p:nvSpPr>
        <p:spPr>
          <a:xfrm>
            <a:off x="5508434" y="5958009"/>
            <a:ext cx="1240895" cy="246221"/>
          </a:xfrm>
          <a:prstGeom prst="rect">
            <a:avLst/>
          </a:prstGeom>
          <a:noFill/>
        </p:spPr>
        <p:txBody>
          <a:bodyPr wrap="square" rtlCol="0">
            <a:spAutoFit/>
          </a:bodyPr>
          <a:lstStyle/>
          <a:p>
            <a:r>
              <a:rPr lang="de-DE" sz="1000" dirty="0">
                <a:solidFill>
                  <a:schemeClr val="bg1">
                    <a:lumMod val="65000"/>
                  </a:schemeClr>
                </a:solidFill>
              </a:rPr>
              <a:t>Bild: HFH Malawi</a:t>
            </a:r>
          </a:p>
        </p:txBody>
      </p:sp>
      <p:pic>
        <p:nvPicPr>
          <p:cNvPr id="7" name="Grafik 6" descr="Ein Bild, das Text, Schrift, Grafiken, Logo enthält.&#10;&#10;Automatisch generierte Beschreibung">
            <a:extLst>
              <a:ext uri="{FF2B5EF4-FFF2-40B4-BE49-F238E27FC236}">
                <a16:creationId xmlns:a16="http://schemas.microsoft.com/office/drawing/2014/main" id="{3BB4E5FD-2683-FAE0-42BD-1486CFAA52C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463797" y="275085"/>
            <a:ext cx="1461147" cy="537481"/>
          </a:xfrm>
          <a:prstGeom prst="rect">
            <a:avLst/>
          </a:prstGeom>
        </p:spPr>
      </p:pic>
      <p:pic>
        <p:nvPicPr>
          <p:cNvPr id="2" name="Grafik 1">
            <a:extLst>
              <a:ext uri="{FF2B5EF4-FFF2-40B4-BE49-F238E27FC236}">
                <a16:creationId xmlns:a16="http://schemas.microsoft.com/office/drawing/2014/main" id="{B24ED2F8-5B90-93C5-D201-9E9B9DFEC16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70590" y="196627"/>
            <a:ext cx="513092" cy="694396"/>
          </a:xfrm>
          <a:prstGeom prst="rect">
            <a:avLst/>
          </a:prstGeom>
        </p:spPr>
      </p:pic>
      <p:sp>
        <p:nvSpPr>
          <p:cNvPr id="11" name="Textfeld 10">
            <a:extLst>
              <a:ext uri="{FF2B5EF4-FFF2-40B4-BE49-F238E27FC236}">
                <a16:creationId xmlns:a16="http://schemas.microsoft.com/office/drawing/2014/main" id="{9301BF0C-E834-AC53-60FB-D59D51381C84}"/>
              </a:ext>
            </a:extLst>
          </p:cNvPr>
          <p:cNvSpPr txBox="1"/>
          <p:nvPr/>
        </p:nvSpPr>
        <p:spPr>
          <a:xfrm>
            <a:off x="7208874" y="1318569"/>
            <a:ext cx="4659997" cy="4867999"/>
          </a:xfrm>
          <a:prstGeom prst="rect">
            <a:avLst/>
          </a:prstGeom>
          <a:noFill/>
        </p:spPr>
        <p:txBody>
          <a:bodyPr wrap="square">
            <a:spAutoFit/>
          </a:bodyPr>
          <a:lstStyle/>
          <a:p>
            <a:pPr marL="285750" indent="-285750">
              <a:spcBef>
                <a:spcPts val="800"/>
              </a:spcBef>
              <a:spcAft>
                <a:spcPts val="600"/>
              </a:spcAft>
              <a:buClr>
                <a:srgbClr val="FFC000"/>
              </a:buClr>
              <a:buFont typeface="Arial" panose="020B0604020202020204" pitchFamily="34" charset="0"/>
              <a:buChar char="•"/>
            </a:pPr>
            <a:r>
              <a:rPr lang="de-DE" dirty="0"/>
              <a:t>Langjähriger Partner seit 2010: </a:t>
            </a:r>
            <a:br>
              <a:rPr lang="de-DE" dirty="0"/>
            </a:br>
            <a:r>
              <a:rPr lang="de-DE" dirty="0"/>
              <a:t>Habitat </a:t>
            </a:r>
            <a:r>
              <a:rPr lang="de-DE" dirty="0" err="1"/>
              <a:t>for</a:t>
            </a:r>
            <a:r>
              <a:rPr lang="de-DE" dirty="0"/>
              <a:t> </a:t>
            </a:r>
            <a:r>
              <a:rPr lang="de-DE" dirty="0" err="1"/>
              <a:t>Humanity</a:t>
            </a:r>
            <a:endParaRPr lang="de-DE" dirty="0"/>
          </a:p>
          <a:p>
            <a:pPr marL="285750" indent="-285750">
              <a:spcBef>
                <a:spcPts val="800"/>
              </a:spcBef>
              <a:spcAft>
                <a:spcPts val="600"/>
              </a:spcAft>
              <a:buClr>
                <a:srgbClr val="FFC000"/>
              </a:buClr>
              <a:buFont typeface="Arial" panose="020B0604020202020204" pitchFamily="34" charset="0"/>
              <a:buChar char="•"/>
            </a:pPr>
            <a:r>
              <a:rPr lang="de-DE" dirty="0"/>
              <a:t>Bedarfsbasierter Projektvorschlag durch Habitat </a:t>
            </a:r>
            <a:r>
              <a:rPr lang="de-DE" dirty="0" err="1"/>
              <a:t>for</a:t>
            </a:r>
            <a:r>
              <a:rPr lang="de-DE" dirty="0"/>
              <a:t> </a:t>
            </a:r>
            <a:r>
              <a:rPr lang="de-DE" dirty="0" err="1"/>
              <a:t>Humanity</a:t>
            </a:r>
            <a:r>
              <a:rPr lang="de-DE" dirty="0"/>
              <a:t> an Lions</a:t>
            </a:r>
          </a:p>
          <a:p>
            <a:pPr marL="285750" indent="-285750">
              <a:spcBef>
                <a:spcPts val="800"/>
              </a:spcBef>
              <a:spcAft>
                <a:spcPts val="600"/>
              </a:spcAft>
              <a:buClr>
                <a:srgbClr val="FFC000"/>
              </a:buClr>
              <a:buFont typeface="Arial" panose="020B0604020202020204" pitchFamily="34" charset="0"/>
              <a:buChar char="•"/>
            </a:pPr>
            <a:r>
              <a:rPr lang="de-DE" dirty="0"/>
              <a:t>Voranmeldung bei Bundesministerium für wirtschaftliche Zusammenarbeit und Entwicklung (BMZ): Priorisierung mit A</a:t>
            </a:r>
          </a:p>
          <a:p>
            <a:pPr marL="285750" indent="-285750">
              <a:spcBef>
                <a:spcPts val="800"/>
              </a:spcBef>
              <a:spcAft>
                <a:spcPts val="600"/>
              </a:spcAft>
              <a:buClr>
                <a:srgbClr val="FFC000"/>
              </a:buClr>
              <a:buFont typeface="Arial" panose="020B0604020202020204" pitchFamily="34" charset="0"/>
              <a:buChar char="•"/>
            </a:pPr>
            <a:r>
              <a:rPr lang="de-DE" dirty="0"/>
              <a:t>November: Planungsreise für Gespräche mit Menschen und Behörden vor Ort, fachlicher Input der Lions</a:t>
            </a:r>
          </a:p>
          <a:p>
            <a:pPr marL="285750" indent="-285750">
              <a:spcBef>
                <a:spcPts val="800"/>
              </a:spcBef>
              <a:spcAft>
                <a:spcPts val="600"/>
              </a:spcAft>
              <a:buClr>
                <a:srgbClr val="FFC000"/>
              </a:buClr>
              <a:buFont typeface="Arial" panose="020B0604020202020204" pitchFamily="34" charset="0"/>
              <a:buChar char="•"/>
            </a:pPr>
            <a:r>
              <a:rPr lang="de-DE" dirty="0"/>
              <a:t>März: Antrag an das BMZ, Diskussion und evtl. Anpassung der Projektbestandteile</a:t>
            </a:r>
          </a:p>
          <a:p>
            <a:pPr marL="285750" indent="-285750">
              <a:spcBef>
                <a:spcPts val="800"/>
              </a:spcBef>
              <a:spcAft>
                <a:spcPts val="600"/>
              </a:spcAft>
              <a:buClr>
                <a:srgbClr val="FFC000"/>
              </a:buClr>
              <a:buFont typeface="Arial" panose="020B0604020202020204" pitchFamily="34" charset="0"/>
              <a:buChar char="•"/>
            </a:pPr>
            <a:r>
              <a:rPr lang="de-DE" dirty="0"/>
              <a:t>Herbst: geplanter Projektstart</a:t>
            </a:r>
          </a:p>
        </p:txBody>
      </p:sp>
      <p:sp>
        <p:nvSpPr>
          <p:cNvPr id="15" name="Textplatzhalter 14">
            <a:extLst>
              <a:ext uri="{FF2B5EF4-FFF2-40B4-BE49-F238E27FC236}">
                <a16:creationId xmlns:a16="http://schemas.microsoft.com/office/drawing/2014/main" id="{3EDFA8CB-6574-4219-A7FA-2FD9B94A7B46}"/>
              </a:ext>
            </a:extLst>
          </p:cNvPr>
          <p:cNvSpPr>
            <a:spLocks noGrp="1"/>
          </p:cNvSpPr>
          <p:nvPr>
            <p:ph type="body" sz="quarter" idx="10"/>
          </p:nvPr>
        </p:nvSpPr>
        <p:spPr/>
        <p:txBody>
          <a:bodyPr/>
          <a:lstStyle/>
          <a:p>
            <a:r>
              <a:rPr lang="de-DE" dirty="0"/>
              <a:t>Gemeinsame Planung der WaSH-Projekte</a:t>
            </a:r>
          </a:p>
        </p:txBody>
      </p:sp>
    </p:spTree>
    <p:extLst>
      <p:ext uri="{BB962C8B-B14F-4D97-AF65-F5344CB8AC3E}">
        <p14:creationId xmlns:p14="http://schemas.microsoft.com/office/powerpoint/2010/main" val="23950751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0">
            <a:extLst>
              <a:ext uri="{FF2B5EF4-FFF2-40B4-BE49-F238E27FC236}">
                <a16:creationId xmlns:a16="http://schemas.microsoft.com/office/drawing/2014/main" id="{352B1DC2-9EC9-79AB-486F-02C2B8A72B76}"/>
              </a:ext>
            </a:extLst>
          </p:cNvPr>
          <p:cNvSpPr/>
          <p:nvPr/>
        </p:nvSpPr>
        <p:spPr>
          <a:xfrm>
            <a:off x="323131" y="1269341"/>
            <a:ext cx="4442834" cy="4525531"/>
          </a:xfrm>
          <a:prstGeom prst="roundRect">
            <a:avLst>
              <a:gd name="adj" fmla="val 179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black"/>
              </a:solidFill>
              <a:latin typeface="Arial"/>
            </a:endParaRPr>
          </a:p>
        </p:txBody>
      </p:sp>
      <p:sp>
        <p:nvSpPr>
          <p:cNvPr id="3" name="Textplatzhalter 2">
            <a:extLst>
              <a:ext uri="{FF2B5EF4-FFF2-40B4-BE49-F238E27FC236}">
                <a16:creationId xmlns:a16="http://schemas.microsoft.com/office/drawing/2014/main" id="{2F32EBD6-6E73-51E0-0902-B1C02CBB9C75}"/>
              </a:ext>
            </a:extLst>
          </p:cNvPr>
          <p:cNvSpPr>
            <a:spLocks noGrp="1"/>
          </p:cNvSpPr>
          <p:nvPr>
            <p:ph type="body" sz="quarter" idx="10"/>
          </p:nvPr>
        </p:nvSpPr>
        <p:spPr>
          <a:xfrm>
            <a:off x="323130" y="111186"/>
            <a:ext cx="10283909" cy="480131"/>
          </a:xfrm>
        </p:spPr>
        <p:txBody>
          <a:bodyPr/>
          <a:lstStyle/>
          <a:p>
            <a:r>
              <a:rPr lang="de-DE" dirty="0"/>
              <a:t>Wir stellen sicher, dass Ihre Spende verantwortungsvoll eingesetzt wird!</a:t>
            </a:r>
          </a:p>
        </p:txBody>
      </p:sp>
      <p:sp>
        <p:nvSpPr>
          <p:cNvPr id="12" name="Fußzeilenplatzhalter 4">
            <a:extLst>
              <a:ext uri="{FF2B5EF4-FFF2-40B4-BE49-F238E27FC236}">
                <a16:creationId xmlns:a16="http://schemas.microsoft.com/office/drawing/2014/main" id="{1244982D-D1B3-4E6B-853F-627A01E41D2D}"/>
              </a:ext>
            </a:extLst>
          </p:cNvPr>
          <p:cNvSpPr>
            <a:spLocks noGrp="1"/>
          </p:cNvSpPr>
          <p:nvPr>
            <p:ph type="ftr" sz="quarter" idx="3"/>
          </p:nvPr>
        </p:nvSpPr>
        <p:spPr/>
        <p:txBody>
          <a:bodyPr/>
          <a:lstStyle/>
          <a:p>
            <a:r>
              <a:rPr lang="de-DE"/>
              <a:t>Lions für WaSH - Wasser ist Leben</a:t>
            </a:r>
            <a:endParaRPr lang="de-DE" dirty="0"/>
          </a:p>
        </p:txBody>
      </p:sp>
      <p:sp>
        <p:nvSpPr>
          <p:cNvPr id="11" name="Inhaltsplatzhalter 2">
            <a:extLst>
              <a:ext uri="{FF2B5EF4-FFF2-40B4-BE49-F238E27FC236}">
                <a16:creationId xmlns:a16="http://schemas.microsoft.com/office/drawing/2014/main" id="{5651C526-1E6C-40E3-8764-BA793C4EF703}"/>
              </a:ext>
            </a:extLst>
          </p:cNvPr>
          <p:cNvSpPr txBox="1">
            <a:spLocks/>
          </p:cNvSpPr>
          <p:nvPr/>
        </p:nvSpPr>
        <p:spPr>
          <a:xfrm>
            <a:off x="461534" y="1593273"/>
            <a:ext cx="4256464" cy="3671454"/>
          </a:xfrm>
          <a:prstGeom prst="rect">
            <a:avLst/>
          </a:prstGeom>
        </p:spPr>
        <p:txBody>
          <a:bodyPr vert="horz" lIns="0" tIns="90000" rIns="0" bIns="45720" rtlCol="0" anchor="t">
            <a:noAutofit/>
          </a:bodyPr>
          <a:lstStyle>
            <a:lvl1pPr marL="228600" indent="-228600" algn="l" defTabSz="914400" rtl="0" eaLnBrk="1" latinLnBrk="0" hangingPunct="1">
              <a:lnSpc>
                <a:spcPct val="90000"/>
              </a:lnSpc>
              <a:spcBef>
                <a:spcPts val="1000"/>
              </a:spcBef>
              <a:buClr>
                <a:schemeClr val="accent1"/>
              </a:buClr>
              <a:buFont typeface="HelveticaNeue LT 45 Light" panose="020B0403020202020204" pitchFamily="34" charset="0"/>
              <a:buChar char="•"/>
              <a:defRPr lang="de-DE" sz="2400" kern="1200" dirty="0" smtClean="0">
                <a:solidFill>
                  <a:schemeClr val="accent3">
                    <a:lumMod val="75000"/>
                  </a:schemeClr>
                </a:solidFill>
                <a:latin typeface="+mj-lt"/>
                <a:ea typeface="+mn-ea"/>
                <a:cs typeface="+mn-cs"/>
              </a:defRPr>
            </a:lvl1pPr>
            <a:lvl2pPr marL="542925" indent="-228600" algn="l" defTabSz="914400" rtl="0" eaLnBrk="1" latinLnBrk="0" hangingPunct="1">
              <a:lnSpc>
                <a:spcPct val="90000"/>
              </a:lnSpc>
              <a:spcBef>
                <a:spcPts val="500"/>
              </a:spcBef>
              <a:buFont typeface="Symbol" panose="05050102010706020507" pitchFamily="18" charset="2"/>
              <a:buChar char="-"/>
              <a:defRPr lang="de-DE" sz="2000" kern="1200" dirty="0" smtClean="0">
                <a:solidFill>
                  <a:schemeClr val="accent3">
                    <a:lumMod val="75000"/>
                  </a:schemeClr>
                </a:solidFill>
                <a:latin typeface="+mj-lt"/>
                <a:ea typeface="+mn-ea"/>
                <a:cs typeface="+mn-cs"/>
              </a:defRPr>
            </a:lvl2pPr>
            <a:lvl3pPr marL="895350" indent="-228600" algn="l" defTabSz="914400" rtl="0" eaLnBrk="1" latinLnBrk="0" hangingPunct="1">
              <a:lnSpc>
                <a:spcPct val="90000"/>
              </a:lnSpc>
              <a:spcBef>
                <a:spcPts val="500"/>
              </a:spcBef>
              <a:buFont typeface="Symbol" panose="05050102010706020507" pitchFamily="18" charset="2"/>
              <a:buChar char="-"/>
              <a:defRPr lang="de-DE" sz="1800" kern="1200" dirty="0" smtClean="0">
                <a:solidFill>
                  <a:schemeClr val="accent3">
                    <a:lumMod val="75000"/>
                  </a:schemeClr>
                </a:solidFill>
                <a:latin typeface="+mj-lt"/>
                <a:ea typeface="+mn-ea"/>
                <a:cs typeface="+mn-cs"/>
              </a:defRPr>
            </a:lvl3pPr>
            <a:lvl4pPr marL="1257300" indent="-228600" algn="l" defTabSz="914400" rtl="0" eaLnBrk="1" latinLnBrk="0" hangingPunct="1">
              <a:lnSpc>
                <a:spcPct val="90000"/>
              </a:lnSpc>
              <a:spcBef>
                <a:spcPts val="500"/>
              </a:spcBef>
              <a:buFont typeface="Symbol" panose="05050102010706020507" pitchFamily="18" charset="2"/>
              <a:buChar char="-"/>
              <a:defRPr lang="de-DE" sz="1600" kern="1200" dirty="0" smtClean="0">
                <a:solidFill>
                  <a:schemeClr val="accent3">
                    <a:lumMod val="75000"/>
                  </a:schemeClr>
                </a:solidFill>
                <a:latin typeface="+mj-lt"/>
                <a:ea typeface="+mn-ea"/>
                <a:cs typeface="+mn-cs"/>
              </a:defRPr>
            </a:lvl4pPr>
            <a:lvl5pPr marL="1619250" indent="-228600" algn="l" defTabSz="914400" rtl="0" eaLnBrk="1" latinLnBrk="0" hangingPunct="1">
              <a:lnSpc>
                <a:spcPct val="90000"/>
              </a:lnSpc>
              <a:spcBef>
                <a:spcPts val="500"/>
              </a:spcBef>
              <a:buFont typeface="Symbol" panose="05050102010706020507" pitchFamily="18" charset="2"/>
              <a:buChar char="-"/>
              <a:tabLst/>
              <a:defRPr lang="de-DE" sz="1600" kern="1200" dirty="0">
                <a:solidFill>
                  <a:schemeClr val="accent3">
                    <a:lumMod val="7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800"/>
              </a:spcBef>
              <a:spcAft>
                <a:spcPts val="600"/>
              </a:spcAft>
              <a:buClr>
                <a:srgbClr val="00B050"/>
              </a:buClr>
              <a:buFont typeface="Wingdings" panose="05000000000000000000" pitchFamily="2" charset="2"/>
              <a:buChar char="ü"/>
            </a:pPr>
            <a:r>
              <a:rPr lang="de-DE" sz="1800" dirty="0">
                <a:solidFill>
                  <a:schemeClr val="tx1"/>
                </a:solidFill>
                <a:latin typeface="+mn-lt"/>
              </a:rPr>
              <a:t>Seit 2002 trägt die Stiftung der Deutschen Lions das Spendensiegel des Deutschen Zentralinstituts für soziale Fragen </a:t>
            </a:r>
          </a:p>
          <a:p>
            <a:pPr marL="285750" indent="-285750">
              <a:spcBef>
                <a:spcPts val="800"/>
              </a:spcBef>
              <a:spcAft>
                <a:spcPts val="600"/>
              </a:spcAft>
              <a:buClr>
                <a:srgbClr val="00B050"/>
              </a:buClr>
              <a:buFont typeface="Wingdings" panose="05000000000000000000" pitchFamily="2" charset="2"/>
              <a:buChar char="ü"/>
            </a:pPr>
            <a:r>
              <a:rPr lang="de-DE" sz="1800" dirty="0">
                <a:solidFill>
                  <a:schemeClr val="tx1"/>
                </a:solidFill>
                <a:latin typeface="+mn-lt"/>
              </a:rPr>
              <a:t>Enges Monitoring aller Projekte durch die Stiftung</a:t>
            </a:r>
          </a:p>
          <a:p>
            <a:pPr marL="285750" indent="-285750">
              <a:spcBef>
                <a:spcPts val="800"/>
              </a:spcBef>
              <a:spcAft>
                <a:spcPts val="600"/>
              </a:spcAft>
              <a:buClr>
                <a:srgbClr val="00B050"/>
              </a:buClr>
              <a:buFont typeface="Wingdings" panose="05000000000000000000" pitchFamily="2" charset="2"/>
              <a:buChar char="ü"/>
            </a:pPr>
            <a:r>
              <a:rPr lang="de-DE" sz="1800" dirty="0">
                <a:solidFill>
                  <a:schemeClr val="tx1"/>
                </a:solidFill>
                <a:latin typeface="+mn-lt"/>
              </a:rPr>
              <a:t>Evaluierung der Projekte nach internationalen DAC-Kriterien:</a:t>
            </a:r>
          </a:p>
          <a:p>
            <a:pPr marL="638175" lvl="2" indent="-285750">
              <a:spcBef>
                <a:spcPts val="800"/>
              </a:spcBef>
              <a:spcAft>
                <a:spcPts val="600"/>
              </a:spcAft>
              <a:buClr>
                <a:srgbClr val="00B050"/>
              </a:buClr>
              <a:buFont typeface="Wingdings" panose="05000000000000000000" pitchFamily="2" charset="2"/>
              <a:buChar char="ü"/>
            </a:pPr>
            <a:r>
              <a:rPr lang="de-DE" sz="1600" dirty="0">
                <a:solidFill>
                  <a:schemeClr val="tx1"/>
                </a:solidFill>
                <a:latin typeface="+mn-lt"/>
              </a:rPr>
              <a:t>Relevanz, Kohärenz, Effektivität, Effizienz, Wirkung, Nachhaltigkeit</a:t>
            </a:r>
          </a:p>
          <a:p>
            <a:pPr marL="285750" indent="-285750">
              <a:spcBef>
                <a:spcPts val="800"/>
              </a:spcBef>
              <a:spcAft>
                <a:spcPts val="600"/>
              </a:spcAft>
              <a:buClr>
                <a:srgbClr val="00B050"/>
              </a:buClr>
              <a:buFont typeface="Wingdings" panose="05000000000000000000" pitchFamily="2" charset="2"/>
              <a:buChar char="ü"/>
            </a:pPr>
            <a:r>
              <a:rPr lang="de-DE" sz="1800" dirty="0">
                <a:solidFill>
                  <a:schemeClr val="tx1"/>
                </a:solidFill>
                <a:latin typeface="+mn-lt"/>
              </a:rPr>
              <a:t>Prüfung aller Projektausgaben durch staatlich anerkannte, externe Buchprüfer</a:t>
            </a:r>
          </a:p>
        </p:txBody>
      </p:sp>
      <p:pic>
        <p:nvPicPr>
          <p:cNvPr id="5" name="Grafik 4">
            <a:extLst>
              <a:ext uri="{FF2B5EF4-FFF2-40B4-BE49-F238E27FC236}">
                <a16:creationId xmlns:a16="http://schemas.microsoft.com/office/drawing/2014/main" id="{8FCF2218-60AF-7369-A7A3-812A432C801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10456" y="4342986"/>
            <a:ext cx="1386843" cy="1728220"/>
          </a:xfrm>
          <a:prstGeom prst="rect">
            <a:avLst/>
          </a:prstGeom>
        </p:spPr>
      </p:pic>
      <p:pic>
        <p:nvPicPr>
          <p:cNvPr id="7" name="Grafik 6">
            <a:extLst>
              <a:ext uri="{FF2B5EF4-FFF2-40B4-BE49-F238E27FC236}">
                <a16:creationId xmlns:a16="http://schemas.microsoft.com/office/drawing/2014/main" id="{11DA2FF6-CD28-03FC-2449-E4D75E599845}"/>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5295238" y="856069"/>
            <a:ext cx="6057568" cy="2953933"/>
          </a:xfrm>
          <a:prstGeom prst="roundRect">
            <a:avLst>
              <a:gd name="adj" fmla="val 3172"/>
            </a:avLst>
          </a:prstGeom>
          <a:solidFill>
            <a:schemeClr val="bg2"/>
          </a:solidFill>
          <a:ln w="165100" cap="flat">
            <a:solidFill>
              <a:schemeClr val="bg1"/>
            </a:solidFill>
            <a:prstDash val="solid"/>
            <a:miter/>
          </a:ln>
          <a:effectLst>
            <a:outerShdw blurRad="444500" dist="190500" dir="5400000" algn="t" rotWithShape="0">
              <a:prstClr val="black">
                <a:alpha val="10000"/>
              </a:prstClr>
            </a:outerShdw>
          </a:effectLst>
        </p:spPr>
      </p:pic>
      <p:pic>
        <p:nvPicPr>
          <p:cNvPr id="14" name="Grafik 13" descr="Ein Bild, das Kleidung, Person, Mobiliar, Außentisch enthält.&#10;&#10;Automatisch generierte Beschreibung">
            <a:extLst>
              <a:ext uri="{FF2B5EF4-FFF2-40B4-BE49-F238E27FC236}">
                <a16:creationId xmlns:a16="http://schemas.microsoft.com/office/drawing/2014/main" id="{D6926C0F-9CE5-7304-CBC7-978F3C9C9D0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841790" y="3613678"/>
            <a:ext cx="4897498" cy="2554513"/>
          </a:xfrm>
          <a:prstGeom prst="roundRect">
            <a:avLst>
              <a:gd name="adj" fmla="val 3172"/>
            </a:avLst>
          </a:prstGeom>
          <a:solidFill>
            <a:schemeClr val="bg2"/>
          </a:solidFill>
          <a:ln w="165100" cap="flat">
            <a:solidFill>
              <a:schemeClr val="bg1"/>
            </a:solidFill>
            <a:prstDash val="solid"/>
            <a:miter/>
          </a:ln>
          <a:effectLst>
            <a:outerShdw blurRad="444500" dist="190500" dir="5400000" algn="t" rotWithShape="0">
              <a:prstClr val="black">
                <a:alpha val="10000"/>
              </a:prstClr>
            </a:outerShdw>
          </a:effectLst>
        </p:spPr>
      </p:pic>
      <p:sp>
        <p:nvSpPr>
          <p:cNvPr id="6" name="Textfeld 5">
            <a:extLst>
              <a:ext uri="{FF2B5EF4-FFF2-40B4-BE49-F238E27FC236}">
                <a16:creationId xmlns:a16="http://schemas.microsoft.com/office/drawing/2014/main" id="{690E1F0F-A010-677F-E9AA-65537CDBDD21}"/>
              </a:ext>
            </a:extLst>
          </p:cNvPr>
          <p:cNvSpPr txBox="1"/>
          <p:nvPr/>
        </p:nvSpPr>
        <p:spPr>
          <a:xfrm>
            <a:off x="10318624" y="6122540"/>
            <a:ext cx="1271460" cy="246221"/>
          </a:xfrm>
          <a:prstGeom prst="rect">
            <a:avLst/>
          </a:prstGeom>
          <a:noFill/>
        </p:spPr>
        <p:txBody>
          <a:bodyPr wrap="square" rtlCol="0">
            <a:spAutoFit/>
          </a:bodyPr>
          <a:lstStyle/>
          <a:p>
            <a:r>
              <a:rPr lang="de-DE" sz="1000" dirty="0">
                <a:solidFill>
                  <a:schemeClr val="bg1">
                    <a:lumMod val="65000"/>
                  </a:schemeClr>
                </a:solidFill>
              </a:rPr>
              <a:t>Bild: HFH Malawi</a:t>
            </a:r>
          </a:p>
        </p:txBody>
      </p:sp>
    </p:spTree>
    <p:extLst>
      <p:ext uri="{BB962C8B-B14F-4D97-AF65-F5344CB8AC3E}">
        <p14:creationId xmlns:p14="http://schemas.microsoft.com/office/powerpoint/2010/main" val="35729419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276F6E7-471D-379B-8352-5C45B340A83F}"/>
              </a:ext>
            </a:extLst>
          </p:cNvPr>
          <p:cNvSpPr>
            <a:spLocks noGrp="1"/>
          </p:cNvSpPr>
          <p:nvPr>
            <p:ph type="body" sz="quarter" idx="10"/>
          </p:nvPr>
        </p:nvSpPr>
        <p:spPr/>
        <p:txBody>
          <a:bodyPr/>
          <a:lstStyle/>
          <a:p>
            <a:r>
              <a:rPr lang="de-DE" dirty="0"/>
              <a:t>Lions-Spenden werden vermehrt!</a:t>
            </a:r>
          </a:p>
        </p:txBody>
      </p:sp>
      <p:sp>
        <p:nvSpPr>
          <p:cNvPr id="8" name="Fußzeilenplatzhalter 4">
            <a:extLst>
              <a:ext uri="{FF2B5EF4-FFF2-40B4-BE49-F238E27FC236}">
                <a16:creationId xmlns:a16="http://schemas.microsoft.com/office/drawing/2014/main" id="{92C904D2-569E-4CA9-8AEE-6E173396DA64}"/>
              </a:ext>
            </a:extLst>
          </p:cNvPr>
          <p:cNvSpPr>
            <a:spLocks noGrp="1"/>
          </p:cNvSpPr>
          <p:nvPr>
            <p:ph type="ftr" sz="quarter" idx="3"/>
          </p:nvPr>
        </p:nvSpPr>
        <p:spPr/>
        <p:txBody>
          <a:bodyPr/>
          <a:lstStyle/>
          <a:p>
            <a:r>
              <a:rPr lang="de-DE"/>
              <a:t>Lions für WaSH - Wasser ist Leben</a:t>
            </a:r>
            <a:endParaRPr lang="de-DE" dirty="0"/>
          </a:p>
        </p:txBody>
      </p:sp>
      <p:pic>
        <p:nvPicPr>
          <p:cNvPr id="1033" name="Bildplatzhalter 1032" descr="Ein Bild, das Himmel, draußen, Kleidung, Gelände enthält.&#10;&#10;Automatisch generierte Beschreibung">
            <a:extLst>
              <a:ext uri="{FF2B5EF4-FFF2-40B4-BE49-F238E27FC236}">
                <a16:creationId xmlns:a16="http://schemas.microsoft.com/office/drawing/2014/main" id="{82C00686-0775-58B3-9020-A4930CF25936}"/>
              </a:ext>
            </a:extLst>
          </p:cNvPr>
          <p:cNvPicPr>
            <a:picLocks noGrp="1" noChangeAspect="1"/>
          </p:cNvPicPr>
          <p:nvPr>
            <p:ph type="pic" sz="quarter" idx="4294967295"/>
          </p:nvPr>
        </p:nvPicPr>
        <p:blipFill>
          <a:blip r:embed="rId3" cstate="print">
            <a:extLst>
              <a:ext uri="{28A0092B-C50C-407E-A947-70E740481C1C}">
                <a14:useLocalDpi xmlns:a14="http://schemas.microsoft.com/office/drawing/2010/main"/>
              </a:ext>
            </a:extLst>
          </a:blip>
          <a:srcRect/>
          <a:stretch>
            <a:fillRect/>
          </a:stretch>
        </p:blipFill>
        <p:spPr>
          <a:xfrm rot="5400000">
            <a:off x="53037" y="1703135"/>
            <a:ext cx="4648200" cy="3741737"/>
          </a:xfrm>
          <a:prstGeom prst="roundRect">
            <a:avLst>
              <a:gd name="adj" fmla="val 3172"/>
            </a:avLst>
          </a:prstGeom>
          <a:solidFill>
            <a:schemeClr val="bg2"/>
          </a:solidFill>
          <a:ln w="165100" cap="flat">
            <a:solidFill>
              <a:schemeClr val="bg1"/>
            </a:solidFill>
            <a:prstDash val="solid"/>
            <a:miter/>
          </a:ln>
          <a:effectLst>
            <a:outerShdw blurRad="444500" dist="190500" dir="5400000" algn="t" rotWithShape="0">
              <a:prstClr val="black">
                <a:alpha val="10000"/>
              </a:prstClr>
            </a:outerShdw>
          </a:effectLst>
        </p:spPr>
      </p:pic>
      <p:sp>
        <p:nvSpPr>
          <p:cNvPr id="6" name="Textfeld 5">
            <a:extLst>
              <a:ext uri="{FF2B5EF4-FFF2-40B4-BE49-F238E27FC236}">
                <a16:creationId xmlns:a16="http://schemas.microsoft.com/office/drawing/2014/main" id="{A60CCADD-3A97-40C1-A823-3663BD1BFBB3}"/>
              </a:ext>
            </a:extLst>
          </p:cNvPr>
          <p:cNvSpPr txBox="1"/>
          <p:nvPr/>
        </p:nvSpPr>
        <p:spPr>
          <a:xfrm>
            <a:off x="2412694" y="5845694"/>
            <a:ext cx="1802799" cy="253916"/>
          </a:xfrm>
          <a:prstGeom prst="rect">
            <a:avLst/>
          </a:prstGeom>
          <a:noFill/>
        </p:spPr>
        <p:txBody>
          <a:bodyPr wrap="square" rtlCol="0">
            <a:spAutoFit/>
          </a:bodyPr>
          <a:lstStyle/>
          <a:p>
            <a:r>
              <a:rPr lang="de-DE" sz="1050" dirty="0">
                <a:solidFill>
                  <a:schemeClr val="bg1">
                    <a:lumMod val="65000"/>
                  </a:schemeClr>
                </a:solidFill>
              </a:rPr>
              <a:t>Bild: Johanna Kunz/SDL</a:t>
            </a:r>
          </a:p>
        </p:txBody>
      </p:sp>
      <p:sp>
        <p:nvSpPr>
          <p:cNvPr id="31" name="Textfeld 30">
            <a:extLst>
              <a:ext uri="{FF2B5EF4-FFF2-40B4-BE49-F238E27FC236}">
                <a16:creationId xmlns:a16="http://schemas.microsoft.com/office/drawing/2014/main" id="{4E8454BF-AD18-90E3-62FD-944779834817}"/>
              </a:ext>
            </a:extLst>
          </p:cNvPr>
          <p:cNvSpPr txBox="1"/>
          <p:nvPr/>
        </p:nvSpPr>
        <p:spPr>
          <a:xfrm>
            <a:off x="10507952" y="5390674"/>
            <a:ext cx="1466030" cy="738664"/>
          </a:xfrm>
          <a:prstGeom prst="rect">
            <a:avLst/>
          </a:prstGeom>
          <a:noFill/>
        </p:spPr>
        <p:txBody>
          <a:bodyPr wrap="square" rtlCol="0">
            <a:spAutoFit/>
          </a:bodyPr>
          <a:lstStyle/>
          <a:p>
            <a:r>
              <a:rPr lang="de-DE" sz="1400" dirty="0">
                <a:solidFill>
                  <a:prstClr val="black"/>
                </a:solidFill>
                <a:latin typeface="Calibri" panose="020F0502020204030204"/>
              </a:rPr>
              <a:t>*bei erfolgreichem Zuschussantrag</a:t>
            </a:r>
          </a:p>
        </p:txBody>
      </p:sp>
      <p:sp>
        <p:nvSpPr>
          <p:cNvPr id="7" name="Inhaltsplatzhalter 2">
            <a:extLst>
              <a:ext uri="{FF2B5EF4-FFF2-40B4-BE49-F238E27FC236}">
                <a16:creationId xmlns:a16="http://schemas.microsoft.com/office/drawing/2014/main" id="{A7740F0A-FE1F-AF9E-ADEB-3B82530EC23A}"/>
              </a:ext>
            </a:extLst>
          </p:cNvPr>
          <p:cNvSpPr txBox="1">
            <a:spLocks/>
          </p:cNvSpPr>
          <p:nvPr/>
        </p:nvSpPr>
        <p:spPr>
          <a:xfrm>
            <a:off x="7500309" y="1926422"/>
            <a:ext cx="1713648" cy="4080571"/>
          </a:xfrm>
          <a:prstGeom prst="rect">
            <a:avLst/>
          </a:prstGeom>
        </p:spPr>
        <p:txBody>
          <a:bodyPr vert="horz" lIns="0" tIns="90000" rIns="0" bIns="45720" rtlCol="0" anchor="t">
            <a:noAutofit/>
          </a:bodyPr>
          <a:lstStyle>
            <a:lvl1pPr marL="228600" indent="-228600" algn="l" defTabSz="914400" rtl="0" eaLnBrk="1" latinLnBrk="0" hangingPunct="1">
              <a:lnSpc>
                <a:spcPct val="90000"/>
              </a:lnSpc>
              <a:spcBef>
                <a:spcPts val="1000"/>
              </a:spcBef>
              <a:buClr>
                <a:schemeClr val="accent1"/>
              </a:buClr>
              <a:buFont typeface="HelveticaNeue LT 45 Light" panose="020B0403020202020204" pitchFamily="34" charset="0"/>
              <a:buChar char="•"/>
              <a:defRPr lang="de-DE" sz="2400" kern="1200" dirty="0" smtClean="0">
                <a:solidFill>
                  <a:schemeClr val="accent3">
                    <a:lumMod val="75000"/>
                  </a:schemeClr>
                </a:solidFill>
                <a:latin typeface="+mj-lt"/>
                <a:ea typeface="+mn-ea"/>
                <a:cs typeface="+mn-cs"/>
              </a:defRPr>
            </a:lvl1pPr>
            <a:lvl2pPr marL="542925" indent="-228600" algn="l" defTabSz="914400" rtl="0" eaLnBrk="1" latinLnBrk="0" hangingPunct="1">
              <a:lnSpc>
                <a:spcPct val="90000"/>
              </a:lnSpc>
              <a:spcBef>
                <a:spcPts val="500"/>
              </a:spcBef>
              <a:buFont typeface="Symbol" panose="05050102010706020507" pitchFamily="18" charset="2"/>
              <a:buChar char="-"/>
              <a:defRPr lang="de-DE" sz="2000" kern="1200" dirty="0" smtClean="0">
                <a:solidFill>
                  <a:schemeClr val="accent3">
                    <a:lumMod val="75000"/>
                  </a:schemeClr>
                </a:solidFill>
                <a:latin typeface="+mj-lt"/>
                <a:ea typeface="+mn-ea"/>
                <a:cs typeface="+mn-cs"/>
              </a:defRPr>
            </a:lvl2pPr>
            <a:lvl3pPr marL="895350" indent="-228600" algn="l" defTabSz="914400" rtl="0" eaLnBrk="1" latinLnBrk="0" hangingPunct="1">
              <a:lnSpc>
                <a:spcPct val="90000"/>
              </a:lnSpc>
              <a:spcBef>
                <a:spcPts val="500"/>
              </a:spcBef>
              <a:buFont typeface="Symbol" panose="05050102010706020507" pitchFamily="18" charset="2"/>
              <a:buChar char="-"/>
              <a:defRPr lang="de-DE" sz="1800" kern="1200" dirty="0" smtClean="0">
                <a:solidFill>
                  <a:schemeClr val="accent3">
                    <a:lumMod val="75000"/>
                  </a:schemeClr>
                </a:solidFill>
                <a:latin typeface="+mj-lt"/>
                <a:ea typeface="+mn-ea"/>
                <a:cs typeface="+mn-cs"/>
              </a:defRPr>
            </a:lvl3pPr>
            <a:lvl4pPr marL="1257300" indent="-228600" algn="l" defTabSz="914400" rtl="0" eaLnBrk="1" latinLnBrk="0" hangingPunct="1">
              <a:lnSpc>
                <a:spcPct val="90000"/>
              </a:lnSpc>
              <a:spcBef>
                <a:spcPts val="500"/>
              </a:spcBef>
              <a:buFont typeface="Symbol" panose="05050102010706020507" pitchFamily="18" charset="2"/>
              <a:buChar char="-"/>
              <a:defRPr lang="de-DE" sz="1600" kern="1200" dirty="0" smtClean="0">
                <a:solidFill>
                  <a:schemeClr val="accent3">
                    <a:lumMod val="75000"/>
                  </a:schemeClr>
                </a:solidFill>
                <a:latin typeface="+mj-lt"/>
                <a:ea typeface="+mn-ea"/>
                <a:cs typeface="+mn-cs"/>
              </a:defRPr>
            </a:lvl4pPr>
            <a:lvl5pPr marL="1619250" indent="-228600" algn="l" defTabSz="914400" rtl="0" eaLnBrk="1" latinLnBrk="0" hangingPunct="1">
              <a:lnSpc>
                <a:spcPct val="90000"/>
              </a:lnSpc>
              <a:spcBef>
                <a:spcPts val="500"/>
              </a:spcBef>
              <a:buFont typeface="Symbol" panose="05050102010706020507" pitchFamily="18" charset="2"/>
              <a:buChar char="-"/>
              <a:tabLst/>
              <a:defRPr lang="de-DE" sz="1600" kern="1200" dirty="0">
                <a:solidFill>
                  <a:schemeClr val="accent3">
                    <a:lumMod val="7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ts val="1000"/>
              </a:spcBef>
              <a:buClr>
                <a:schemeClr val="accent1"/>
              </a:buClr>
              <a:buNone/>
            </a:pPr>
            <a:endParaRPr lang="de-DE" dirty="0"/>
          </a:p>
          <a:p>
            <a:pPr marL="0" lvl="1" indent="0">
              <a:spcBef>
                <a:spcPts val="1000"/>
              </a:spcBef>
              <a:buClr>
                <a:schemeClr val="accent1"/>
              </a:buClr>
              <a:buNone/>
            </a:pPr>
            <a:endParaRPr lang="de-DE" sz="2000" dirty="0"/>
          </a:p>
          <a:p>
            <a:pPr lvl="1"/>
            <a:endParaRPr lang="de-DE" sz="1800" dirty="0">
              <a:solidFill>
                <a:srgbClr val="404043"/>
              </a:solidFill>
            </a:endParaRPr>
          </a:p>
          <a:p>
            <a:pPr marL="0" indent="0">
              <a:buFont typeface="HelveticaNeue LT 45 Light" panose="020B0403020202020204" pitchFamily="34" charset="0"/>
              <a:buNone/>
            </a:pPr>
            <a:endParaRPr lang="de-DE" dirty="0"/>
          </a:p>
        </p:txBody>
      </p:sp>
      <p:sp>
        <p:nvSpPr>
          <p:cNvPr id="23" name="Ellipse 22">
            <a:extLst>
              <a:ext uri="{FF2B5EF4-FFF2-40B4-BE49-F238E27FC236}">
                <a16:creationId xmlns:a16="http://schemas.microsoft.com/office/drawing/2014/main" id="{492DFB0F-EDB3-D5F7-09A9-162C850CA678}"/>
              </a:ext>
            </a:extLst>
          </p:cNvPr>
          <p:cNvSpPr/>
          <p:nvPr/>
        </p:nvSpPr>
        <p:spPr>
          <a:xfrm>
            <a:off x="7157456" y="3206327"/>
            <a:ext cx="3069824" cy="412099"/>
          </a:xfrm>
          <a:prstGeom prst="ellipse">
            <a:avLst/>
          </a:prstGeom>
          <a:solidFill>
            <a:srgbClr val="99CCFF"/>
          </a:solidFill>
          <a:ln w="12700" cap="flat" cmpd="sng" algn="ctr">
            <a:solidFill>
              <a:srgbClr val="4472C4">
                <a:shade val="50000"/>
              </a:srgbClr>
            </a:solidFill>
            <a:prstDash val="solid"/>
            <a:miter lim="800000"/>
          </a:ln>
          <a:effectLst/>
          <a:scene3d>
            <a:camera prst="perspectiveRelaxedModerately" fov="300000">
              <a:rot lat="19800000" lon="0" rev="0"/>
            </a:camera>
            <a:lightRig rig="threePt" dir="t"/>
          </a:scene3d>
          <a:sp3d extrusionH="5080000" contourW="6350" prstMaterial="matte">
            <a:extrusionClr>
              <a:srgbClr val="99CCFF"/>
            </a:extrusionClr>
            <a:contourClr>
              <a:srgbClr val="4472C4"/>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 name="Ellipse 23">
            <a:extLst>
              <a:ext uri="{FF2B5EF4-FFF2-40B4-BE49-F238E27FC236}">
                <a16:creationId xmlns:a16="http://schemas.microsoft.com/office/drawing/2014/main" id="{EFE5D643-5AC9-8457-66A3-F5CD82CB7D4F}"/>
              </a:ext>
            </a:extLst>
          </p:cNvPr>
          <p:cNvSpPr/>
          <p:nvPr/>
        </p:nvSpPr>
        <p:spPr>
          <a:xfrm>
            <a:off x="7157455" y="2412438"/>
            <a:ext cx="3069824" cy="412099"/>
          </a:xfrm>
          <a:prstGeom prst="ellipse">
            <a:avLst/>
          </a:prstGeom>
          <a:solidFill>
            <a:srgbClr val="4472C4">
              <a:lumMod val="60000"/>
              <a:lumOff val="40000"/>
            </a:srgbClr>
          </a:solidFill>
          <a:ln w="12700" cap="flat" cmpd="sng" algn="ctr">
            <a:solidFill>
              <a:srgbClr val="4472C4">
                <a:shade val="50000"/>
              </a:srgbClr>
            </a:solidFill>
            <a:prstDash val="solid"/>
            <a:miter lim="800000"/>
          </a:ln>
          <a:effectLst/>
          <a:scene3d>
            <a:camera prst="perspectiveRelaxedModerately" fov="300000">
              <a:rot lat="19800000" lon="0" rev="0"/>
            </a:camera>
            <a:lightRig rig="threePt" dir="t"/>
          </a:scene3d>
          <a:sp3d extrusionH="1447800" prstMaterial="matte">
            <a:extrusionClr>
              <a:srgbClr val="4472C4">
                <a:lumMod val="60000"/>
                <a:lumOff val="40000"/>
              </a:srgbClr>
            </a:extrusion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Ellipse 24">
            <a:extLst>
              <a:ext uri="{FF2B5EF4-FFF2-40B4-BE49-F238E27FC236}">
                <a16:creationId xmlns:a16="http://schemas.microsoft.com/office/drawing/2014/main" id="{B8D7E11A-146D-A730-9214-ADADD5E11D99}"/>
              </a:ext>
            </a:extLst>
          </p:cNvPr>
          <p:cNvSpPr/>
          <p:nvPr/>
        </p:nvSpPr>
        <p:spPr>
          <a:xfrm>
            <a:off x="7157454" y="1197603"/>
            <a:ext cx="3069825" cy="412099"/>
          </a:xfrm>
          <a:prstGeom prst="ellipse">
            <a:avLst/>
          </a:prstGeom>
          <a:solidFill>
            <a:srgbClr val="4472C4"/>
          </a:solidFill>
          <a:ln w="12700" cap="flat" cmpd="sng" algn="ctr">
            <a:solidFill>
              <a:srgbClr val="4472C4">
                <a:shade val="50000"/>
              </a:srgbClr>
            </a:solidFill>
            <a:prstDash val="solid"/>
            <a:miter lim="800000"/>
          </a:ln>
          <a:effectLst/>
          <a:scene3d>
            <a:camera prst="perspectiveRelaxedModerately" fov="300000">
              <a:rot lat="19800000" lon="0" rev="0"/>
            </a:camera>
            <a:lightRig rig="threePt" dir="t"/>
          </a:scene3d>
          <a:sp3d extrusionH="2305050" prstMaterial="matte">
            <a:extrusionClr>
              <a:srgbClr val="4472C4"/>
            </a:extrusion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Textfeld 27">
            <a:extLst>
              <a:ext uri="{FF2B5EF4-FFF2-40B4-BE49-F238E27FC236}">
                <a16:creationId xmlns:a16="http://schemas.microsoft.com/office/drawing/2014/main" id="{FC4AF92B-ACF6-2257-FD0B-2D65F2B0F858}"/>
              </a:ext>
            </a:extLst>
          </p:cNvPr>
          <p:cNvSpPr txBox="1"/>
          <p:nvPr/>
        </p:nvSpPr>
        <p:spPr>
          <a:xfrm>
            <a:off x="9571999" y="4143995"/>
            <a:ext cx="278548" cy="523220"/>
          </a:xfrm>
          <a:prstGeom prst="rect">
            <a:avLst/>
          </a:prstGeom>
          <a:noFill/>
        </p:spPr>
        <p:txBody>
          <a:bodyPr wrap="square" rtlCol="0">
            <a:spAutoFit/>
          </a:bodyPr>
          <a:lstStyle/>
          <a:p>
            <a:r>
              <a:rPr lang="de-DE" sz="2800" b="1" dirty="0">
                <a:latin typeface="Calibri" panose="020F0502020204030204"/>
              </a:rPr>
              <a:t>*</a:t>
            </a:r>
          </a:p>
        </p:txBody>
      </p:sp>
      <p:sp>
        <p:nvSpPr>
          <p:cNvPr id="29" name="Kreuz 28">
            <a:extLst>
              <a:ext uri="{FF2B5EF4-FFF2-40B4-BE49-F238E27FC236}">
                <a16:creationId xmlns:a16="http://schemas.microsoft.com/office/drawing/2014/main" id="{9C44CFAC-DF4C-A8B3-B2A2-2898000E8AED}"/>
              </a:ext>
            </a:extLst>
          </p:cNvPr>
          <p:cNvSpPr/>
          <p:nvPr/>
        </p:nvSpPr>
        <p:spPr>
          <a:xfrm>
            <a:off x="5817368" y="2278526"/>
            <a:ext cx="642873" cy="626389"/>
          </a:xfrm>
          <a:prstGeom prst="plus">
            <a:avLst>
              <a:gd name="adj" fmla="val 36842"/>
            </a:avLst>
          </a:prstGeom>
          <a:solidFill>
            <a:srgbClr val="000099"/>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4472C4">
                  <a:lumMod val="50000"/>
                </a:srgbClr>
              </a:solidFill>
              <a:effectLst/>
              <a:uLnTx/>
              <a:uFillTx/>
              <a:latin typeface="Calibri" panose="020F0502020204030204"/>
              <a:ea typeface="+mn-ea"/>
              <a:cs typeface="+mn-cs"/>
            </a:endParaRPr>
          </a:p>
        </p:txBody>
      </p:sp>
      <p:sp>
        <p:nvSpPr>
          <p:cNvPr id="30" name="Kreuz 29">
            <a:extLst>
              <a:ext uri="{FF2B5EF4-FFF2-40B4-BE49-F238E27FC236}">
                <a16:creationId xmlns:a16="http://schemas.microsoft.com/office/drawing/2014/main" id="{E962F57B-9513-9A94-580C-03A41869EC3E}"/>
              </a:ext>
            </a:extLst>
          </p:cNvPr>
          <p:cNvSpPr/>
          <p:nvPr/>
        </p:nvSpPr>
        <p:spPr>
          <a:xfrm>
            <a:off x="5817368" y="3644610"/>
            <a:ext cx="642873" cy="626389"/>
          </a:xfrm>
          <a:prstGeom prst="plus">
            <a:avLst>
              <a:gd name="adj" fmla="val 36842"/>
            </a:avLst>
          </a:prstGeom>
          <a:solidFill>
            <a:srgbClr val="000099"/>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24" name="Grafik 1023">
            <a:extLst>
              <a:ext uri="{FF2B5EF4-FFF2-40B4-BE49-F238E27FC236}">
                <a16:creationId xmlns:a16="http://schemas.microsoft.com/office/drawing/2014/main" id="{D11DD01B-2D1A-ECCF-25EC-B74DCA4CADB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988442" y="1516358"/>
            <a:ext cx="1220187" cy="1220187"/>
          </a:xfrm>
          <a:prstGeom prst="rect">
            <a:avLst/>
          </a:prstGeom>
        </p:spPr>
      </p:pic>
      <p:pic>
        <p:nvPicPr>
          <p:cNvPr id="1025" name="Grafik 1024">
            <a:extLst>
              <a:ext uri="{FF2B5EF4-FFF2-40B4-BE49-F238E27FC236}">
                <a16:creationId xmlns:a16="http://schemas.microsoft.com/office/drawing/2014/main" id="{D9F4AEF9-8BAD-EC11-A1FA-5FA7CC63D8F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782449" y="2844930"/>
            <a:ext cx="1632172" cy="528018"/>
          </a:xfrm>
          <a:prstGeom prst="rect">
            <a:avLst/>
          </a:prstGeom>
        </p:spPr>
      </p:pic>
      <p:pic>
        <p:nvPicPr>
          <p:cNvPr id="1027" name="Grafik 1026" descr="Ein Bild, das Screenshot, Farbigkeit enthält.&#10;&#10;Automatisch generierte Beschreibung">
            <a:extLst>
              <a:ext uri="{FF2B5EF4-FFF2-40B4-BE49-F238E27FC236}">
                <a16:creationId xmlns:a16="http://schemas.microsoft.com/office/drawing/2014/main" id="{A814D2FE-E187-BD7E-C8FE-43270DFF45FC}"/>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050507" y="4035977"/>
            <a:ext cx="3069825" cy="1232466"/>
          </a:xfrm>
          <a:prstGeom prst="rect">
            <a:avLst/>
          </a:prstGeom>
        </p:spPr>
      </p:pic>
    </p:spTree>
    <p:extLst>
      <p:ext uri="{BB962C8B-B14F-4D97-AF65-F5344CB8AC3E}">
        <p14:creationId xmlns:p14="http://schemas.microsoft.com/office/powerpoint/2010/main" val="1666343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E4640C-DEFB-ECAA-B72E-00FA5AF9C766}"/>
              </a:ext>
            </a:extLst>
          </p:cNvPr>
          <p:cNvSpPr>
            <a:spLocks noGrp="1"/>
          </p:cNvSpPr>
          <p:nvPr>
            <p:ph type="body" sz="quarter" idx="10"/>
          </p:nvPr>
        </p:nvSpPr>
        <p:spPr/>
        <p:txBody>
          <a:bodyPr/>
          <a:lstStyle/>
          <a:p>
            <a:r>
              <a:rPr lang="da-DK" dirty="0"/>
              <a:t>Der richtige Zeitpunkt</a:t>
            </a:r>
            <a:endParaRPr lang="de-DE" dirty="0"/>
          </a:p>
        </p:txBody>
      </p:sp>
      <p:grpSp>
        <p:nvGrpSpPr>
          <p:cNvPr id="8" name="Gruppieren 7">
            <a:extLst>
              <a:ext uri="{FF2B5EF4-FFF2-40B4-BE49-F238E27FC236}">
                <a16:creationId xmlns:a16="http://schemas.microsoft.com/office/drawing/2014/main" id="{954BEFE8-53CA-58C3-42DE-B7717CE63917}"/>
              </a:ext>
            </a:extLst>
          </p:cNvPr>
          <p:cNvGrpSpPr/>
          <p:nvPr/>
        </p:nvGrpSpPr>
        <p:grpSpPr>
          <a:xfrm>
            <a:off x="221939" y="2101300"/>
            <a:ext cx="8239520" cy="2124593"/>
            <a:chOff x="334963" y="1643369"/>
            <a:chExt cx="7899922" cy="1499437"/>
          </a:xfrm>
        </p:grpSpPr>
        <p:sp>
          <p:nvSpPr>
            <p:cNvPr id="9" name="Pfeil: eingekerbt nach rechts 8">
              <a:extLst>
                <a:ext uri="{FF2B5EF4-FFF2-40B4-BE49-F238E27FC236}">
                  <a16:creationId xmlns:a16="http://schemas.microsoft.com/office/drawing/2014/main" id="{A28AD659-AC0D-C4FC-2B24-1BF52882D1EF}"/>
                </a:ext>
              </a:extLst>
            </p:cNvPr>
            <p:cNvSpPr/>
            <p:nvPr/>
          </p:nvSpPr>
          <p:spPr>
            <a:xfrm>
              <a:off x="334963" y="2221442"/>
              <a:ext cx="7899922" cy="921364"/>
            </a:xfrm>
            <a:prstGeom prst="notched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de-DE" dirty="0"/>
            </a:p>
          </p:txBody>
        </p:sp>
        <p:sp>
          <p:nvSpPr>
            <p:cNvPr id="10" name="Ellipse 9">
              <a:extLst>
                <a:ext uri="{FF2B5EF4-FFF2-40B4-BE49-F238E27FC236}">
                  <a16:creationId xmlns:a16="http://schemas.microsoft.com/office/drawing/2014/main" id="{8B1753F9-B687-CB77-DDAA-6BB2B83A6599}"/>
                </a:ext>
              </a:extLst>
            </p:cNvPr>
            <p:cNvSpPr/>
            <p:nvPr/>
          </p:nvSpPr>
          <p:spPr>
            <a:xfrm>
              <a:off x="803580" y="2566953"/>
              <a:ext cx="288000" cy="222344"/>
            </a:xfrm>
            <a:prstGeom prst="ellipse">
              <a:avLst/>
            </a:prstGeom>
            <a:solidFill>
              <a:schemeClr val="accent5">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e-DE"/>
            </a:p>
          </p:txBody>
        </p:sp>
        <p:sp>
          <p:nvSpPr>
            <p:cNvPr id="11" name="Freihandform: Form 10">
              <a:extLst>
                <a:ext uri="{FF2B5EF4-FFF2-40B4-BE49-F238E27FC236}">
                  <a16:creationId xmlns:a16="http://schemas.microsoft.com/office/drawing/2014/main" id="{BB647A98-A524-956C-0E0E-D15060C3F6D3}"/>
                </a:ext>
              </a:extLst>
            </p:cNvPr>
            <p:cNvSpPr/>
            <p:nvPr/>
          </p:nvSpPr>
          <p:spPr>
            <a:xfrm>
              <a:off x="3151476" y="1643369"/>
              <a:ext cx="1658461" cy="698550"/>
            </a:xfrm>
            <a:custGeom>
              <a:avLst/>
              <a:gdLst>
                <a:gd name="connsiteX0" fmla="*/ 0 w 1477233"/>
                <a:gd name="connsiteY0" fmla="*/ 0 h 921364"/>
                <a:gd name="connsiteX1" fmla="*/ 1477233 w 1477233"/>
                <a:gd name="connsiteY1" fmla="*/ 0 h 921364"/>
                <a:gd name="connsiteX2" fmla="*/ 1477233 w 1477233"/>
                <a:gd name="connsiteY2" fmla="*/ 921364 h 921364"/>
                <a:gd name="connsiteX3" fmla="*/ 0 w 1477233"/>
                <a:gd name="connsiteY3" fmla="*/ 921364 h 921364"/>
                <a:gd name="connsiteX4" fmla="*/ 0 w 1477233"/>
                <a:gd name="connsiteY4" fmla="*/ 0 h 921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7233" h="921364">
                  <a:moveTo>
                    <a:pt x="0" y="0"/>
                  </a:moveTo>
                  <a:lnTo>
                    <a:pt x="1477233" y="0"/>
                  </a:lnTo>
                  <a:lnTo>
                    <a:pt x="1477233" y="921364"/>
                  </a:lnTo>
                  <a:lnTo>
                    <a:pt x="0" y="921364"/>
                  </a:lnTo>
                  <a:lnTo>
                    <a:pt x="0" y="0"/>
                  </a:lnTo>
                  <a:close/>
                </a:path>
              </a:pathLst>
            </a:custGeom>
            <a:solidFill>
              <a:schemeClr val="bg1"/>
            </a:solidFill>
            <a:ln>
              <a:solidFill>
                <a:srgbClr val="FFC000"/>
              </a:solidFill>
            </a:ln>
          </p:spPr>
          <p:style>
            <a:lnRef idx="0">
              <a:scrgbClr r="0" g="0" b="0"/>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de-DE" sz="1400" kern="1200" dirty="0">
                  <a:solidFill>
                    <a:schemeClr val="tx1"/>
                  </a:solidFill>
                </a:rPr>
                <a:t>September: </a:t>
              </a:r>
              <a:r>
                <a:rPr lang="de-DE" sz="1400" b="1" kern="1200" dirty="0">
                  <a:solidFill>
                    <a:schemeClr val="tx1"/>
                  </a:solidFill>
                </a:rPr>
                <a:t>Präsentation für Club-Abende </a:t>
              </a:r>
              <a:r>
                <a:rPr lang="de-DE" sz="1400" kern="1200" dirty="0">
                  <a:solidFill>
                    <a:schemeClr val="tx1"/>
                  </a:solidFill>
                </a:rPr>
                <a:t>und Flyer</a:t>
              </a:r>
            </a:p>
          </p:txBody>
        </p:sp>
        <p:sp>
          <p:nvSpPr>
            <p:cNvPr id="12" name="Ellipse 11">
              <a:extLst>
                <a:ext uri="{FF2B5EF4-FFF2-40B4-BE49-F238E27FC236}">
                  <a16:creationId xmlns:a16="http://schemas.microsoft.com/office/drawing/2014/main" id="{B913A52D-2A5F-C257-11DA-9801CA293A51}"/>
                </a:ext>
              </a:extLst>
            </p:cNvPr>
            <p:cNvSpPr/>
            <p:nvPr/>
          </p:nvSpPr>
          <p:spPr>
            <a:xfrm>
              <a:off x="1852355" y="2566953"/>
              <a:ext cx="288000" cy="222344"/>
            </a:xfrm>
            <a:prstGeom prst="ellipse">
              <a:avLst/>
            </a:prstGeom>
            <a:solidFill>
              <a:schemeClr val="accent5">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e-DE" dirty="0"/>
            </a:p>
          </p:txBody>
        </p:sp>
        <p:sp>
          <p:nvSpPr>
            <p:cNvPr id="13" name="Ellipse 12">
              <a:extLst>
                <a:ext uri="{FF2B5EF4-FFF2-40B4-BE49-F238E27FC236}">
                  <a16:creationId xmlns:a16="http://schemas.microsoft.com/office/drawing/2014/main" id="{DBD137B7-DB33-A796-0412-A260EAA4C2F6}"/>
                </a:ext>
              </a:extLst>
            </p:cNvPr>
            <p:cNvSpPr/>
            <p:nvPr/>
          </p:nvSpPr>
          <p:spPr>
            <a:xfrm>
              <a:off x="5640409" y="2570662"/>
              <a:ext cx="288000" cy="222344"/>
            </a:xfrm>
            <a:prstGeom prst="ellipse">
              <a:avLst/>
            </a:prstGeom>
            <a:solidFill>
              <a:schemeClr val="accent5">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e-DE" dirty="0"/>
            </a:p>
          </p:txBody>
        </p:sp>
        <p:sp>
          <p:nvSpPr>
            <p:cNvPr id="14" name="Ellipse 13">
              <a:extLst>
                <a:ext uri="{FF2B5EF4-FFF2-40B4-BE49-F238E27FC236}">
                  <a16:creationId xmlns:a16="http://schemas.microsoft.com/office/drawing/2014/main" id="{4B8BB028-04E6-998D-75C1-37D259EB98DC}"/>
                </a:ext>
              </a:extLst>
            </p:cNvPr>
            <p:cNvSpPr/>
            <p:nvPr/>
          </p:nvSpPr>
          <p:spPr>
            <a:xfrm>
              <a:off x="3985827" y="2566953"/>
              <a:ext cx="288000" cy="222344"/>
            </a:xfrm>
            <a:prstGeom prst="ellipse">
              <a:avLst/>
            </a:prstGeom>
            <a:solidFill>
              <a:schemeClr val="accent5">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e-DE"/>
            </a:p>
          </p:txBody>
        </p:sp>
      </p:grpSp>
      <p:sp>
        <p:nvSpPr>
          <p:cNvPr id="15" name="Pfeil: nach unten 14">
            <a:extLst>
              <a:ext uri="{FF2B5EF4-FFF2-40B4-BE49-F238E27FC236}">
                <a16:creationId xmlns:a16="http://schemas.microsoft.com/office/drawing/2014/main" id="{E4BFC37B-055C-7F8A-FD2D-73DD186EFF4F}"/>
              </a:ext>
            </a:extLst>
          </p:cNvPr>
          <p:cNvSpPr/>
          <p:nvPr/>
        </p:nvSpPr>
        <p:spPr>
          <a:xfrm>
            <a:off x="7819711" y="3363813"/>
            <a:ext cx="340431" cy="375372"/>
          </a:xfrm>
          <a:prstGeom prst="downArrow">
            <a:avLst>
              <a:gd name="adj1" fmla="val 50000"/>
              <a:gd name="adj2" fmla="val 38636"/>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Freihandform: Form 15">
            <a:extLst>
              <a:ext uri="{FF2B5EF4-FFF2-40B4-BE49-F238E27FC236}">
                <a16:creationId xmlns:a16="http://schemas.microsoft.com/office/drawing/2014/main" id="{4DFB34C9-CF79-5CAC-F221-2A7FDD18021D}"/>
              </a:ext>
            </a:extLst>
          </p:cNvPr>
          <p:cNvSpPr/>
          <p:nvPr/>
        </p:nvSpPr>
        <p:spPr>
          <a:xfrm>
            <a:off x="6917435" y="1685955"/>
            <a:ext cx="2100378" cy="3925230"/>
          </a:xfrm>
          <a:custGeom>
            <a:avLst/>
            <a:gdLst>
              <a:gd name="connsiteX0" fmla="*/ 0 w 1056427"/>
              <a:gd name="connsiteY0" fmla="*/ 0 h 921364"/>
              <a:gd name="connsiteX1" fmla="*/ 1056427 w 1056427"/>
              <a:gd name="connsiteY1" fmla="*/ 0 h 921364"/>
              <a:gd name="connsiteX2" fmla="*/ 1056427 w 1056427"/>
              <a:gd name="connsiteY2" fmla="*/ 921364 h 921364"/>
              <a:gd name="connsiteX3" fmla="*/ 0 w 1056427"/>
              <a:gd name="connsiteY3" fmla="*/ 921364 h 921364"/>
              <a:gd name="connsiteX4" fmla="*/ 0 w 1056427"/>
              <a:gd name="connsiteY4" fmla="*/ 0 h 921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427" h="921364">
                <a:moveTo>
                  <a:pt x="0" y="0"/>
                </a:moveTo>
                <a:lnTo>
                  <a:pt x="1056427" y="0"/>
                </a:lnTo>
                <a:lnTo>
                  <a:pt x="1056427" y="921364"/>
                </a:lnTo>
                <a:lnTo>
                  <a:pt x="0" y="921364"/>
                </a:lnTo>
                <a:lnTo>
                  <a:pt x="0" y="0"/>
                </a:lnTo>
                <a:close/>
              </a:path>
            </a:pathLst>
          </a:custGeom>
          <a:ln w="149225">
            <a:solidFill>
              <a:srgbClr val="FF0000"/>
            </a:solidFill>
            <a:prstDash val="sysDash"/>
          </a:ln>
        </p:spPr>
        <p:style>
          <a:lnRef idx="0">
            <a:scrgbClr r="0" g="0" b="0"/>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 tIns="36000" rIns="36000" bIns="36000" numCol="1" spcCol="1270" anchor="b" anchorCtr="0">
            <a:noAutofit/>
          </a:bodyPr>
          <a:lstStyle/>
          <a:p>
            <a:pPr marL="0" lvl="0" indent="0" algn="ctr" defTabSz="622300">
              <a:lnSpc>
                <a:spcPct val="90000"/>
              </a:lnSpc>
              <a:spcBef>
                <a:spcPct val="0"/>
              </a:spcBef>
              <a:spcAft>
                <a:spcPct val="35000"/>
              </a:spcAft>
              <a:buNone/>
            </a:pPr>
            <a:endParaRPr lang="de-DE" kern="1200" dirty="0">
              <a:solidFill>
                <a:schemeClr val="tx1"/>
              </a:solidFill>
            </a:endParaRPr>
          </a:p>
          <a:p>
            <a:pPr marL="0" lvl="0" indent="0" algn="ctr" defTabSz="622300">
              <a:lnSpc>
                <a:spcPct val="90000"/>
              </a:lnSpc>
              <a:spcBef>
                <a:spcPct val="0"/>
              </a:spcBef>
              <a:spcAft>
                <a:spcPct val="35000"/>
              </a:spcAft>
              <a:buNone/>
            </a:pPr>
            <a:endParaRPr lang="de-DE" dirty="0">
              <a:solidFill>
                <a:schemeClr val="tx1"/>
              </a:solidFill>
            </a:endParaRPr>
          </a:p>
          <a:p>
            <a:pPr marL="0" lvl="0" indent="0" algn="ctr" defTabSz="622300">
              <a:lnSpc>
                <a:spcPct val="90000"/>
              </a:lnSpc>
              <a:spcBef>
                <a:spcPct val="0"/>
              </a:spcBef>
              <a:spcAft>
                <a:spcPct val="35000"/>
              </a:spcAft>
              <a:buNone/>
            </a:pPr>
            <a:r>
              <a:rPr lang="de-DE" kern="1200" dirty="0">
                <a:solidFill>
                  <a:schemeClr val="tx1"/>
                </a:solidFill>
              </a:rPr>
              <a:t>Ende Spendenmarathon Lichtblicke</a:t>
            </a:r>
          </a:p>
          <a:p>
            <a:pPr marL="0" lvl="0" indent="0" algn="ctr" defTabSz="622300">
              <a:lnSpc>
                <a:spcPct val="90000"/>
              </a:lnSpc>
              <a:spcBef>
                <a:spcPct val="0"/>
              </a:spcBef>
              <a:spcAft>
                <a:spcPct val="35000"/>
              </a:spcAft>
              <a:buNone/>
            </a:pPr>
            <a:endParaRPr lang="de-DE" kern="1200" dirty="0">
              <a:solidFill>
                <a:schemeClr val="tx1"/>
              </a:solidFill>
            </a:endParaRPr>
          </a:p>
          <a:p>
            <a:pPr marL="0" lvl="0" indent="0" algn="ctr" defTabSz="622300">
              <a:lnSpc>
                <a:spcPct val="90000"/>
              </a:lnSpc>
              <a:spcBef>
                <a:spcPts val="1200"/>
              </a:spcBef>
              <a:spcAft>
                <a:spcPts val="1800"/>
              </a:spcAft>
              <a:buNone/>
            </a:pPr>
            <a:r>
              <a:rPr lang="de-DE" kern="1200" dirty="0">
                <a:solidFill>
                  <a:schemeClr val="tx1"/>
                </a:solidFill>
              </a:rPr>
              <a:t> = </a:t>
            </a:r>
          </a:p>
          <a:p>
            <a:pPr marL="0" lvl="0" indent="0" algn="ctr" defTabSz="622300">
              <a:lnSpc>
                <a:spcPct val="90000"/>
              </a:lnSpc>
              <a:spcBef>
                <a:spcPct val="0"/>
              </a:spcBef>
              <a:spcAft>
                <a:spcPct val="35000"/>
              </a:spcAft>
              <a:buNone/>
            </a:pPr>
            <a:endParaRPr lang="de-DE" kern="1200" dirty="0">
              <a:solidFill>
                <a:schemeClr val="tx1"/>
              </a:solidFill>
            </a:endParaRPr>
          </a:p>
          <a:p>
            <a:pPr marL="0" lvl="0" indent="0" algn="ctr" defTabSz="622300">
              <a:lnSpc>
                <a:spcPct val="90000"/>
              </a:lnSpc>
              <a:spcBef>
                <a:spcPct val="0"/>
              </a:spcBef>
              <a:spcAft>
                <a:spcPct val="35000"/>
              </a:spcAft>
              <a:buNone/>
            </a:pPr>
            <a:r>
              <a:rPr lang="de-DE" kern="1200" dirty="0">
                <a:solidFill>
                  <a:schemeClr val="tx1"/>
                </a:solidFill>
              </a:rPr>
              <a:t>Beginn großflächiges Fundraising </a:t>
            </a:r>
            <a:br>
              <a:rPr lang="de-DE" kern="1200" dirty="0">
                <a:solidFill>
                  <a:schemeClr val="tx1"/>
                </a:solidFill>
              </a:rPr>
            </a:br>
            <a:r>
              <a:rPr lang="de-DE" b="1" kern="1200" dirty="0">
                <a:solidFill>
                  <a:schemeClr val="tx1"/>
                </a:solidFill>
              </a:rPr>
              <a:t>WaSH</a:t>
            </a:r>
          </a:p>
          <a:p>
            <a:pPr marL="0" lvl="0" indent="0" algn="ctr" defTabSz="622300">
              <a:lnSpc>
                <a:spcPct val="90000"/>
              </a:lnSpc>
              <a:spcBef>
                <a:spcPct val="0"/>
              </a:spcBef>
              <a:spcAft>
                <a:spcPct val="35000"/>
              </a:spcAft>
              <a:buNone/>
            </a:pPr>
            <a:endParaRPr lang="de-DE" b="1" kern="1200" dirty="0">
              <a:solidFill>
                <a:schemeClr val="tx1"/>
              </a:solidFill>
            </a:endParaRPr>
          </a:p>
        </p:txBody>
      </p:sp>
      <p:sp>
        <p:nvSpPr>
          <p:cNvPr id="17" name="Freihandform: Form 16">
            <a:extLst>
              <a:ext uri="{FF2B5EF4-FFF2-40B4-BE49-F238E27FC236}">
                <a16:creationId xmlns:a16="http://schemas.microsoft.com/office/drawing/2014/main" id="{F0E474B4-EB78-33D0-F0CB-01E5B70E0190}"/>
              </a:ext>
            </a:extLst>
          </p:cNvPr>
          <p:cNvSpPr/>
          <p:nvPr/>
        </p:nvSpPr>
        <p:spPr>
          <a:xfrm>
            <a:off x="199131" y="3999220"/>
            <a:ext cx="1355779" cy="1029369"/>
          </a:xfrm>
          <a:custGeom>
            <a:avLst/>
            <a:gdLst>
              <a:gd name="connsiteX0" fmla="*/ 0 w 1118777"/>
              <a:gd name="connsiteY0" fmla="*/ 0 h 921364"/>
              <a:gd name="connsiteX1" fmla="*/ 1118777 w 1118777"/>
              <a:gd name="connsiteY1" fmla="*/ 0 h 921364"/>
              <a:gd name="connsiteX2" fmla="*/ 1118777 w 1118777"/>
              <a:gd name="connsiteY2" fmla="*/ 921364 h 921364"/>
              <a:gd name="connsiteX3" fmla="*/ 0 w 1118777"/>
              <a:gd name="connsiteY3" fmla="*/ 921364 h 921364"/>
              <a:gd name="connsiteX4" fmla="*/ 0 w 1118777"/>
              <a:gd name="connsiteY4" fmla="*/ 0 h 921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777" h="921364">
                <a:moveTo>
                  <a:pt x="0" y="0"/>
                </a:moveTo>
                <a:lnTo>
                  <a:pt x="1118777" y="0"/>
                </a:lnTo>
                <a:lnTo>
                  <a:pt x="1118777" y="921364"/>
                </a:lnTo>
                <a:lnTo>
                  <a:pt x="0" y="921364"/>
                </a:lnTo>
                <a:lnTo>
                  <a:pt x="0" y="0"/>
                </a:lnTo>
                <a:close/>
              </a:path>
            </a:pathLst>
          </a:custGeom>
          <a:ln>
            <a:solidFill>
              <a:srgbClr val="FFC000"/>
            </a:solidFill>
          </a:ln>
        </p:spPr>
        <p:style>
          <a:lnRef idx="0">
            <a:scrgbClr r="0" g="0" b="0"/>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de-DE" sz="1400" kern="1200" dirty="0">
                <a:solidFill>
                  <a:schemeClr val="tx1"/>
                </a:solidFill>
              </a:rPr>
              <a:t>Mai: Voranmeldung des Projekts bei BMZ</a:t>
            </a:r>
          </a:p>
        </p:txBody>
      </p:sp>
      <p:sp>
        <p:nvSpPr>
          <p:cNvPr id="18" name="Freihandform: Form 17">
            <a:extLst>
              <a:ext uri="{FF2B5EF4-FFF2-40B4-BE49-F238E27FC236}">
                <a16:creationId xmlns:a16="http://schemas.microsoft.com/office/drawing/2014/main" id="{8D8B43DB-B6F7-CBFE-A53B-FFD777325D57}"/>
              </a:ext>
            </a:extLst>
          </p:cNvPr>
          <p:cNvSpPr/>
          <p:nvPr/>
        </p:nvSpPr>
        <p:spPr>
          <a:xfrm>
            <a:off x="5077536" y="2334062"/>
            <a:ext cx="1526603" cy="757032"/>
          </a:xfrm>
          <a:custGeom>
            <a:avLst/>
            <a:gdLst>
              <a:gd name="connsiteX0" fmla="*/ 0 w 1118777"/>
              <a:gd name="connsiteY0" fmla="*/ 0 h 921364"/>
              <a:gd name="connsiteX1" fmla="*/ 1118777 w 1118777"/>
              <a:gd name="connsiteY1" fmla="*/ 0 h 921364"/>
              <a:gd name="connsiteX2" fmla="*/ 1118777 w 1118777"/>
              <a:gd name="connsiteY2" fmla="*/ 921364 h 921364"/>
              <a:gd name="connsiteX3" fmla="*/ 0 w 1118777"/>
              <a:gd name="connsiteY3" fmla="*/ 921364 h 921364"/>
              <a:gd name="connsiteX4" fmla="*/ 0 w 1118777"/>
              <a:gd name="connsiteY4" fmla="*/ 0 h 921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777" h="921364">
                <a:moveTo>
                  <a:pt x="0" y="0"/>
                </a:moveTo>
                <a:lnTo>
                  <a:pt x="1118777" y="0"/>
                </a:lnTo>
                <a:lnTo>
                  <a:pt x="1118777" y="921364"/>
                </a:lnTo>
                <a:lnTo>
                  <a:pt x="0" y="921364"/>
                </a:lnTo>
                <a:lnTo>
                  <a:pt x="0" y="0"/>
                </a:lnTo>
                <a:close/>
              </a:path>
            </a:pathLst>
          </a:custGeom>
          <a:ln>
            <a:solidFill>
              <a:srgbClr val="FFC000"/>
            </a:solidFill>
          </a:ln>
        </p:spPr>
        <p:style>
          <a:lnRef idx="0">
            <a:scrgbClr r="0" g="0" b="0"/>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de-DE" sz="1400" kern="1200" dirty="0">
                <a:solidFill>
                  <a:schemeClr val="tx1"/>
                </a:solidFill>
              </a:rPr>
              <a:t>November: Planungs-Reise auf </a:t>
            </a:r>
            <a:r>
              <a:rPr lang="de-DE" sz="1400" kern="1200" dirty="0" err="1">
                <a:solidFill>
                  <a:schemeClr val="tx1"/>
                </a:solidFill>
              </a:rPr>
              <a:t>Social</a:t>
            </a:r>
            <a:r>
              <a:rPr lang="de-DE" sz="1400" kern="1200" dirty="0">
                <a:solidFill>
                  <a:schemeClr val="tx1"/>
                </a:solidFill>
              </a:rPr>
              <a:t> Media</a:t>
            </a:r>
          </a:p>
        </p:txBody>
      </p:sp>
      <p:sp>
        <p:nvSpPr>
          <p:cNvPr id="19" name="Freihandform: Form 18">
            <a:extLst>
              <a:ext uri="{FF2B5EF4-FFF2-40B4-BE49-F238E27FC236}">
                <a16:creationId xmlns:a16="http://schemas.microsoft.com/office/drawing/2014/main" id="{72B6BF15-1A06-FA51-12EC-B35DCC5F26D2}"/>
              </a:ext>
            </a:extLst>
          </p:cNvPr>
          <p:cNvSpPr/>
          <p:nvPr/>
        </p:nvSpPr>
        <p:spPr>
          <a:xfrm>
            <a:off x="1124120" y="2256017"/>
            <a:ext cx="1395467" cy="829667"/>
          </a:xfrm>
          <a:custGeom>
            <a:avLst/>
            <a:gdLst>
              <a:gd name="connsiteX0" fmla="*/ 0 w 1303873"/>
              <a:gd name="connsiteY0" fmla="*/ 0 h 921364"/>
              <a:gd name="connsiteX1" fmla="*/ 1303873 w 1303873"/>
              <a:gd name="connsiteY1" fmla="*/ 0 h 921364"/>
              <a:gd name="connsiteX2" fmla="*/ 1303873 w 1303873"/>
              <a:gd name="connsiteY2" fmla="*/ 921364 h 921364"/>
              <a:gd name="connsiteX3" fmla="*/ 0 w 1303873"/>
              <a:gd name="connsiteY3" fmla="*/ 921364 h 921364"/>
              <a:gd name="connsiteX4" fmla="*/ 0 w 1303873"/>
              <a:gd name="connsiteY4" fmla="*/ 0 h 921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873" h="921364">
                <a:moveTo>
                  <a:pt x="0" y="0"/>
                </a:moveTo>
                <a:lnTo>
                  <a:pt x="1303873" y="0"/>
                </a:lnTo>
                <a:lnTo>
                  <a:pt x="1303873" y="921364"/>
                </a:lnTo>
                <a:lnTo>
                  <a:pt x="0" y="921364"/>
                </a:lnTo>
                <a:lnTo>
                  <a:pt x="0" y="0"/>
                </a:lnTo>
                <a:close/>
              </a:path>
            </a:pathLst>
          </a:custGeom>
          <a:ln>
            <a:solidFill>
              <a:srgbClr val="FFC000"/>
            </a:solidFill>
          </a:ln>
        </p:spPr>
        <p:style>
          <a:lnRef idx="0">
            <a:scrgbClr r="0" g="0" b="0"/>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e-DE" sz="1400" kern="1200" dirty="0">
                <a:solidFill>
                  <a:schemeClr val="tx1"/>
                </a:solidFill>
              </a:rPr>
              <a:t>Juli/August </a:t>
            </a:r>
          </a:p>
          <a:p>
            <a:pPr marL="0" lvl="0" indent="0" algn="ctr" defTabSz="622300">
              <a:lnSpc>
                <a:spcPct val="90000"/>
              </a:lnSpc>
              <a:spcBef>
                <a:spcPct val="0"/>
              </a:spcBef>
              <a:spcAft>
                <a:spcPct val="35000"/>
              </a:spcAft>
              <a:buNone/>
            </a:pPr>
            <a:r>
              <a:rPr lang="de-DE" sz="1400" kern="1200" dirty="0">
                <a:solidFill>
                  <a:schemeClr val="tx1"/>
                </a:solidFill>
              </a:rPr>
              <a:t>Erste Infos auf der Webseite</a:t>
            </a:r>
          </a:p>
        </p:txBody>
      </p:sp>
      <p:cxnSp>
        <p:nvCxnSpPr>
          <p:cNvPr id="20" name="Gerader Verbinder 19">
            <a:extLst>
              <a:ext uri="{FF2B5EF4-FFF2-40B4-BE49-F238E27FC236}">
                <a16:creationId xmlns:a16="http://schemas.microsoft.com/office/drawing/2014/main" id="{EC6FA26E-7443-95C8-D258-D829318AF77B}"/>
              </a:ext>
            </a:extLst>
          </p:cNvPr>
          <p:cNvCxnSpPr>
            <a:cxnSpLocks/>
          </p:cNvCxnSpPr>
          <p:nvPr/>
        </p:nvCxnSpPr>
        <p:spPr>
          <a:xfrm>
            <a:off x="2732933" y="1253554"/>
            <a:ext cx="0" cy="4656221"/>
          </a:xfrm>
          <a:prstGeom prst="line">
            <a:avLst/>
          </a:prstGeom>
          <a:ln w="571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ECCAB3A1-18EC-A4F5-0894-31FE01AAAF4C}"/>
              </a:ext>
            </a:extLst>
          </p:cNvPr>
          <p:cNvSpPr txBox="1"/>
          <p:nvPr/>
        </p:nvSpPr>
        <p:spPr>
          <a:xfrm>
            <a:off x="284501" y="1118663"/>
            <a:ext cx="2540818" cy="923330"/>
          </a:xfrm>
          <a:prstGeom prst="rect">
            <a:avLst/>
          </a:prstGeom>
          <a:solidFill>
            <a:schemeClr val="accent1"/>
          </a:solidFill>
          <a:ln w="19050"/>
        </p:spPr>
        <p:style>
          <a:lnRef idx="2">
            <a:schemeClr val="accent6"/>
          </a:lnRef>
          <a:fillRef idx="1">
            <a:schemeClr val="lt1"/>
          </a:fillRef>
          <a:effectRef idx="0">
            <a:schemeClr val="accent6"/>
          </a:effectRef>
          <a:fontRef idx="minor">
            <a:schemeClr val="dk1"/>
          </a:fontRef>
        </p:style>
        <p:txBody>
          <a:bodyPr wrap="square" rtlCol="0">
            <a:spAutoFit/>
          </a:bodyPr>
          <a:lstStyle/>
          <a:p>
            <a:r>
              <a:rPr lang="de-DE" dirty="0">
                <a:solidFill>
                  <a:schemeClr val="bg1"/>
                </a:solidFill>
              </a:rPr>
              <a:t>Club-Versammlungen mit Entscheidung über unterstütze Projekte</a:t>
            </a:r>
          </a:p>
        </p:txBody>
      </p:sp>
      <p:pic>
        <p:nvPicPr>
          <p:cNvPr id="22" name="Grafik 21">
            <a:extLst>
              <a:ext uri="{FF2B5EF4-FFF2-40B4-BE49-F238E27FC236}">
                <a16:creationId xmlns:a16="http://schemas.microsoft.com/office/drawing/2014/main" id="{6FDCEA4E-F884-21FB-7CEE-E2610FED314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90193">
            <a:off x="2773347" y="3659315"/>
            <a:ext cx="1314597" cy="2782162"/>
          </a:xfrm>
          <a:prstGeom prst="rect">
            <a:avLst/>
          </a:prstGeom>
          <a:ln>
            <a:solidFill>
              <a:srgbClr val="00338D"/>
            </a:solidFill>
          </a:ln>
        </p:spPr>
      </p:pic>
      <p:pic>
        <p:nvPicPr>
          <p:cNvPr id="23" name="Grafik 22">
            <a:extLst>
              <a:ext uri="{FF2B5EF4-FFF2-40B4-BE49-F238E27FC236}">
                <a16:creationId xmlns:a16="http://schemas.microsoft.com/office/drawing/2014/main" id="{15B1E624-DE5A-4986-2E17-E2632933BC92}"/>
              </a:ext>
            </a:extLst>
          </p:cNvPr>
          <p:cNvPicPr>
            <a:picLocks noChangeAspect="1"/>
          </p:cNvPicPr>
          <p:nvPr/>
        </p:nvPicPr>
        <p:blipFill>
          <a:blip r:embed="rId3" cstate="screen">
            <a:extLst>
              <a:ext uri="{28A0092B-C50C-407E-A947-70E740481C1C}">
                <a14:useLocalDpi xmlns:a14="http://schemas.microsoft.com/office/drawing/2010/main"/>
              </a:ext>
            </a:extLst>
          </a:blip>
          <a:srcRect r="48624"/>
          <a:stretch/>
        </p:blipFill>
        <p:spPr>
          <a:xfrm rot="20741910">
            <a:off x="4606584" y="4021088"/>
            <a:ext cx="1921571" cy="1884780"/>
          </a:xfrm>
          <a:prstGeom prst="rect">
            <a:avLst/>
          </a:prstGeom>
        </p:spPr>
      </p:pic>
      <p:pic>
        <p:nvPicPr>
          <p:cNvPr id="25" name="Grafik 24">
            <a:extLst>
              <a:ext uri="{FF2B5EF4-FFF2-40B4-BE49-F238E27FC236}">
                <a16:creationId xmlns:a16="http://schemas.microsoft.com/office/drawing/2014/main" id="{EBCD181E-4CBF-F678-4BB3-11A41939D993}"/>
              </a:ext>
            </a:extLst>
          </p:cNvPr>
          <p:cNvPicPr>
            <a:picLocks noChangeAspect="1"/>
          </p:cNvPicPr>
          <p:nvPr/>
        </p:nvPicPr>
        <p:blipFill>
          <a:blip r:embed="rId4"/>
          <a:stretch>
            <a:fillRect/>
          </a:stretch>
        </p:blipFill>
        <p:spPr>
          <a:xfrm>
            <a:off x="4818333" y="5611185"/>
            <a:ext cx="682716" cy="658114"/>
          </a:xfrm>
          <a:prstGeom prst="rect">
            <a:avLst/>
          </a:prstGeom>
        </p:spPr>
      </p:pic>
      <p:pic>
        <p:nvPicPr>
          <p:cNvPr id="26" name="Grafik 25">
            <a:extLst>
              <a:ext uri="{FF2B5EF4-FFF2-40B4-BE49-F238E27FC236}">
                <a16:creationId xmlns:a16="http://schemas.microsoft.com/office/drawing/2014/main" id="{949A7308-8332-DCA2-1E29-EE8DD087C411}"/>
              </a:ext>
            </a:extLst>
          </p:cNvPr>
          <p:cNvPicPr>
            <a:picLocks noChangeAspect="1"/>
          </p:cNvPicPr>
          <p:nvPr/>
        </p:nvPicPr>
        <p:blipFill>
          <a:blip r:embed="rId5"/>
          <a:stretch>
            <a:fillRect/>
          </a:stretch>
        </p:blipFill>
        <p:spPr>
          <a:xfrm>
            <a:off x="6035151" y="4080060"/>
            <a:ext cx="686642" cy="629620"/>
          </a:xfrm>
          <a:prstGeom prst="rect">
            <a:avLst/>
          </a:prstGeom>
        </p:spPr>
      </p:pic>
      <p:pic>
        <p:nvPicPr>
          <p:cNvPr id="27" name="Grafik 26">
            <a:extLst>
              <a:ext uri="{FF2B5EF4-FFF2-40B4-BE49-F238E27FC236}">
                <a16:creationId xmlns:a16="http://schemas.microsoft.com/office/drawing/2014/main" id="{897714CA-419B-4389-C8E3-B3852CFE6062}"/>
              </a:ext>
            </a:extLst>
          </p:cNvPr>
          <p:cNvPicPr>
            <a:picLocks noChangeAspect="1"/>
          </p:cNvPicPr>
          <p:nvPr/>
        </p:nvPicPr>
        <p:blipFill>
          <a:blip r:embed="rId6"/>
          <a:stretch>
            <a:fillRect/>
          </a:stretch>
        </p:blipFill>
        <p:spPr>
          <a:xfrm>
            <a:off x="4302094" y="4008063"/>
            <a:ext cx="682717" cy="641436"/>
          </a:xfrm>
          <a:prstGeom prst="rect">
            <a:avLst/>
          </a:prstGeom>
        </p:spPr>
      </p:pic>
      <p:pic>
        <p:nvPicPr>
          <p:cNvPr id="28" name="Grafik 27">
            <a:extLst>
              <a:ext uri="{FF2B5EF4-FFF2-40B4-BE49-F238E27FC236}">
                <a16:creationId xmlns:a16="http://schemas.microsoft.com/office/drawing/2014/main" id="{6B59C352-F199-50D3-7F9F-1089FE45ADA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867401" y="1470354"/>
            <a:ext cx="1689636" cy="377990"/>
          </a:xfrm>
          <a:prstGeom prst="rect">
            <a:avLst/>
          </a:prstGeom>
        </p:spPr>
      </p:pic>
      <p:sp>
        <p:nvSpPr>
          <p:cNvPr id="31" name="Footer Placeholder 10">
            <a:extLst>
              <a:ext uri="{FF2B5EF4-FFF2-40B4-BE49-F238E27FC236}">
                <a16:creationId xmlns:a16="http://schemas.microsoft.com/office/drawing/2014/main" id="{A62BC0D9-D89E-D011-C7F3-B81BF8F30102}"/>
              </a:ext>
            </a:extLst>
          </p:cNvPr>
          <p:cNvSpPr>
            <a:spLocks noGrp="1"/>
          </p:cNvSpPr>
          <p:nvPr>
            <p:ph type="ftr" sz="quarter" idx="3"/>
          </p:nvPr>
        </p:nvSpPr>
        <p:spPr>
          <a:xfrm>
            <a:off x="3313471" y="6299200"/>
            <a:ext cx="5565058" cy="365125"/>
          </a:xfrm>
        </p:spPr>
        <p:txBody>
          <a:bodyPr/>
          <a:lstStyle/>
          <a:p>
            <a:r>
              <a:rPr lang="de-DE" dirty="0"/>
              <a:t>Titel des Vortrags, Name des Referenten, Veranstaltung, Datum</a:t>
            </a:r>
            <a:endParaRPr lang="en-GB" dirty="0"/>
          </a:p>
        </p:txBody>
      </p:sp>
      <p:sp>
        <p:nvSpPr>
          <p:cNvPr id="32" name="Freihandform: Form 31">
            <a:extLst>
              <a:ext uri="{FF2B5EF4-FFF2-40B4-BE49-F238E27FC236}">
                <a16:creationId xmlns:a16="http://schemas.microsoft.com/office/drawing/2014/main" id="{97F5A69E-8114-0BE2-98C0-ED906EAFD3C4}"/>
              </a:ext>
            </a:extLst>
          </p:cNvPr>
          <p:cNvSpPr/>
          <p:nvPr/>
        </p:nvSpPr>
        <p:spPr>
          <a:xfrm>
            <a:off x="9984224" y="595616"/>
            <a:ext cx="2040945" cy="1754326"/>
          </a:xfrm>
          <a:custGeom>
            <a:avLst/>
            <a:gdLst>
              <a:gd name="connsiteX0" fmla="*/ 0 w 1592510"/>
              <a:gd name="connsiteY0" fmla="*/ 0 h 921364"/>
              <a:gd name="connsiteX1" fmla="*/ 1592510 w 1592510"/>
              <a:gd name="connsiteY1" fmla="*/ 0 h 921364"/>
              <a:gd name="connsiteX2" fmla="*/ 1592510 w 1592510"/>
              <a:gd name="connsiteY2" fmla="*/ 921364 h 921364"/>
              <a:gd name="connsiteX3" fmla="*/ 0 w 1592510"/>
              <a:gd name="connsiteY3" fmla="*/ 921364 h 921364"/>
              <a:gd name="connsiteX4" fmla="*/ 0 w 1592510"/>
              <a:gd name="connsiteY4" fmla="*/ 0 h 921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2510" h="921364">
                <a:moveTo>
                  <a:pt x="0" y="0"/>
                </a:moveTo>
                <a:lnTo>
                  <a:pt x="1592510" y="0"/>
                </a:lnTo>
                <a:lnTo>
                  <a:pt x="1592510" y="921364"/>
                </a:lnTo>
                <a:lnTo>
                  <a:pt x="0" y="921364"/>
                </a:lnTo>
                <a:lnTo>
                  <a:pt x="0" y="0"/>
                </a:lnTo>
                <a:close/>
              </a:path>
            </a:pathLst>
          </a:custGeom>
          <a:solidFill>
            <a:schemeClr val="accent1"/>
          </a:solidFill>
          <a:ln w="19050"/>
        </p:spPr>
        <p:style>
          <a:lnRef idx="2">
            <a:schemeClr val="accent6"/>
          </a:lnRef>
          <a:fillRef idx="1">
            <a:schemeClr val="lt1"/>
          </a:fillRef>
          <a:effectRef idx="0">
            <a:schemeClr val="accent6"/>
          </a:effectRef>
          <a:fontRef idx="minor">
            <a:schemeClr val="dk1"/>
          </a:fontRef>
        </p:style>
        <p:txBody>
          <a:bodyPr wrap="square" rtlCol="0">
            <a:spAutoFit/>
          </a:bodyPr>
          <a:lstStyle/>
          <a:p>
            <a:r>
              <a:rPr lang="de-DE" dirty="0">
                <a:solidFill>
                  <a:schemeClr val="bg1"/>
                </a:solidFill>
              </a:rPr>
              <a:t>Anfang Dezember: </a:t>
            </a:r>
            <a:r>
              <a:rPr lang="de-DE" b="1" dirty="0">
                <a:solidFill>
                  <a:schemeClr val="bg1"/>
                </a:solidFill>
              </a:rPr>
              <a:t>Weihnachtspost des GRV </a:t>
            </a:r>
            <a:r>
              <a:rPr lang="de-DE" dirty="0">
                <a:solidFill>
                  <a:schemeClr val="bg1"/>
                </a:solidFill>
              </a:rPr>
              <a:t>mit Spendenaufruf an alle </a:t>
            </a:r>
            <a:r>
              <a:rPr lang="de-DE" b="1" dirty="0">
                <a:solidFill>
                  <a:schemeClr val="bg1"/>
                </a:solidFill>
              </a:rPr>
              <a:t>Lions Privat</a:t>
            </a:r>
          </a:p>
        </p:txBody>
      </p:sp>
      <p:pic>
        <p:nvPicPr>
          <p:cNvPr id="33" name="Grafik 32">
            <a:extLst>
              <a:ext uri="{FF2B5EF4-FFF2-40B4-BE49-F238E27FC236}">
                <a16:creationId xmlns:a16="http://schemas.microsoft.com/office/drawing/2014/main" id="{CDF15C7B-86D2-E449-6DA6-11FDE14EDF2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rot="776414">
            <a:off x="9575427" y="2709635"/>
            <a:ext cx="2483568" cy="3454927"/>
          </a:xfrm>
          <a:prstGeom prst="rect">
            <a:avLst/>
          </a:prstGeom>
          <a:ln>
            <a:solidFill>
              <a:srgbClr val="00338D"/>
            </a:solidFill>
          </a:ln>
        </p:spPr>
      </p:pic>
      <p:pic>
        <p:nvPicPr>
          <p:cNvPr id="24" name="Grafik 23">
            <a:extLst>
              <a:ext uri="{FF2B5EF4-FFF2-40B4-BE49-F238E27FC236}">
                <a16:creationId xmlns:a16="http://schemas.microsoft.com/office/drawing/2014/main" id="{F8921A23-8ED5-4545-8FA1-226576A6EB7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246871" y="4801915"/>
            <a:ext cx="1416194" cy="1916615"/>
          </a:xfrm>
          <a:prstGeom prst="rect">
            <a:avLst/>
          </a:prstGeom>
        </p:spPr>
      </p:pic>
    </p:spTree>
    <p:extLst>
      <p:ext uri="{BB962C8B-B14F-4D97-AF65-F5344CB8AC3E}">
        <p14:creationId xmlns:p14="http://schemas.microsoft.com/office/powerpoint/2010/main" val="22395530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112DD23-FC20-71F5-27BF-DA00DC6E2FA4}"/>
              </a:ext>
            </a:extLst>
          </p:cNvPr>
          <p:cNvSpPr>
            <a:spLocks noGrp="1"/>
          </p:cNvSpPr>
          <p:nvPr>
            <p:ph type="body" sz="quarter" idx="17"/>
          </p:nvPr>
        </p:nvSpPr>
        <p:spPr/>
        <p:txBody>
          <a:bodyPr/>
          <a:lstStyle/>
          <a:p>
            <a:r>
              <a:rPr lang="de-DE" dirty="0"/>
              <a:t>Warum WaSH?</a:t>
            </a:r>
          </a:p>
        </p:txBody>
      </p:sp>
    </p:spTree>
    <p:extLst>
      <p:ext uri="{BB962C8B-B14F-4D97-AF65-F5344CB8AC3E}">
        <p14:creationId xmlns:p14="http://schemas.microsoft.com/office/powerpoint/2010/main" val="1980678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23466752-5B2A-243D-8E18-636FBB0C1C86}"/>
              </a:ext>
            </a:extLst>
          </p:cNvPr>
          <p:cNvSpPr>
            <a:spLocks noGrp="1"/>
          </p:cNvSpPr>
          <p:nvPr>
            <p:ph type="body" sz="quarter" idx="10"/>
          </p:nvPr>
        </p:nvSpPr>
        <p:spPr/>
        <p:txBody>
          <a:bodyPr/>
          <a:lstStyle/>
          <a:p>
            <a:r>
              <a:rPr lang="de-DE" dirty="0"/>
              <a:t>Immer auf dem Laufenden bleiben:</a:t>
            </a:r>
          </a:p>
        </p:txBody>
      </p:sp>
      <p:sp>
        <p:nvSpPr>
          <p:cNvPr id="5" name="Fußzeilenplatzhalter 4">
            <a:extLst>
              <a:ext uri="{FF2B5EF4-FFF2-40B4-BE49-F238E27FC236}">
                <a16:creationId xmlns:a16="http://schemas.microsoft.com/office/drawing/2014/main" id="{9990ABFD-3218-4B48-9900-958558E9538E}"/>
              </a:ext>
            </a:extLst>
          </p:cNvPr>
          <p:cNvSpPr>
            <a:spLocks noGrp="1"/>
          </p:cNvSpPr>
          <p:nvPr>
            <p:ph type="ftr" sz="quarter" idx="3"/>
          </p:nvPr>
        </p:nvSpPr>
        <p:spPr/>
        <p:txBody>
          <a:bodyPr/>
          <a:lstStyle/>
          <a:p>
            <a:r>
              <a:rPr lang="de-DE"/>
              <a:t>Lions für WaSH - Wasser ist Leben</a:t>
            </a:r>
            <a:endParaRPr lang="de-DE" dirty="0"/>
          </a:p>
        </p:txBody>
      </p:sp>
      <p:sp>
        <p:nvSpPr>
          <p:cNvPr id="7" name="Textfeld 6">
            <a:extLst>
              <a:ext uri="{FF2B5EF4-FFF2-40B4-BE49-F238E27FC236}">
                <a16:creationId xmlns:a16="http://schemas.microsoft.com/office/drawing/2014/main" id="{67DC00BA-31CF-FF7D-A223-5548B0574457}"/>
              </a:ext>
            </a:extLst>
          </p:cNvPr>
          <p:cNvSpPr txBox="1"/>
          <p:nvPr/>
        </p:nvSpPr>
        <p:spPr>
          <a:xfrm>
            <a:off x="399685" y="1531345"/>
            <a:ext cx="4390946" cy="646331"/>
          </a:xfrm>
          <a:prstGeom prst="rect">
            <a:avLst/>
          </a:prstGeom>
          <a:noFill/>
        </p:spPr>
        <p:txBody>
          <a:bodyPr wrap="none" rtlCol="0">
            <a:spAutoFit/>
          </a:bodyPr>
          <a:lstStyle/>
          <a:p>
            <a:r>
              <a:rPr lang="de-DE" dirty="0"/>
              <a:t>Jetzt zum Projekte-Newsletter anmelden:</a:t>
            </a:r>
          </a:p>
          <a:p>
            <a:r>
              <a:rPr lang="de-DE" dirty="0">
                <a:solidFill>
                  <a:srgbClr val="407CCA"/>
                </a:solidFill>
                <a:hlinkClick r:id="rId2">
                  <a:extLst>
                    <a:ext uri="{A12FA001-AC4F-418D-AE19-62706E023703}">
                      <ahyp:hlinkClr xmlns:ahyp="http://schemas.microsoft.com/office/drawing/2018/hyperlinkcolor" val="tx"/>
                    </a:ext>
                  </a:extLst>
                </a:hlinkClick>
              </a:rPr>
              <a:t>https://newsletter.lions.de</a:t>
            </a:r>
            <a:endParaRPr lang="de-DE" dirty="0">
              <a:solidFill>
                <a:srgbClr val="407CCA"/>
              </a:solidFill>
            </a:endParaRPr>
          </a:p>
        </p:txBody>
      </p:sp>
      <p:pic>
        <p:nvPicPr>
          <p:cNvPr id="10" name="Grafik 9">
            <a:extLst>
              <a:ext uri="{FF2B5EF4-FFF2-40B4-BE49-F238E27FC236}">
                <a16:creationId xmlns:a16="http://schemas.microsoft.com/office/drawing/2014/main" id="{13ED7D6F-2471-033A-BCC9-5DC7732DCD2D}"/>
              </a:ext>
            </a:extLst>
          </p:cNvPr>
          <p:cNvPicPr>
            <a:picLocks noChangeAspect="1"/>
          </p:cNvPicPr>
          <p:nvPr/>
        </p:nvPicPr>
        <p:blipFill>
          <a:blip r:embed="rId3"/>
          <a:stretch>
            <a:fillRect/>
          </a:stretch>
        </p:blipFill>
        <p:spPr>
          <a:xfrm>
            <a:off x="304542" y="2654378"/>
            <a:ext cx="11406388" cy="3401906"/>
          </a:xfrm>
          <a:prstGeom prst="rect">
            <a:avLst/>
          </a:prstGeom>
        </p:spPr>
      </p:pic>
      <p:pic>
        <p:nvPicPr>
          <p:cNvPr id="12" name="Grafik 11" descr="Ein Bild, das Text, Computer, Screenshot, Website enthält.&#10;&#10;Automatisch generierte Beschreibung">
            <a:extLst>
              <a:ext uri="{FF2B5EF4-FFF2-40B4-BE49-F238E27FC236}">
                <a16:creationId xmlns:a16="http://schemas.microsoft.com/office/drawing/2014/main" id="{67C3E704-A802-E187-0D9D-26AE2865BAA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rot="839086">
            <a:off x="8006711" y="750388"/>
            <a:ext cx="2832876" cy="5357221"/>
          </a:xfrm>
          <a:prstGeom prst="rect">
            <a:avLst/>
          </a:prstGeom>
        </p:spPr>
      </p:pic>
    </p:spTree>
    <p:extLst>
      <p:ext uri="{BB962C8B-B14F-4D97-AF65-F5344CB8AC3E}">
        <p14:creationId xmlns:p14="http://schemas.microsoft.com/office/powerpoint/2010/main" val="2138945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10">
            <a:extLst>
              <a:ext uri="{FF2B5EF4-FFF2-40B4-BE49-F238E27FC236}">
                <a16:creationId xmlns:a16="http://schemas.microsoft.com/office/drawing/2014/main" id="{1DDEDD06-5352-5C59-6994-2633E1AB11B2}"/>
              </a:ext>
            </a:extLst>
          </p:cNvPr>
          <p:cNvSpPr/>
          <p:nvPr/>
        </p:nvSpPr>
        <p:spPr>
          <a:xfrm>
            <a:off x="4527933" y="3610125"/>
            <a:ext cx="2969722" cy="1980635"/>
          </a:xfrm>
          <a:prstGeom prst="roundRect">
            <a:avLst>
              <a:gd name="adj" fmla="val 179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black"/>
              </a:solidFill>
              <a:latin typeface="Arial"/>
            </a:endParaRPr>
          </a:p>
        </p:txBody>
      </p:sp>
      <p:sp>
        <p:nvSpPr>
          <p:cNvPr id="15" name="Rectangle: Rounded Corners 10">
            <a:extLst>
              <a:ext uri="{FF2B5EF4-FFF2-40B4-BE49-F238E27FC236}">
                <a16:creationId xmlns:a16="http://schemas.microsoft.com/office/drawing/2014/main" id="{E8EDC944-838A-AB31-544D-D05329F59696}"/>
              </a:ext>
            </a:extLst>
          </p:cNvPr>
          <p:cNvSpPr/>
          <p:nvPr/>
        </p:nvSpPr>
        <p:spPr>
          <a:xfrm>
            <a:off x="323129" y="3608023"/>
            <a:ext cx="3784362" cy="1980635"/>
          </a:xfrm>
          <a:prstGeom prst="roundRect">
            <a:avLst>
              <a:gd name="adj" fmla="val 179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black"/>
              </a:solidFill>
              <a:latin typeface="Arial"/>
            </a:endParaRPr>
          </a:p>
        </p:txBody>
      </p:sp>
      <p:sp>
        <p:nvSpPr>
          <p:cNvPr id="14" name="Rectangle: Rounded Corners 10">
            <a:extLst>
              <a:ext uri="{FF2B5EF4-FFF2-40B4-BE49-F238E27FC236}">
                <a16:creationId xmlns:a16="http://schemas.microsoft.com/office/drawing/2014/main" id="{0264A636-1D78-6095-9B8D-907D5AC27F05}"/>
              </a:ext>
            </a:extLst>
          </p:cNvPr>
          <p:cNvSpPr/>
          <p:nvPr/>
        </p:nvSpPr>
        <p:spPr>
          <a:xfrm>
            <a:off x="323129" y="1269341"/>
            <a:ext cx="7174526" cy="2159659"/>
          </a:xfrm>
          <a:prstGeom prst="roundRect">
            <a:avLst>
              <a:gd name="adj" fmla="val 179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black"/>
              </a:solidFill>
              <a:latin typeface="Arial"/>
            </a:endParaRPr>
          </a:p>
        </p:txBody>
      </p:sp>
      <p:pic>
        <p:nvPicPr>
          <p:cNvPr id="9" name="Grafik 8">
            <a:extLst>
              <a:ext uri="{FF2B5EF4-FFF2-40B4-BE49-F238E27FC236}">
                <a16:creationId xmlns:a16="http://schemas.microsoft.com/office/drawing/2014/main" id="{3690412C-9A80-4B60-85CB-5E8D8474F2D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005672" y="484506"/>
            <a:ext cx="3783625" cy="3932944"/>
          </a:xfrm>
          <a:prstGeom prst="roundRect">
            <a:avLst>
              <a:gd name="adj" fmla="val 3172"/>
            </a:avLst>
          </a:prstGeom>
          <a:solidFill>
            <a:schemeClr val="bg2"/>
          </a:solidFill>
          <a:ln w="165100" cap="flat">
            <a:solidFill>
              <a:schemeClr val="bg1"/>
            </a:solidFill>
            <a:prstDash val="solid"/>
            <a:miter/>
          </a:ln>
          <a:effectLst>
            <a:outerShdw blurRad="444500" dist="190500" dir="5400000" algn="t" rotWithShape="0">
              <a:prstClr val="black">
                <a:alpha val="10000"/>
              </a:prstClr>
            </a:outerShdw>
          </a:effectLst>
        </p:spPr>
      </p:pic>
      <p:sp>
        <p:nvSpPr>
          <p:cNvPr id="13" name="Textplatzhalter 12">
            <a:extLst>
              <a:ext uri="{FF2B5EF4-FFF2-40B4-BE49-F238E27FC236}">
                <a16:creationId xmlns:a16="http://schemas.microsoft.com/office/drawing/2014/main" id="{B18FC755-F114-F0E3-9455-B9688B855EA3}"/>
              </a:ext>
            </a:extLst>
          </p:cNvPr>
          <p:cNvSpPr>
            <a:spLocks noGrp="1"/>
          </p:cNvSpPr>
          <p:nvPr>
            <p:ph type="body" sz="quarter" idx="12"/>
          </p:nvPr>
        </p:nvSpPr>
        <p:spPr>
          <a:xfrm>
            <a:off x="569942" y="1268384"/>
            <a:ext cx="6608313" cy="2021936"/>
          </a:xfrm>
        </p:spPr>
        <p:txBody>
          <a:bodyPr/>
          <a:lstStyle/>
          <a:p>
            <a:pPr marL="342900" indent="-342900">
              <a:spcBef>
                <a:spcPts val="0"/>
              </a:spcBef>
              <a:buClr>
                <a:srgbClr val="FFC000"/>
              </a:buClr>
              <a:buFont typeface="Arial" panose="020B0604020202020204" pitchFamily="34" charset="0"/>
              <a:buChar char="•"/>
            </a:pPr>
            <a:r>
              <a:rPr lang="de-DE" dirty="0"/>
              <a:t>Reservieren Sie Ihre Weihnachtsspende für das </a:t>
            </a:r>
            <a:r>
              <a:rPr lang="de-DE" dirty="0" err="1"/>
              <a:t>WaSH</a:t>
            </a:r>
            <a:r>
              <a:rPr lang="de-DE" dirty="0"/>
              <a:t>-Projekt!</a:t>
            </a:r>
          </a:p>
          <a:p>
            <a:pPr marL="342900" indent="-342900">
              <a:spcBef>
                <a:spcPts val="0"/>
              </a:spcBef>
              <a:buClr>
                <a:srgbClr val="FFC000"/>
              </a:buClr>
              <a:buFont typeface="Arial" panose="020B0604020202020204" pitchFamily="34" charset="0"/>
              <a:buChar char="•"/>
            </a:pPr>
            <a:r>
              <a:rPr lang="de-DE" dirty="0"/>
              <a:t>Widmen Sie WaSH eine </a:t>
            </a:r>
            <a:r>
              <a:rPr lang="de-DE" dirty="0" err="1"/>
              <a:t>Activity</a:t>
            </a:r>
            <a:r>
              <a:rPr lang="de-DE" dirty="0"/>
              <a:t>! </a:t>
            </a:r>
          </a:p>
          <a:p>
            <a:pPr marL="342900" indent="-342900">
              <a:spcBef>
                <a:spcPts val="0"/>
              </a:spcBef>
              <a:buClr>
                <a:srgbClr val="FFC000"/>
              </a:buClr>
              <a:buFont typeface="Arial" panose="020B0604020202020204" pitchFamily="34" charset="0"/>
              <a:buChar char="•"/>
            </a:pPr>
            <a:r>
              <a:rPr lang="de-DE" dirty="0"/>
              <a:t>Sie haben einen besonderen Anlass? Spenden statt</a:t>
            </a:r>
            <a:br>
              <a:rPr lang="de-DE" dirty="0"/>
            </a:br>
            <a:r>
              <a:rPr lang="de-DE" dirty="0"/>
              <a:t>Geschenke mit einer personalisierte Anlassspende!</a:t>
            </a:r>
          </a:p>
          <a:p>
            <a:pPr marL="0" indent="0">
              <a:buNone/>
            </a:pPr>
            <a:endParaRPr lang="de-DE" dirty="0"/>
          </a:p>
          <a:p>
            <a:endParaRPr lang="de-DE" dirty="0"/>
          </a:p>
        </p:txBody>
      </p:sp>
      <p:sp>
        <p:nvSpPr>
          <p:cNvPr id="3" name="Inhaltsplatzhalter 2">
            <a:extLst>
              <a:ext uri="{FF2B5EF4-FFF2-40B4-BE49-F238E27FC236}">
                <a16:creationId xmlns:a16="http://schemas.microsoft.com/office/drawing/2014/main" id="{6D204F56-0F49-4F22-BC7E-29EE1351356B}"/>
              </a:ext>
            </a:extLst>
          </p:cNvPr>
          <p:cNvSpPr>
            <a:spLocks noGrp="1"/>
          </p:cNvSpPr>
          <p:nvPr>
            <p:ph type="body" sz="quarter" idx="10"/>
          </p:nvPr>
        </p:nvSpPr>
        <p:spPr/>
        <p:txBody>
          <a:bodyPr/>
          <a:lstStyle/>
          <a:p>
            <a:pPr marL="0" indent="0">
              <a:buNone/>
            </a:pPr>
            <a:r>
              <a:rPr lang="de-DE" dirty="0"/>
              <a:t>Was können Sie tun?</a:t>
            </a:r>
          </a:p>
        </p:txBody>
      </p:sp>
      <p:sp>
        <p:nvSpPr>
          <p:cNvPr id="5" name="Fußzeilenplatzhalter 4">
            <a:extLst>
              <a:ext uri="{FF2B5EF4-FFF2-40B4-BE49-F238E27FC236}">
                <a16:creationId xmlns:a16="http://schemas.microsoft.com/office/drawing/2014/main" id="{14BA40D4-E297-4E99-AE0D-08FFF6C0E9C9}"/>
              </a:ext>
            </a:extLst>
          </p:cNvPr>
          <p:cNvSpPr>
            <a:spLocks noGrp="1"/>
          </p:cNvSpPr>
          <p:nvPr>
            <p:ph type="ftr" sz="quarter" idx="3"/>
          </p:nvPr>
        </p:nvSpPr>
        <p:spPr/>
        <p:txBody>
          <a:bodyPr/>
          <a:lstStyle/>
          <a:p>
            <a:r>
              <a:rPr lang="de-DE"/>
              <a:t>Lions für WaSH - Wasser ist Leben</a:t>
            </a:r>
            <a:endParaRPr lang="de-DE" dirty="0"/>
          </a:p>
        </p:txBody>
      </p:sp>
      <p:pic>
        <p:nvPicPr>
          <p:cNvPr id="7" name="Grafik 6">
            <a:extLst>
              <a:ext uri="{FF2B5EF4-FFF2-40B4-BE49-F238E27FC236}">
                <a16:creationId xmlns:a16="http://schemas.microsoft.com/office/drawing/2014/main" id="{64F3F672-6B3E-4978-8CCE-F5F93EAF7EA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709580" y="4772721"/>
            <a:ext cx="1143400" cy="1424853"/>
          </a:xfrm>
          <a:prstGeom prst="rect">
            <a:avLst/>
          </a:prstGeom>
        </p:spPr>
      </p:pic>
      <p:grpSp>
        <p:nvGrpSpPr>
          <p:cNvPr id="6" name="Gruppieren 5">
            <a:extLst>
              <a:ext uri="{FF2B5EF4-FFF2-40B4-BE49-F238E27FC236}">
                <a16:creationId xmlns:a16="http://schemas.microsoft.com/office/drawing/2014/main" id="{17EB98A3-E774-602B-4713-1CAE669FA168}"/>
              </a:ext>
            </a:extLst>
          </p:cNvPr>
          <p:cNvGrpSpPr/>
          <p:nvPr/>
        </p:nvGrpSpPr>
        <p:grpSpPr>
          <a:xfrm>
            <a:off x="6832063" y="2746172"/>
            <a:ext cx="4449217" cy="4235856"/>
            <a:chOff x="5742874" y="2035862"/>
            <a:chExt cx="4449217" cy="4235856"/>
          </a:xfrm>
        </p:grpSpPr>
        <p:pic>
          <p:nvPicPr>
            <p:cNvPr id="11" name="Grafik 10" descr="Wasser mit einfarbiger Füllung">
              <a:extLst>
                <a:ext uri="{FF2B5EF4-FFF2-40B4-BE49-F238E27FC236}">
                  <a16:creationId xmlns:a16="http://schemas.microsoft.com/office/drawing/2014/main" id="{DA61F7E8-F15C-6BD8-E2AD-59780D2ACB2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42874" y="2035862"/>
              <a:ext cx="4449217" cy="4235856"/>
            </a:xfrm>
            <a:prstGeom prst="rect">
              <a:avLst/>
            </a:prstGeom>
          </p:spPr>
        </p:pic>
        <p:pic>
          <p:nvPicPr>
            <p:cNvPr id="8" name="Grafik 7">
              <a:extLst>
                <a:ext uri="{FF2B5EF4-FFF2-40B4-BE49-F238E27FC236}">
                  <a16:creationId xmlns:a16="http://schemas.microsoft.com/office/drawing/2014/main" id="{05A57703-7654-FB41-E352-1499A6BD023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172190" y="3804944"/>
              <a:ext cx="1620784" cy="1625120"/>
            </a:xfrm>
            <a:prstGeom prst="rect">
              <a:avLst/>
            </a:prstGeom>
          </p:spPr>
        </p:pic>
      </p:grpSp>
      <p:sp>
        <p:nvSpPr>
          <p:cNvPr id="16" name="Textfeld 15">
            <a:extLst>
              <a:ext uri="{FF2B5EF4-FFF2-40B4-BE49-F238E27FC236}">
                <a16:creationId xmlns:a16="http://schemas.microsoft.com/office/drawing/2014/main" id="{F6FEA0A2-A4FA-B766-1475-B42A4237666A}"/>
              </a:ext>
            </a:extLst>
          </p:cNvPr>
          <p:cNvSpPr txBox="1"/>
          <p:nvPr/>
        </p:nvSpPr>
        <p:spPr>
          <a:xfrm>
            <a:off x="323128" y="3753574"/>
            <a:ext cx="3784362" cy="1723549"/>
          </a:xfrm>
          <a:prstGeom prst="rect">
            <a:avLst/>
          </a:prstGeom>
          <a:noFill/>
        </p:spPr>
        <p:txBody>
          <a:bodyPr wrap="square" rtlCol="0">
            <a:spAutoFit/>
          </a:bodyPr>
          <a:lstStyle/>
          <a:p>
            <a:pPr marL="0" marR="0" lvl="0" indent="0" algn="l" defTabSz="914400" rtl="0" eaLnBrk="1" fontAlgn="auto" latinLnBrk="0" hangingPunct="1">
              <a:lnSpc>
                <a:spcPct val="90000"/>
              </a:lnSpc>
              <a:spcBef>
                <a:spcPts val="1000"/>
              </a:spcBef>
              <a:spcAft>
                <a:spcPts val="0"/>
              </a:spcAft>
              <a:buClr>
                <a:srgbClr val="EBB700"/>
              </a:buClr>
              <a:buSzTx/>
              <a:buFont typeface="HelveticaNeue LT 45 Light" panose="020B0403020202020204" pitchFamily="34" charset="0"/>
              <a:buNone/>
              <a:tabLst/>
              <a:defRPr/>
            </a:pPr>
            <a:r>
              <a:rPr kumimoji="0" lang="de-DE" sz="2000" b="1" i="0" u="none" strike="noStrike" kern="1200" cap="none" spc="0" normalizeH="0" baseline="0" noProof="0" dirty="0">
                <a:ln>
                  <a:noFill/>
                </a:ln>
                <a:solidFill>
                  <a:srgbClr val="55565A">
                    <a:lumMod val="75000"/>
                  </a:srgbClr>
                </a:solidFill>
                <a:effectLst/>
                <a:uLnTx/>
                <a:uFillTx/>
                <a:latin typeface="Arial"/>
                <a:ea typeface="+mn-ea"/>
                <a:cs typeface="+mn-cs"/>
              </a:rPr>
              <a:t>Stiftung der Deutschen Lions</a:t>
            </a:r>
          </a:p>
          <a:p>
            <a:pPr marL="0" marR="0" lvl="0" indent="0" algn="l" defTabSz="914400" rtl="0" eaLnBrk="1" fontAlgn="auto" latinLnBrk="0" hangingPunct="1">
              <a:lnSpc>
                <a:spcPct val="100000"/>
              </a:lnSpc>
              <a:spcBef>
                <a:spcPts val="0"/>
              </a:spcBef>
              <a:spcAft>
                <a:spcPts val="0"/>
              </a:spcAft>
              <a:buClr>
                <a:srgbClr val="EBB700"/>
              </a:buClr>
              <a:buSzTx/>
              <a:buFont typeface="HelveticaNeue LT 45 Light" panose="020B0403020202020204" pitchFamily="34" charset="0"/>
              <a:buNone/>
              <a:tabLst/>
              <a:defRPr/>
            </a:pPr>
            <a:r>
              <a:rPr kumimoji="0" lang="de-DE" sz="2000" b="0" i="0" u="none" strike="noStrike" kern="1200" cap="none" spc="0" normalizeH="0" baseline="0" noProof="0" dirty="0">
                <a:ln>
                  <a:noFill/>
                </a:ln>
                <a:solidFill>
                  <a:srgbClr val="55565A">
                    <a:lumMod val="75000"/>
                  </a:srgbClr>
                </a:solidFill>
                <a:effectLst/>
                <a:uLnTx/>
                <a:uFillTx/>
                <a:latin typeface="Arial"/>
                <a:ea typeface="+mn-ea"/>
                <a:cs typeface="+mn-cs"/>
              </a:rPr>
              <a:t>Frankfurter Volksbank</a:t>
            </a:r>
          </a:p>
          <a:p>
            <a:pPr marL="0" marR="0" lvl="0" indent="0" algn="l" defTabSz="914400" rtl="0" eaLnBrk="1" fontAlgn="auto" latinLnBrk="0" hangingPunct="1">
              <a:lnSpc>
                <a:spcPct val="100000"/>
              </a:lnSpc>
              <a:spcBef>
                <a:spcPts val="0"/>
              </a:spcBef>
              <a:spcAft>
                <a:spcPts val="0"/>
              </a:spcAft>
              <a:buClr>
                <a:srgbClr val="EBB700"/>
              </a:buClr>
              <a:buSzTx/>
              <a:buFont typeface="HelveticaNeue LT 45 Light" panose="020B0403020202020204" pitchFamily="34" charset="0"/>
              <a:buNone/>
              <a:tabLst/>
              <a:defRPr/>
            </a:pPr>
            <a:r>
              <a:rPr kumimoji="0" lang="de-DE" sz="2000" b="0" i="0" u="none" strike="noStrike" kern="1200" cap="none" spc="0" normalizeH="0" baseline="0" noProof="0" dirty="0">
                <a:ln>
                  <a:noFill/>
                </a:ln>
                <a:solidFill>
                  <a:srgbClr val="55565A">
                    <a:lumMod val="75000"/>
                  </a:srgbClr>
                </a:solidFill>
                <a:effectLst/>
                <a:uLnTx/>
                <a:uFillTx/>
                <a:latin typeface="Arial"/>
                <a:ea typeface="+mn-ea"/>
                <a:cs typeface="+mn-cs"/>
              </a:rPr>
              <a:t>DE40 5019 0000 0000 4005 05</a:t>
            </a:r>
          </a:p>
          <a:p>
            <a:pPr marL="0" marR="0" lvl="0" indent="0" algn="l" defTabSz="914400" rtl="0" eaLnBrk="1" fontAlgn="auto" latinLnBrk="0" hangingPunct="1">
              <a:lnSpc>
                <a:spcPct val="100000"/>
              </a:lnSpc>
              <a:spcBef>
                <a:spcPts val="0"/>
              </a:spcBef>
              <a:spcAft>
                <a:spcPts val="0"/>
              </a:spcAft>
              <a:buClr>
                <a:srgbClr val="EBB700"/>
              </a:buClr>
              <a:buSzTx/>
              <a:buFont typeface="HelveticaNeue LT 45 Light" panose="020B0403020202020204" pitchFamily="34" charset="0"/>
              <a:buNone/>
              <a:tabLst/>
              <a:defRPr/>
            </a:pPr>
            <a:r>
              <a:rPr kumimoji="0" lang="de-DE" sz="2000" b="0" i="0" u="none" strike="noStrike" kern="1200" cap="none" spc="0" normalizeH="0" baseline="0" noProof="0" dirty="0">
                <a:ln>
                  <a:noFill/>
                </a:ln>
                <a:solidFill>
                  <a:srgbClr val="55565A">
                    <a:lumMod val="75000"/>
                  </a:srgbClr>
                </a:solidFill>
                <a:effectLst/>
                <a:uLnTx/>
                <a:uFillTx/>
                <a:latin typeface="Arial"/>
                <a:ea typeface="+mn-ea"/>
                <a:cs typeface="+mn-cs"/>
              </a:rPr>
              <a:t>BIC FFVBDEFF</a:t>
            </a:r>
          </a:p>
          <a:p>
            <a:pPr marL="0" marR="0" lvl="0" indent="0" algn="l" defTabSz="914400" rtl="0" eaLnBrk="1" fontAlgn="auto" latinLnBrk="0" hangingPunct="1">
              <a:lnSpc>
                <a:spcPct val="90000"/>
              </a:lnSpc>
              <a:spcBef>
                <a:spcPts val="1200"/>
              </a:spcBef>
              <a:spcAft>
                <a:spcPts val="0"/>
              </a:spcAft>
              <a:buClr>
                <a:srgbClr val="EBB700"/>
              </a:buClr>
              <a:buSzTx/>
              <a:buFont typeface="HelveticaNeue LT 45 Light" panose="020B0403020202020204" pitchFamily="34" charset="0"/>
              <a:buNone/>
              <a:tabLst/>
              <a:defRPr/>
            </a:pPr>
            <a:r>
              <a:rPr kumimoji="0" lang="de-DE" sz="2000" b="0" i="0" u="none" strike="noStrike" kern="1200" cap="none" spc="0" normalizeH="0" baseline="0" noProof="0" dirty="0">
                <a:ln>
                  <a:noFill/>
                </a:ln>
                <a:solidFill>
                  <a:srgbClr val="55565A">
                    <a:lumMod val="75000"/>
                  </a:srgbClr>
                </a:solidFill>
                <a:effectLst/>
                <a:uLnTx/>
                <a:uFillTx/>
                <a:latin typeface="Arial"/>
                <a:ea typeface="+mn-ea"/>
                <a:cs typeface="+mn-cs"/>
              </a:rPr>
              <a:t>Stichwort: „</a:t>
            </a:r>
            <a:r>
              <a:rPr kumimoji="0" lang="de-DE" sz="2000" b="1" i="1" u="none" strike="noStrike" kern="1200" cap="none" spc="0" normalizeH="0" baseline="0" noProof="0" dirty="0">
                <a:ln>
                  <a:noFill/>
                </a:ln>
                <a:solidFill>
                  <a:srgbClr val="55565A">
                    <a:lumMod val="75000"/>
                  </a:srgbClr>
                </a:solidFill>
                <a:effectLst/>
                <a:uLnTx/>
                <a:uFillTx/>
                <a:latin typeface="Arial"/>
                <a:ea typeface="+mn-ea"/>
                <a:cs typeface="+mn-cs"/>
              </a:rPr>
              <a:t>Wasser ist Leben</a:t>
            </a:r>
            <a:r>
              <a:rPr kumimoji="0" lang="de-DE" sz="2000" b="0" i="0" u="none" strike="noStrike" kern="1200" cap="none" spc="0" normalizeH="0" baseline="0" noProof="0" dirty="0">
                <a:ln>
                  <a:noFill/>
                </a:ln>
                <a:solidFill>
                  <a:srgbClr val="55565A">
                    <a:lumMod val="75000"/>
                  </a:srgbClr>
                </a:solidFill>
                <a:effectLst/>
                <a:uLnTx/>
                <a:uFillTx/>
                <a:latin typeface="Arial"/>
                <a:ea typeface="+mn-ea"/>
                <a:cs typeface="+mn-cs"/>
              </a:rPr>
              <a:t>“</a:t>
            </a:r>
          </a:p>
        </p:txBody>
      </p:sp>
      <p:sp>
        <p:nvSpPr>
          <p:cNvPr id="18" name="Textfeld 17">
            <a:extLst>
              <a:ext uri="{FF2B5EF4-FFF2-40B4-BE49-F238E27FC236}">
                <a16:creationId xmlns:a16="http://schemas.microsoft.com/office/drawing/2014/main" id="{A713BEAC-40F1-3F9F-E947-04327B231200}"/>
              </a:ext>
            </a:extLst>
          </p:cNvPr>
          <p:cNvSpPr txBox="1"/>
          <p:nvPr/>
        </p:nvSpPr>
        <p:spPr>
          <a:xfrm>
            <a:off x="4727991" y="3936620"/>
            <a:ext cx="2736018" cy="1323439"/>
          </a:xfrm>
          <a:prstGeom prst="rect">
            <a:avLst/>
          </a:prstGeom>
          <a:noFill/>
        </p:spPr>
        <p:txBody>
          <a:bodyPr wrap="square">
            <a:spAutoFit/>
          </a:bodyPr>
          <a:lstStyle/>
          <a:p>
            <a:pPr>
              <a:buClr>
                <a:srgbClr val="EBB700"/>
              </a:buClr>
              <a:defRPr/>
            </a:pPr>
            <a:r>
              <a:rPr lang="de-DE" sz="2000" dirty="0">
                <a:solidFill>
                  <a:srgbClr val="55565A">
                    <a:lumMod val="75000"/>
                  </a:srgbClr>
                </a:solidFill>
                <a:latin typeface="Arial"/>
              </a:rPr>
              <a:t>Oder mit wenigen Klicks online spenden: </a:t>
            </a:r>
            <a:r>
              <a:rPr lang="de-DE" sz="2000" dirty="0">
                <a:solidFill>
                  <a:srgbClr val="407CCA"/>
                </a:solidFill>
                <a:latin typeface="Arial"/>
                <a:hlinkClick r:id="rId8">
                  <a:extLst>
                    <a:ext uri="{A12FA001-AC4F-418D-AE19-62706E023703}">
                      <ahyp:hlinkClr xmlns:ahyp="http://schemas.microsoft.com/office/drawing/2018/hyperlinkcolor" val="tx"/>
                    </a:ext>
                  </a:extLst>
                </a:hlinkClick>
              </a:rPr>
              <a:t>https://stiftung.lions.de/spenden </a:t>
            </a:r>
            <a:endParaRPr lang="de-DE" sz="2000" dirty="0">
              <a:solidFill>
                <a:srgbClr val="407CCA"/>
              </a:solidFill>
              <a:latin typeface="Arial"/>
            </a:endParaRPr>
          </a:p>
        </p:txBody>
      </p:sp>
      <p:sp>
        <p:nvSpPr>
          <p:cNvPr id="20" name="Textfeld 19">
            <a:extLst>
              <a:ext uri="{FF2B5EF4-FFF2-40B4-BE49-F238E27FC236}">
                <a16:creationId xmlns:a16="http://schemas.microsoft.com/office/drawing/2014/main" id="{D184940F-81AA-633F-0227-D0E224412192}"/>
              </a:ext>
            </a:extLst>
          </p:cNvPr>
          <p:cNvSpPr txBox="1"/>
          <p:nvPr/>
        </p:nvSpPr>
        <p:spPr>
          <a:xfrm>
            <a:off x="10477041" y="4371294"/>
            <a:ext cx="1261949" cy="246221"/>
          </a:xfrm>
          <a:prstGeom prst="rect">
            <a:avLst/>
          </a:prstGeom>
          <a:noFill/>
        </p:spPr>
        <p:txBody>
          <a:bodyPr wrap="square" rtlCol="0">
            <a:spAutoFit/>
          </a:bodyPr>
          <a:lstStyle/>
          <a:p>
            <a:r>
              <a:rPr lang="de-DE" sz="1000" dirty="0">
                <a:solidFill>
                  <a:schemeClr val="bg1">
                    <a:lumMod val="65000"/>
                  </a:schemeClr>
                </a:solidFill>
              </a:rPr>
              <a:t>Bild: HFH Malawi</a:t>
            </a:r>
          </a:p>
        </p:txBody>
      </p:sp>
    </p:spTree>
    <p:extLst>
      <p:ext uri="{BB962C8B-B14F-4D97-AF65-F5344CB8AC3E}">
        <p14:creationId xmlns:p14="http://schemas.microsoft.com/office/powerpoint/2010/main" val="22578340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FF488946-EBB8-F3EA-3537-8F782D04F239}"/>
              </a:ext>
            </a:extLst>
          </p:cNvPr>
          <p:cNvSpPr>
            <a:spLocks noGrp="1"/>
          </p:cNvSpPr>
          <p:nvPr>
            <p:ph type="body" sz="quarter" idx="10"/>
          </p:nvPr>
        </p:nvSpPr>
        <p:spPr/>
        <p:txBody>
          <a:bodyPr/>
          <a:lstStyle/>
          <a:p>
            <a:r>
              <a:rPr lang="de-DE" dirty="0"/>
              <a:t>Ihre Hilfe kommt an, vielen Dank!</a:t>
            </a:r>
          </a:p>
        </p:txBody>
      </p:sp>
      <p:sp>
        <p:nvSpPr>
          <p:cNvPr id="8" name="Fußzeilenplatzhalter 4">
            <a:extLst>
              <a:ext uri="{FF2B5EF4-FFF2-40B4-BE49-F238E27FC236}">
                <a16:creationId xmlns:a16="http://schemas.microsoft.com/office/drawing/2014/main" id="{92C904D2-569E-4CA9-8AEE-6E173396DA64}"/>
              </a:ext>
            </a:extLst>
          </p:cNvPr>
          <p:cNvSpPr>
            <a:spLocks noGrp="1"/>
          </p:cNvSpPr>
          <p:nvPr>
            <p:ph type="ftr" sz="quarter" idx="3"/>
          </p:nvPr>
        </p:nvSpPr>
        <p:spPr/>
        <p:txBody>
          <a:bodyPr/>
          <a:lstStyle/>
          <a:p>
            <a:r>
              <a:rPr lang="de-DE"/>
              <a:t>Lions für WaSH - Wasser ist Leben</a:t>
            </a:r>
            <a:endParaRPr lang="de-DE" dirty="0"/>
          </a:p>
        </p:txBody>
      </p:sp>
      <p:pic>
        <p:nvPicPr>
          <p:cNvPr id="15" name="Grafik 14" descr="Ein Bild, das draußen, Himmel, Wolke, Baum enthält.&#10;&#10;Automatisch generierte Beschreibung">
            <a:extLst>
              <a:ext uri="{FF2B5EF4-FFF2-40B4-BE49-F238E27FC236}">
                <a16:creationId xmlns:a16="http://schemas.microsoft.com/office/drawing/2014/main" id="{0CCFE511-E701-84FC-8CB0-379F4F277DC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rot="5400000">
            <a:off x="7779890" y="1729335"/>
            <a:ext cx="4772912" cy="3579684"/>
          </a:xfrm>
          <a:prstGeom prst="roundRect">
            <a:avLst>
              <a:gd name="adj" fmla="val 3172"/>
            </a:avLst>
          </a:prstGeom>
          <a:solidFill>
            <a:schemeClr val="bg2"/>
          </a:solidFill>
          <a:ln w="165100" cap="flat">
            <a:solidFill>
              <a:schemeClr val="bg1"/>
            </a:solidFill>
            <a:prstDash val="solid"/>
            <a:miter/>
          </a:ln>
          <a:effectLst>
            <a:outerShdw blurRad="444500" dist="190500" dir="5400000" algn="t" rotWithShape="0">
              <a:prstClr val="black">
                <a:alpha val="10000"/>
              </a:prstClr>
            </a:outerShdw>
          </a:effectLst>
        </p:spPr>
      </p:pic>
      <p:grpSp>
        <p:nvGrpSpPr>
          <p:cNvPr id="12" name="Gruppieren 11">
            <a:extLst>
              <a:ext uri="{FF2B5EF4-FFF2-40B4-BE49-F238E27FC236}">
                <a16:creationId xmlns:a16="http://schemas.microsoft.com/office/drawing/2014/main" id="{F048304C-92D2-45DD-E491-E311F161EB0E}"/>
              </a:ext>
            </a:extLst>
          </p:cNvPr>
          <p:cNvGrpSpPr/>
          <p:nvPr/>
        </p:nvGrpSpPr>
        <p:grpSpPr>
          <a:xfrm>
            <a:off x="257843" y="1143738"/>
            <a:ext cx="7660462" cy="4772912"/>
            <a:chOff x="257843" y="1529329"/>
            <a:chExt cx="7660462" cy="4772912"/>
          </a:xfrm>
        </p:grpSpPr>
        <p:pic>
          <p:nvPicPr>
            <p:cNvPr id="9" name="Grafik 8" descr="Ein Bild, das draußen, Kleidung, Himmel, Person enthält.&#10;&#10;Automatisch generierte Beschreibung">
              <a:hlinkClick r:id="" action="ppaction://hlinkshowjump?jump=nextslide"/>
              <a:extLst>
                <a:ext uri="{FF2B5EF4-FFF2-40B4-BE49-F238E27FC236}">
                  <a16:creationId xmlns:a16="http://schemas.microsoft.com/office/drawing/2014/main" id="{AD476861-E34E-DF3A-F3C9-49FB08D67CB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57843" y="1529329"/>
              <a:ext cx="7660462" cy="4772912"/>
            </a:xfrm>
            <a:prstGeom prst="roundRect">
              <a:avLst>
                <a:gd name="adj" fmla="val 3172"/>
              </a:avLst>
            </a:prstGeom>
            <a:solidFill>
              <a:schemeClr val="bg2"/>
            </a:solidFill>
            <a:ln w="165100" cap="flat">
              <a:solidFill>
                <a:schemeClr val="bg1"/>
              </a:solidFill>
              <a:prstDash val="solid"/>
              <a:miter/>
            </a:ln>
            <a:effectLst>
              <a:outerShdw blurRad="444500" dist="190500" dir="5400000" algn="t" rotWithShape="0">
                <a:prstClr val="black">
                  <a:alpha val="10000"/>
                </a:prstClr>
              </a:outerShdw>
            </a:effectLst>
          </p:spPr>
        </p:pic>
        <p:pic>
          <p:nvPicPr>
            <p:cNvPr id="11" name="Grafik 10" descr="Ein Bild, das Text, Handschrift, Brief, Dokument enthält.&#10;&#10;Automatisch generierte Beschreibung">
              <a:extLst>
                <a:ext uri="{FF2B5EF4-FFF2-40B4-BE49-F238E27FC236}">
                  <a16:creationId xmlns:a16="http://schemas.microsoft.com/office/drawing/2014/main" id="{61E8166E-33CC-64BC-9E2F-DA6B76CD4CB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826956" y="3010485"/>
              <a:ext cx="1664208" cy="1365590"/>
            </a:xfrm>
            <a:prstGeom prst="roundRect">
              <a:avLst>
                <a:gd name="adj" fmla="val 3172"/>
              </a:avLst>
            </a:prstGeom>
            <a:solidFill>
              <a:schemeClr val="bg2"/>
            </a:solidFill>
            <a:ln w="165100" cap="flat">
              <a:noFill/>
              <a:prstDash val="solid"/>
              <a:miter/>
            </a:ln>
            <a:effectLst>
              <a:outerShdw blurRad="444500" dist="190500" dir="5400000" algn="t" rotWithShape="0">
                <a:prstClr val="black">
                  <a:alpha val="10000"/>
                </a:prstClr>
              </a:outerShdw>
            </a:effectLst>
          </p:spPr>
        </p:pic>
      </p:grpSp>
      <p:pic>
        <p:nvPicPr>
          <p:cNvPr id="3" name="Grafik 2">
            <a:extLst>
              <a:ext uri="{FF2B5EF4-FFF2-40B4-BE49-F238E27FC236}">
                <a16:creationId xmlns:a16="http://schemas.microsoft.com/office/drawing/2014/main" id="{32CCF58E-AD16-939D-9E9A-F073B6BC4C6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002013" y="208731"/>
            <a:ext cx="855024" cy="1157152"/>
          </a:xfrm>
          <a:prstGeom prst="rect">
            <a:avLst/>
          </a:prstGeom>
        </p:spPr>
      </p:pic>
      <p:sp>
        <p:nvSpPr>
          <p:cNvPr id="17" name="Textfeld 16">
            <a:extLst>
              <a:ext uri="{FF2B5EF4-FFF2-40B4-BE49-F238E27FC236}">
                <a16:creationId xmlns:a16="http://schemas.microsoft.com/office/drawing/2014/main" id="{F23BED94-DB00-5483-7F8E-2D8906F60A56}"/>
              </a:ext>
            </a:extLst>
          </p:cNvPr>
          <p:cNvSpPr txBox="1"/>
          <p:nvPr/>
        </p:nvSpPr>
        <p:spPr>
          <a:xfrm>
            <a:off x="10300771" y="5870534"/>
            <a:ext cx="1802799" cy="253916"/>
          </a:xfrm>
          <a:prstGeom prst="rect">
            <a:avLst/>
          </a:prstGeom>
          <a:noFill/>
        </p:spPr>
        <p:txBody>
          <a:bodyPr wrap="square" rtlCol="0">
            <a:spAutoFit/>
          </a:bodyPr>
          <a:lstStyle/>
          <a:p>
            <a:r>
              <a:rPr lang="de-DE" sz="1000" dirty="0">
                <a:solidFill>
                  <a:schemeClr val="bg1">
                    <a:lumMod val="65000"/>
                  </a:schemeClr>
                </a:solidFill>
              </a:rPr>
              <a:t>Bilder: Johanna Kunz/SDL</a:t>
            </a:r>
          </a:p>
        </p:txBody>
      </p:sp>
    </p:spTree>
    <p:extLst>
      <p:ext uri="{BB962C8B-B14F-4D97-AF65-F5344CB8AC3E}">
        <p14:creationId xmlns:p14="http://schemas.microsoft.com/office/powerpoint/2010/main" val="26784229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3D992F9-81B3-68BB-BDA7-54DD742652EE}"/>
              </a:ext>
            </a:extLst>
          </p:cNvPr>
          <p:cNvGraphicFramePr>
            <a:graphicFrameLocks noChangeAspect="1"/>
          </p:cNvGraphicFramePr>
          <p:nvPr>
            <p:custDataLst>
              <p:tags r:id="rId1"/>
            </p:custDataLst>
            <p:extLst>
              <p:ext uri="{D42A27DB-BD31-4B8C-83A1-F6EECF244321}">
                <p14:modId xmlns:p14="http://schemas.microsoft.com/office/powerpoint/2010/main" val="722553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392" progId="TCLayout.ActiveDocument.1">
                  <p:embed/>
                </p:oleObj>
              </mc:Choice>
              <mc:Fallback>
                <p:oleObj name="think-cell Slide" r:id="rId4" imgW="405"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0AB3D6CE-4B2C-AA9C-F3A6-AA9F09FE509F}"/>
              </a:ext>
            </a:extLst>
          </p:cNvPr>
          <p:cNvSpPr>
            <a:spLocks noGrp="1"/>
          </p:cNvSpPr>
          <p:nvPr>
            <p:ph type="body" sz="quarter" idx="11"/>
          </p:nvPr>
        </p:nvSpPr>
        <p:spPr/>
        <p:txBody>
          <a:bodyPr/>
          <a:lstStyle/>
          <a:p>
            <a:r>
              <a:rPr lang="de-DE" dirty="0">
                <a:latin typeface="Arial" panose="020B0604020202020204" pitchFamily="34" charset="0"/>
                <a:cs typeface="Arial" panose="020B0604020202020204" pitchFamily="34" charset="0"/>
                <a:sym typeface="Arial" panose="020B0604020202020204" pitchFamily="34" charset="0"/>
              </a:rPr>
              <a:t>Herzlichen Dank!</a:t>
            </a:r>
          </a:p>
        </p:txBody>
      </p:sp>
    </p:spTree>
    <p:extLst>
      <p:ext uri="{BB962C8B-B14F-4D97-AF65-F5344CB8AC3E}">
        <p14:creationId xmlns:p14="http://schemas.microsoft.com/office/powerpoint/2010/main" val="11563749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DF8EE8-38C4-DF5E-90D0-11404FB28D6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3C57241-977A-18BC-39A1-54A68D8AFA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392" progId="TCLayout.ActiveDocument.1">
                  <p:embed/>
                </p:oleObj>
              </mc:Choice>
              <mc:Fallback>
                <p:oleObj name="think-cell Slide" r:id="rId4" imgW="405" imgH="392" progId="TCLayout.ActiveDocument.1">
                  <p:embed/>
                  <p:pic>
                    <p:nvPicPr>
                      <p:cNvPr id="8" name="think-cell data - do not delete" hidden="1">
                        <a:extLst>
                          <a:ext uri="{FF2B5EF4-FFF2-40B4-BE49-F238E27FC236}">
                            <a16:creationId xmlns:a16="http://schemas.microsoft.com/office/drawing/2014/main" id="{062D4C15-21E7-2A77-B087-F2DD7E886D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D2A3CAF-517D-1F11-C3C6-81D2AF3BF6E6}"/>
              </a:ext>
            </a:extLst>
          </p:cNvPr>
          <p:cNvSpPr>
            <a:spLocks noGrp="1"/>
          </p:cNvSpPr>
          <p:nvPr>
            <p:ph type="body" sz="quarter" idx="10"/>
          </p:nvPr>
        </p:nvSpPr>
        <p:spPr/>
        <p:txBody>
          <a:bodyPr/>
          <a:lstStyle/>
          <a:p>
            <a:r>
              <a:rPr lang="de-DE" dirty="0">
                <a:latin typeface="Arial" panose="020B0604020202020204" pitchFamily="34" charset="0"/>
                <a:cs typeface="Arial" panose="020B0604020202020204" pitchFamily="34" charset="0"/>
                <a:sym typeface="Arial" panose="020B0604020202020204" pitchFamily="34" charset="0"/>
              </a:rPr>
              <a:t>Wasser ist Leben</a:t>
            </a:r>
          </a:p>
        </p:txBody>
      </p:sp>
      <p:grpSp>
        <p:nvGrpSpPr>
          <p:cNvPr id="11" name="Group 10">
            <a:extLst>
              <a:ext uri="{FF2B5EF4-FFF2-40B4-BE49-F238E27FC236}">
                <a16:creationId xmlns:a16="http://schemas.microsoft.com/office/drawing/2014/main" id="{3D987615-772F-B787-D2B2-69FB16316A8F}"/>
              </a:ext>
            </a:extLst>
          </p:cNvPr>
          <p:cNvGrpSpPr/>
          <p:nvPr/>
        </p:nvGrpSpPr>
        <p:grpSpPr>
          <a:xfrm>
            <a:off x="407988" y="1360073"/>
            <a:ext cx="11345862" cy="502333"/>
            <a:chOff x="431799" y="1489075"/>
            <a:chExt cx="5545636" cy="502333"/>
          </a:xfrm>
        </p:grpSpPr>
        <p:sp>
          <p:nvSpPr>
            <p:cNvPr id="12" name="Rectangle: Rounded Corners 11">
              <a:extLst>
                <a:ext uri="{FF2B5EF4-FFF2-40B4-BE49-F238E27FC236}">
                  <a16:creationId xmlns:a16="http://schemas.microsoft.com/office/drawing/2014/main" id="{23A4BEDF-E340-91BD-608D-855D95459DDA}"/>
                </a:ext>
              </a:extLst>
            </p:cNvPr>
            <p:cNvSpPr/>
            <p:nvPr/>
          </p:nvSpPr>
          <p:spPr>
            <a:xfrm>
              <a:off x="431799" y="1489075"/>
              <a:ext cx="5545636" cy="502333"/>
            </a:xfrm>
            <a:prstGeom prst="roundRect">
              <a:avLst>
                <a:gd name="adj" fmla="val 14333"/>
              </a:avLst>
            </a:prstGeom>
            <a:solidFill>
              <a:srgbClr val="002060"/>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13" name="TextBox 12">
              <a:extLst>
                <a:ext uri="{FF2B5EF4-FFF2-40B4-BE49-F238E27FC236}">
                  <a16:creationId xmlns:a16="http://schemas.microsoft.com/office/drawing/2014/main" id="{C624936D-E011-96DC-1A7C-49E4EBFFFE14}"/>
                </a:ext>
              </a:extLst>
            </p:cNvPr>
            <p:cNvSpPr txBox="1"/>
            <p:nvPr/>
          </p:nvSpPr>
          <p:spPr>
            <a:xfrm>
              <a:off x="1160194" y="1555575"/>
              <a:ext cx="4088847" cy="369332"/>
            </a:xfrm>
            <a:prstGeom prst="rect">
              <a:avLst/>
            </a:prstGeom>
            <a:noFill/>
          </p:spPr>
          <p:txBody>
            <a:bodyPr wrap="square" rtlCol="0" anchor="ctr">
              <a:spAutoFit/>
            </a:bodyPr>
            <a:lstStyle/>
            <a:p>
              <a:pPr algn="ctr">
                <a:spcAft>
                  <a:spcPts val="600"/>
                </a:spcAft>
                <a:defRPr/>
              </a:pPr>
              <a:r>
                <a:rPr lang="de-DE" b="1" kern="0" dirty="0">
                  <a:solidFill>
                    <a:schemeClr val="bg1"/>
                  </a:solidFill>
                  <a:latin typeface="Arial" panose="020B0604020202020204" pitchFamily="34" charset="0"/>
                  <a:ea typeface="ヒラギノ角ゴ Pro W3" pitchFamily="125" charset="-128"/>
                  <a:cs typeface="Arial" panose="020B0604020202020204" pitchFamily="34" charset="0"/>
                  <a:sym typeface="Arial" panose="020B0604020202020204" pitchFamily="34" charset="0"/>
                </a:rPr>
                <a:t>Von 8 Milliarden Menschen weltweit…</a:t>
              </a:r>
            </a:p>
          </p:txBody>
        </p:sp>
      </p:grpSp>
      <p:sp>
        <p:nvSpPr>
          <p:cNvPr id="17" name="Rectangle: Rounded Corners 16">
            <a:extLst>
              <a:ext uri="{FF2B5EF4-FFF2-40B4-BE49-F238E27FC236}">
                <a16:creationId xmlns:a16="http://schemas.microsoft.com/office/drawing/2014/main" id="{8A66DD70-EF1E-5F0C-DE52-1993BA327E5E}"/>
              </a:ext>
            </a:extLst>
          </p:cNvPr>
          <p:cNvSpPr/>
          <p:nvPr/>
        </p:nvSpPr>
        <p:spPr>
          <a:xfrm>
            <a:off x="407988" y="2028992"/>
            <a:ext cx="3683000" cy="2493382"/>
          </a:xfrm>
          <a:prstGeom prst="roundRect">
            <a:avLst>
              <a:gd name="adj" fmla="val 288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8" name="Rectangle: Rounded Corners 17">
            <a:extLst>
              <a:ext uri="{FF2B5EF4-FFF2-40B4-BE49-F238E27FC236}">
                <a16:creationId xmlns:a16="http://schemas.microsoft.com/office/drawing/2014/main" id="{1B8BD15C-16F0-74E4-8965-A2FD6FE8691F}"/>
              </a:ext>
            </a:extLst>
          </p:cNvPr>
          <p:cNvSpPr/>
          <p:nvPr/>
        </p:nvSpPr>
        <p:spPr>
          <a:xfrm>
            <a:off x="4254500" y="2028992"/>
            <a:ext cx="3683000" cy="2493382"/>
          </a:xfrm>
          <a:prstGeom prst="roundRect">
            <a:avLst>
              <a:gd name="adj" fmla="val 288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9" name="Rectangle: Rounded Corners 18">
            <a:extLst>
              <a:ext uri="{FF2B5EF4-FFF2-40B4-BE49-F238E27FC236}">
                <a16:creationId xmlns:a16="http://schemas.microsoft.com/office/drawing/2014/main" id="{3AD69847-88D0-09DB-4541-05FFDF71378A}"/>
              </a:ext>
            </a:extLst>
          </p:cNvPr>
          <p:cNvSpPr/>
          <p:nvPr/>
        </p:nvSpPr>
        <p:spPr>
          <a:xfrm>
            <a:off x="8070850" y="2028992"/>
            <a:ext cx="3683000" cy="2493382"/>
          </a:xfrm>
          <a:prstGeom prst="roundRect">
            <a:avLst>
              <a:gd name="adj" fmla="val 288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pic>
        <p:nvPicPr>
          <p:cNvPr id="2" name="Bildplatzhalter 9">
            <a:extLst>
              <a:ext uri="{FF2B5EF4-FFF2-40B4-BE49-F238E27FC236}">
                <a16:creationId xmlns:a16="http://schemas.microsoft.com/office/drawing/2014/main" id="{C6268934-C016-1EEE-85B7-683499368EB9}"/>
              </a:ext>
            </a:extLst>
          </p:cNvPr>
          <p:cNvPicPr>
            <a:picLocks noChangeAspect="1"/>
          </p:cNvPicPr>
          <p:nvPr/>
        </p:nvPicPr>
        <p:blipFill>
          <a:blip r:embed="rId6" cstate="print">
            <a:extLst>
              <a:ext uri="{28A0092B-C50C-407E-A947-70E740481C1C}">
                <a14:useLocalDpi xmlns:a14="http://schemas.microsoft.com/office/drawing/2010/main"/>
              </a:ext>
            </a:extLst>
          </a:blip>
          <a:srcRect t="-516"/>
          <a:stretch/>
        </p:blipFill>
        <p:spPr>
          <a:xfrm rot="16200000">
            <a:off x="4974140" y="1545944"/>
            <a:ext cx="2243720" cy="3459478"/>
          </a:xfrm>
          <a:prstGeom prst="roundRect">
            <a:avLst>
              <a:gd name="adj" fmla="val 3172"/>
            </a:avLst>
          </a:prstGeom>
          <a:solidFill>
            <a:schemeClr val="bg2"/>
          </a:solidFill>
          <a:ln w="12700" cap="flat">
            <a:noFill/>
            <a:prstDash val="solid"/>
            <a:miter/>
          </a:ln>
          <a:effectLst>
            <a:outerShdw blurRad="444500" dist="190500" dir="5400000" algn="t" rotWithShape="0">
              <a:prstClr val="black">
                <a:alpha val="10000"/>
              </a:prstClr>
            </a:outerShdw>
          </a:effectLst>
        </p:spPr>
      </p:pic>
      <p:pic>
        <p:nvPicPr>
          <p:cNvPr id="3" name="Bildplatzhalter 19">
            <a:extLst>
              <a:ext uri="{FF2B5EF4-FFF2-40B4-BE49-F238E27FC236}">
                <a16:creationId xmlns:a16="http://schemas.microsoft.com/office/drawing/2014/main" id="{FF6048C1-BF93-532C-5D5E-879349CA4FBB}"/>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519749" y="2153823"/>
            <a:ext cx="3459478" cy="2243720"/>
          </a:xfrm>
          <a:prstGeom prst="roundRect">
            <a:avLst>
              <a:gd name="adj" fmla="val 3172"/>
            </a:avLst>
          </a:prstGeom>
          <a:solidFill>
            <a:schemeClr val="bg2"/>
          </a:solidFill>
          <a:ln w="12700" cap="flat">
            <a:noFill/>
            <a:prstDash val="solid"/>
            <a:miter/>
          </a:ln>
          <a:effectLst>
            <a:outerShdw blurRad="444500" dist="190500" dir="5400000" algn="t" rotWithShape="0">
              <a:prstClr val="black">
                <a:alpha val="10000"/>
              </a:prstClr>
            </a:outerShdw>
          </a:effectLst>
        </p:spPr>
      </p:pic>
      <p:pic>
        <p:nvPicPr>
          <p:cNvPr id="4" name="Bildplatzhalter 21">
            <a:extLst>
              <a:ext uri="{FF2B5EF4-FFF2-40B4-BE49-F238E27FC236}">
                <a16:creationId xmlns:a16="http://schemas.microsoft.com/office/drawing/2014/main" id="{53C8C59A-9E69-6BBA-019B-BCBD6DB22072}"/>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8182610" y="2153823"/>
            <a:ext cx="3459478" cy="2243720"/>
          </a:xfrm>
          <a:prstGeom prst="roundRect">
            <a:avLst>
              <a:gd name="adj" fmla="val 3172"/>
            </a:avLst>
          </a:prstGeom>
          <a:solidFill>
            <a:schemeClr val="bg2"/>
          </a:solidFill>
          <a:ln w="12700" cap="flat">
            <a:noFill/>
            <a:prstDash val="solid"/>
            <a:miter/>
          </a:ln>
          <a:effectLst>
            <a:outerShdw blurRad="444500" dist="190500" dir="5400000" algn="t" rotWithShape="0">
              <a:prstClr val="black">
                <a:alpha val="10000"/>
              </a:prstClr>
            </a:outerShdw>
          </a:effectLst>
        </p:spPr>
      </p:pic>
      <p:sp>
        <p:nvSpPr>
          <p:cNvPr id="24" name="Rectangle: Rounded Corners 23">
            <a:extLst>
              <a:ext uri="{FF2B5EF4-FFF2-40B4-BE49-F238E27FC236}">
                <a16:creationId xmlns:a16="http://schemas.microsoft.com/office/drawing/2014/main" id="{1E1211E8-D5D9-FB53-9F4D-8FE1AE458CC3}"/>
              </a:ext>
            </a:extLst>
          </p:cNvPr>
          <p:cNvSpPr/>
          <p:nvPr/>
        </p:nvSpPr>
        <p:spPr>
          <a:xfrm>
            <a:off x="850900" y="4711652"/>
            <a:ext cx="3240088" cy="1229945"/>
          </a:xfrm>
          <a:prstGeom prst="roundRect">
            <a:avLst>
              <a:gd name="adj" fmla="val 5854"/>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auto">
              <a:spcBef>
                <a:spcPts val="0"/>
              </a:spcBef>
              <a:spcAft>
                <a:spcPts val="0"/>
              </a:spcAft>
            </a:pPr>
            <a:endParaRPr lang="en-US">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26" name="Parallelogram 25">
            <a:extLst>
              <a:ext uri="{FF2B5EF4-FFF2-40B4-BE49-F238E27FC236}">
                <a16:creationId xmlns:a16="http://schemas.microsoft.com/office/drawing/2014/main" id="{4A49CC1D-9B75-03A4-AECD-A8EDB548427C}"/>
              </a:ext>
            </a:extLst>
          </p:cNvPr>
          <p:cNvSpPr/>
          <p:nvPr/>
        </p:nvSpPr>
        <p:spPr>
          <a:xfrm>
            <a:off x="407988" y="5059814"/>
            <a:ext cx="906818" cy="533622"/>
          </a:xfrm>
          <a:prstGeom prst="parallelogram">
            <a:avLst>
              <a:gd name="adj" fmla="val 56566"/>
            </a:avLst>
          </a:prstGeom>
          <a:solidFill>
            <a:srgbClr val="EBB700"/>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38D"/>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27" name="TextBox 26">
            <a:extLst>
              <a:ext uri="{FF2B5EF4-FFF2-40B4-BE49-F238E27FC236}">
                <a16:creationId xmlns:a16="http://schemas.microsoft.com/office/drawing/2014/main" id="{4E92B903-1482-4CA6-6D1D-06C688395E6F}"/>
              </a:ext>
            </a:extLst>
          </p:cNvPr>
          <p:cNvSpPr txBox="1"/>
          <p:nvPr/>
        </p:nvSpPr>
        <p:spPr>
          <a:xfrm>
            <a:off x="1371410" y="4862459"/>
            <a:ext cx="2648354" cy="928331"/>
          </a:xfrm>
          <a:prstGeom prst="rect">
            <a:avLst/>
          </a:prstGeom>
          <a:noFill/>
        </p:spPr>
        <p:txBody>
          <a:bodyPr wrap="square" rtlCol="0" anchor="ctr">
            <a:spAutoFit/>
          </a:bodyPr>
          <a:lstStyle/>
          <a:p>
            <a:pPr marL="0" lvl="1" defTabSz="422039" fontAlgn="b">
              <a:lnSpc>
                <a:spcPct val="120000"/>
              </a:lnSpc>
              <a:spcBef>
                <a:spcPct val="0"/>
              </a:spcBef>
              <a:spcAft>
                <a:spcPts val="600"/>
              </a:spcAft>
              <a:buClr>
                <a:srgbClr val="00338D"/>
              </a:buClr>
              <a:defRPr/>
            </a:pPr>
            <a:r>
              <a:rPr lang="de-DE" sz="1600" dirty="0">
                <a:solidFill>
                  <a:prstClr val="black"/>
                </a:solidFill>
                <a:latin typeface="Arial" pitchFamily="34" charset="0"/>
                <a:ea typeface="ヒラギノ角ゴ Pro W3" pitchFamily="125" charset="-128"/>
              </a:rPr>
              <a:t>… haben 2 Milliarden Menschen keinen Zugang zu sauberem Trinkwasser</a:t>
            </a:r>
            <a:endParaRPr kumimoji="0" lang="en-US" sz="1600" b="0" i="0" u="none" strike="noStrike" kern="1200" cap="none" spc="0" normalizeH="0" baseline="0" noProof="0" dirty="0">
              <a:ln>
                <a:noFill/>
              </a:ln>
              <a:solidFill>
                <a:prstClr val="black">
                  <a:lumMod val="75000"/>
                  <a:lumOff val="25000"/>
                </a:prstClr>
              </a:solidFill>
              <a:effectLst/>
              <a:uLnTx/>
              <a:uFillTx/>
              <a:latin typeface="Arial"/>
              <a:ea typeface="ヒラギノ角ゴ Pro W3" pitchFamily="125" charset="-128"/>
              <a:cs typeface="+mn-cs"/>
            </a:endParaRPr>
          </a:p>
        </p:txBody>
      </p:sp>
      <p:sp>
        <p:nvSpPr>
          <p:cNvPr id="28" name="Rectangle: Rounded Corners 27">
            <a:extLst>
              <a:ext uri="{FF2B5EF4-FFF2-40B4-BE49-F238E27FC236}">
                <a16:creationId xmlns:a16="http://schemas.microsoft.com/office/drawing/2014/main" id="{5588F205-3DFA-BFF0-5035-1D393C99A880}"/>
              </a:ext>
            </a:extLst>
          </p:cNvPr>
          <p:cNvSpPr/>
          <p:nvPr/>
        </p:nvSpPr>
        <p:spPr>
          <a:xfrm>
            <a:off x="4697412" y="4711652"/>
            <a:ext cx="3240088" cy="1229945"/>
          </a:xfrm>
          <a:prstGeom prst="roundRect">
            <a:avLst>
              <a:gd name="adj" fmla="val 5854"/>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auto">
              <a:spcBef>
                <a:spcPts val="0"/>
              </a:spcBef>
              <a:spcAft>
                <a:spcPts val="0"/>
              </a:spcAft>
            </a:pPr>
            <a:endParaRPr lang="en-US">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29" name="Parallelogram 28">
            <a:extLst>
              <a:ext uri="{FF2B5EF4-FFF2-40B4-BE49-F238E27FC236}">
                <a16:creationId xmlns:a16="http://schemas.microsoft.com/office/drawing/2014/main" id="{0C286334-57EB-06A7-FEFB-983CA0266968}"/>
              </a:ext>
            </a:extLst>
          </p:cNvPr>
          <p:cNvSpPr/>
          <p:nvPr/>
        </p:nvSpPr>
        <p:spPr>
          <a:xfrm>
            <a:off x="4254500" y="5059814"/>
            <a:ext cx="906818" cy="533622"/>
          </a:xfrm>
          <a:prstGeom prst="parallelogram">
            <a:avLst>
              <a:gd name="adj" fmla="val 56566"/>
            </a:avLst>
          </a:prstGeom>
          <a:solidFill>
            <a:srgbClr val="EBB700"/>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38D"/>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30" name="TextBox 29">
            <a:extLst>
              <a:ext uri="{FF2B5EF4-FFF2-40B4-BE49-F238E27FC236}">
                <a16:creationId xmlns:a16="http://schemas.microsoft.com/office/drawing/2014/main" id="{57BA7BFB-681A-F69D-F482-1132D7EDDCA2}"/>
              </a:ext>
            </a:extLst>
          </p:cNvPr>
          <p:cNvSpPr txBox="1"/>
          <p:nvPr/>
        </p:nvSpPr>
        <p:spPr>
          <a:xfrm>
            <a:off x="5217922" y="4911127"/>
            <a:ext cx="2648354" cy="830997"/>
          </a:xfrm>
          <a:prstGeom prst="rect">
            <a:avLst/>
          </a:prstGeom>
          <a:noFill/>
        </p:spPr>
        <p:txBody>
          <a:bodyPr wrap="square" rtlCol="0" anchor="ctr">
            <a:spAutoFit/>
          </a:bodyPr>
          <a:lstStyle/>
          <a:p>
            <a:pPr marL="0" lvl="3" defTabSz="457200" fontAlgn="base">
              <a:spcBef>
                <a:spcPct val="0"/>
              </a:spcBef>
              <a:spcAft>
                <a:spcPct val="0"/>
              </a:spcAft>
              <a:buFont typeface="Arial"/>
              <a:buNone/>
            </a:pPr>
            <a:r>
              <a:rPr lang="de-DE" altLang="de-DE" sz="1600" dirty="0"/>
              <a:t>… haben 3,6 Mrd. Menschen keinen Zugang zu sicheren Sanitäranlagen</a:t>
            </a:r>
          </a:p>
        </p:txBody>
      </p:sp>
      <p:sp>
        <p:nvSpPr>
          <p:cNvPr id="33" name="Rectangle: Rounded Corners 32">
            <a:extLst>
              <a:ext uri="{FF2B5EF4-FFF2-40B4-BE49-F238E27FC236}">
                <a16:creationId xmlns:a16="http://schemas.microsoft.com/office/drawing/2014/main" id="{BE38120B-979B-4BE2-49E2-04769FE6726C}"/>
              </a:ext>
            </a:extLst>
          </p:cNvPr>
          <p:cNvSpPr/>
          <p:nvPr/>
        </p:nvSpPr>
        <p:spPr>
          <a:xfrm>
            <a:off x="8513762" y="4711652"/>
            <a:ext cx="3240088" cy="1229945"/>
          </a:xfrm>
          <a:prstGeom prst="roundRect">
            <a:avLst>
              <a:gd name="adj" fmla="val 5854"/>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auto">
              <a:spcBef>
                <a:spcPts val="0"/>
              </a:spcBef>
              <a:spcAft>
                <a:spcPts val="0"/>
              </a:spcAft>
            </a:pPr>
            <a:endParaRPr lang="en-US">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34" name="Parallelogram 33">
            <a:extLst>
              <a:ext uri="{FF2B5EF4-FFF2-40B4-BE49-F238E27FC236}">
                <a16:creationId xmlns:a16="http://schemas.microsoft.com/office/drawing/2014/main" id="{7344DDC0-817F-4DA3-D277-A434F2EDEA30}"/>
              </a:ext>
            </a:extLst>
          </p:cNvPr>
          <p:cNvSpPr/>
          <p:nvPr/>
        </p:nvSpPr>
        <p:spPr>
          <a:xfrm>
            <a:off x="8070850" y="5059814"/>
            <a:ext cx="906818" cy="533622"/>
          </a:xfrm>
          <a:prstGeom prst="parallelogram">
            <a:avLst>
              <a:gd name="adj" fmla="val 56566"/>
            </a:avLst>
          </a:prstGeom>
          <a:solidFill>
            <a:srgbClr val="EBB700"/>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38D"/>
              </a:solidFill>
              <a:effectLst/>
              <a:uLnTx/>
              <a:uFillTx/>
              <a:latin typeface="Arial" panose="020B0604020202020204" pitchFamily="34" charset="0"/>
              <a:ea typeface="ヒラギノ角ゴ Pro W3" pitchFamily="125" charset="-128"/>
              <a:cs typeface="Arial" panose="020B0604020202020204" pitchFamily="34" charset="0"/>
              <a:sym typeface="Arial" panose="020B0604020202020204" pitchFamily="34" charset="0"/>
            </a:endParaRPr>
          </a:p>
        </p:txBody>
      </p:sp>
      <p:sp>
        <p:nvSpPr>
          <p:cNvPr id="35" name="TextBox 34">
            <a:extLst>
              <a:ext uri="{FF2B5EF4-FFF2-40B4-BE49-F238E27FC236}">
                <a16:creationId xmlns:a16="http://schemas.microsoft.com/office/drawing/2014/main" id="{DE6E09FC-FE4B-92E6-2DF8-73114138EFF9}"/>
              </a:ext>
            </a:extLst>
          </p:cNvPr>
          <p:cNvSpPr txBox="1"/>
          <p:nvPr/>
        </p:nvSpPr>
        <p:spPr>
          <a:xfrm>
            <a:off x="9034272" y="4714727"/>
            <a:ext cx="2648354" cy="1223797"/>
          </a:xfrm>
          <a:prstGeom prst="rect">
            <a:avLst/>
          </a:prstGeom>
          <a:noFill/>
        </p:spPr>
        <p:txBody>
          <a:bodyPr wrap="square" rtlCol="0" anchor="ctr">
            <a:spAutoFit/>
          </a:bodyPr>
          <a:lstStyle/>
          <a:p>
            <a:pPr marL="0" lvl="1" defTabSz="422039" fontAlgn="b">
              <a:lnSpc>
                <a:spcPct val="120000"/>
              </a:lnSpc>
              <a:spcBef>
                <a:spcPct val="0"/>
              </a:spcBef>
              <a:spcAft>
                <a:spcPts val="600"/>
              </a:spcAft>
              <a:buClr>
                <a:srgbClr val="00338D"/>
              </a:buClr>
              <a:defRPr/>
            </a:pPr>
            <a:r>
              <a:rPr lang="de-DE" sz="1600" dirty="0">
                <a:solidFill>
                  <a:prstClr val="black"/>
                </a:solidFill>
                <a:latin typeface="Arial" pitchFamily="34" charset="0"/>
                <a:ea typeface="ヒラギノ角ゴ Pro W3" pitchFamily="125" charset="-128"/>
              </a:rPr>
              <a:t>… sterben täglich mehr als 1.000 Kinder unter 5 Jahren an den Folgen von verschmutztem Wasser</a:t>
            </a:r>
            <a:endParaRPr kumimoji="0" lang="en-US" sz="1600" b="0" i="0" u="none" strike="noStrike" kern="1200" cap="none" spc="0" normalizeH="0" baseline="0" noProof="0" dirty="0">
              <a:ln>
                <a:noFill/>
              </a:ln>
              <a:solidFill>
                <a:prstClr val="black"/>
              </a:solidFill>
              <a:effectLst/>
              <a:uLnTx/>
              <a:uFillTx/>
              <a:latin typeface="Arial" pitchFamily="34" charset="0"/>
              <a:ea typeface="ヒラギノ角ゴ Pro W3" pitchFamily="125" charset="-128"/>
              <a:cs typeface="+mn-cs"/>
            </a:endParaRPr>
          </a:p>
        </p:txBody>
      </p:sp>
      <p:pic>
        <p:nvPicPr>
          <p:cNvPr id="22" name="Graphic 21" descr="Water with solid fill">
            <a:extLst>
              <a:ext uri="{FF2B5EF4-FFF2-40B4-BE49-F238E27FC236}">
                <a16:creationId xmlns:a16="http://schemas.microsoft.com/office/drawing/2014/main" id="{B38E28B7-881F-248E-7FC1-C9D6D9CDC8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7199" y="5172428"/>
            <a:ext cx="308395" cy="308395"/>
          </a:xfrm>
          <a:prstGeom prst="rect">
            <a:avLst/>
          </a:prstGeom>
        </p:spPr>
      </p:pic>
      <p:sp>
        <p:nvSpPr>
          <p:cNvPr id="23" name="TextBox 22">
            <a:extLst>
              <a:ext uri="{FF2B5EF4-FFF2-40B4-BE49-F238E27FC236}">
                <a16:creationId xmlns:a16="http://schemas.microsoft.com/office/drawing/2014/main" id="{D456DB12-F936-173A-249A-CF044EBB0360}"/>
              </a:ext>
            </a:extLst>
          </p:cNvPr>
          <p:cNvSpPr txBox="1"/>
          <p:nvPr/>
        </p:nvSpPr>
        <p:spPr>
          <a:xfrm>
            <a:off x="10018471" y="6052979"/>
            <a:ext cx="1878598" cy="246221"/>
          </a:xfrm>
          <a:prstGeom prst="rect">
            <a:avLst/>
          </a:prstGeom>
          <a:noFill/>
        </p:spPr>
        <p:txBody>
          <a:bodyPr wrap="square" rtlCol="0" anchor="ctr">
            <a:spAutoFit/>
          </a:bodyPr>
          <a:lstStyle/>
          <a:p>
            <a:pPr marL="0" lvl="1" algn="r" fontAlgn="b">
              <a:spcBef>
                <a:spcPct val="0"/>
              </a:spcBef>
              <a:spcAft>
                <a:spcPts val="600"/>
              </a:spcAft>
              <a:buClr>
                <a:srgbClr val="00338D"/>
              </a:buClr>
              <a:defRPr/>
            </a:pPr>
            <a:r>
              <a:rPr lang="de-DE" sz="1000" dirty="0">
                <a:solidFill>
                  <a:schemeClr val="bg1">
                    <a:lumMod val="75000"/>
                  </a:schemeClr>
                </a:solidFill>
                <a:latin typeface="Arial" panose="020B0604020202020204" pitchFamily="34" charset="0"/>
                <a:cs typeface="Arial" panose="020B0604020202020204" pitchFamily="34" charset="0"/>
                <a:sym typeface="Arial" panose="020B0604020202020204" pitchFamily="34" charset="0"/>
              </a:rPr>
              <a:t>Bilder: HFH Malawi, SDL</a:t>
            </a:r>
          </a:p>
        </p:txBody>
      </p:sp>
      <p:sp>
        <p:nvSpPr>
          <p:cNvPr id="5" name="Fußzeilenplatzhalter 4">
            <a:extLst>
              <a:ext uri="{FF2B5EF4-FFF2-40B4-BE49-F238E27FC236}">
                <a16:creationId xmlns:a16="http://schemas.microsoft.com/office/drawing/2014/main" id="{5389B74D-E4AE-8D35-C777-DD0C82000CBF}"/>
              </a:ext>
            </a:extLst>
          </p:cNvPr>
          <p:cNvSpPr>
            <a:spLocks noGrp="1"/>
          </p:cNvSpPr>
          <p:nvPr>
            <p:ph type="ftr" sz="quarter" idx="3"/>
          </p:nvPr>
        </p:nvSpPr>
        <p:spPr/>
        <p:txBody>
          <a:bodyPr/>
          <a:lstStyle/>
          <a:p>
            <a:r>
              <a:rPr lang="de-DE"/>
              <a:t>Lions für WaSH - Wasser ist Leben</a:t>
            </a:r>
            <a:endParaRPr lang="de-DE" dirty="0"/>
          </a:p>
        </p:txBody>
      </p:sp>
      <p:pic>
        <p:nvPicPr>
          <p:cNvPr id="7" name="Graphic 19" descr="Handwashing with solid fill">
            <a:extLst>
              <a:ext uri="{FF2B5EF4-FFF2-40B4-BE49-F238E27FC236}">
                <a16:creationId xmlns:a16="http://schemas.microsoft.com/office/drawing/2014/main" id="{0541245C-712E-1CD1-B322-5258FE1622B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63921" y="5186535"/>
            <a:ext cx="308395" cy="308395"/>
          </a:xfrm>
          <a:prstGeom prst="rect">
            <a:avLst/>
          </a:prstGeom>
        </p:spPr>
      </p:pic>
      <p:pic>
        <p:nvPicPr>
          <p:cNvPr id="10" name="Grafik 9">
            <a:extLst>
              <a:ext uri="{FF2B5EF4-FFF2-40B4-BE49-F238E27FC236}">
                <a16:creationId xmlns:a16="http://schemas.microsoft.com/office/drawing/2014/main" id="{0605CAD4-B287-A6D1-26E6-549EEC94C114}"/>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1285137" y="229675"/>
            <a:ext cx="628217" cy="847837"/>
          </a:xfrm>
          <a:prstGeom prst="rect">
            <a:avLst/>
          </a:prstGeom>
        </p:spPr>
      </p:pic>
      <p:pic>
        <p:nvPicPr>
          <p:cNvPr id="14" name="Grafik 13" descr="Toilette mit einfarbiger Füllung">
            <a:extLst>
              <a:ext uri="{FF2B5EF4-FFF2-40B4-BE49-F238E27FC236}">
                <a16:creationId xmlns:a16="http://schemas.microsoft.com/office/drawing/2014/main" id="{8968B5C8-4A03-13A9-343E-CB163FE6AD3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499765" y="5090476"/>
            <a:ext cx="468000" cy="468000"/>
          </a:xfrm>
          <a:prstGeom prst="rect">
            <a:avLst/>
          </a:prstGeom>
        </p:spPr>
      </p:pic>
    </p:spTree>
    <p:extLst>
      <p:ext uri="{BB962C8B-B14F-4D97-AF65-F5344CB8AC3E}">
        <p14:creationId xmlns:p14="http://schemas.microsoft.com/office/powerpoint/2010/main" val="10948224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BF66736A-584D-FF42-ADE9-FC2D4D618058}"/>
              </a:ext>
            </a:extLst>
          </p:cNvPr>
          <p:cNvSpPr>
            <a:spLocks noGrp="1"/>
          </p:cNvSpPr>
          <p:nvPr>
            <p:ph type="body" sz="quarter" idx="10"/>
          </p:nvPr>
        </p:nvSpPr>
        <p:spPr/>
        <p:txBody>
          <a:bodyPr/>
          <a:lstStyle/>
          <a:p>
            <a:r>
              <a:rPr lang="de-DE" dirty="0"/>
              <a:t>Zentrale Module von </a:t>
            </a:r>
            <a:r>
              <a:rPr lang="de-DE" dirty="0" err="1"/>
              <a:t>WaSH</a:t>
            </a:r>
            <a:endParaRPr lang="de-DE" dirty="0"/>
          </a:p>
        </p:txBody>
      </p:sp>
      <p:pic>
        <p:nvPicPr>
          <p:cNvPr id="9" name="Grafik 8">
            <a:extLst>
              <a:ext uri="{FF2B5EF4-FFF2-40B4-BE49-F238E27FC236}">
                <a16:creationId xmlns:a16="http://schemas.microsoft.com/office/drawing/2014/main" id="{74510F6A-C3B0-414A-93C3-3AF601839DD2}"/>
              </a:ext>
            </a:extLst>
          </p:cNvPr>
          <p:cNvPicPr>
            <a:picLocks noChangeAspect="1"/>
          </p:cNvPicPr>
          <p:nvPr/>
        </p:nvPicPr>
        <p:blipFill>
          <a:blip r:embed="rId3"/>
          <a:stretch/>
        </p:blipFill>
        <p:spPr bwMode="auto">
          <a:xfrm>
            <a:off x="11449159" y="195827"/>
            <a:ext cx="609382" cy="824711"/>
          </a:xfrm>
          <a:prstGeom prst="rect">
            <a:avLst/>
          </a:prstGeom>
        </p:spPr>
      </p:pic>
      <p:grpSp>
        <p:nvGrpSpPr>
          <p:cNvPr id="13" name="Gruppierung 37">
            <a:extLst>
              <a:ext uri="{FF2B5EF4-FFF2-40B4-BE49-F238E27FC236}">
                <a16:creationId xmlns:a16="http://schemas.microsoft.com/office/drawing/2014/main" id="{9F431C45-7855-5B4E-9F63-E7A4DA30A770}"/>
              </a:ext>
            </a:extLst>
          </p:cNvPr>
          <p:cNvGrpSpPr/>
          <p:nvPr/>
        </p:nvGrpSpPr>
        <p:grpSpPr>
          <a:xfrm>
            <a:off x="527365" y="1336426"/>
            <a:ext cx="6148600" cy="2542726"/>
            <a:chOff x="258531" y="1314685"/>
            <a:chExt cx="6148600" cy="2542726"/>
          </a:xfrm>
        </p:grpSpPr>
        <p:sp>
          <p:nvSpPr>
            <p:cNvPr id="22" name="Puzzle1">
              <a:extLst>
                <a:ext uri="{FF2B5EF4-FFF2-40B4-BE49-F238E27FC236}">
                  <a16:creationId xmlns:a16="http://schemas.microsoft.com/office/drawing/2014/main" id="{C43808AD-1016-4848-8E1B-58D5AC5DBB99}"/>
                </a:ext>
              </a:extLst>
            </p:cNvPr>
            <p:cNvSpPr>
              <a:spLocks noEditPoints="1" noChangeArrowheads="1"/>
            </p:cNvSpPr>
            <p:nvPr/>
          </p:nvSpPr>
          <p:spPr bwMode="auto">
            <a:xfrm>
              <a:off x="3230971" y="1995363"/>
              <a:ext cx="3176160" cy="1862048"/>
            </a:xfrm>
            <a:custGeom>
              <a:avLst/>
              <a:gdLst>
                <a:gd name="T0" fmla="*/ 16740 w 21600"/>
                <a:gd name="T1" fmla="*/ 21078 h 21600"/>
                <a:gd name="T2" fmla="*/ 16976 w 21600"/>
                <a:gd name="T3" fmla="*/ 521 h 21600"/>
                <a:gd name="T4" fmla="*/ 4725 w 21600"/>
                <a:gd name="T5" fmla="*/ 856 h 21600"/>
                <a:gd name="T6" fmla="*/ 5040 w 21600"/>
                <a:gd name="T7" fmla="*/ 21004 h 21600"/>
                <a:gd name="T8" fmla="*/ 10811 w 21600"/>
                <a:gd name="T9" fmla="*/ 12885 h 21600"/>
                <a:gd name="T10" fmla="*/ 10845 w 21600"/>
                <a:gd name="T11" fmla="*/ 8714 h 21600"/>
                <a:gd name="T12" fmla="*/ 21600 w 21600"/>
                <a:gd name="T13" fmla="*/ 10000 h 21600"/>
                <a:gd name="T14" fmla="*/ 56 w 21600"/>
                <a:gd name="T15" fmla="*/ 10000 h 21600"/>
                <a:gd name="T16" fmla="*/ 6086 w 21600"/>
                <a:gd name="T17" fmla="*/ 2569 h 21600"/>
                <a:gd name="T18" fmla="*/ 16132 w 21600"/>
                <a:gd name="T19" fmla="*/ 19552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9360" y="20836"/>
                  </a:moveTo>
                  <a:lnTo>
                    <a:pt x="9528" y="20836"/>
                  </a:lnTo>
                  <a:lnTo>
                    <a:pt x="9686" y="20762"/>
                  </a:lnTo>
                  <a:lnTo>
                    <a:pt x="9810" y="20687"/>
                  </a:lnTo>
                  <a:lnTo>
                    <a:pt x="9922" y="20575"/>
                  </a:lnTo>
                  <a:lnTo>
                    <a:pt x="10012" y="20426"/>
                  </a:lnTo>
                  <a:lnTo>
                    <a:pt x="10068" y="20296"/>
                  </a:lnTo>
                  <a:lnTo>
                    <a:pt x="10113" y="20110"/>
                  </a:lnTo>
                  <a:lnTo>
                    <a:pt x="10136" y="19905"/>
                  </a:lnTo>
                  <a:lnTo>
                    <a:pt x="10136" y="19682"/>
                  </a:lnTo>
                  <a:lnTo>
                    <a:pt x="10113" y="19440"/>
                  </a:lnTo>
                  <a:lnTo>
                    <a:pt x="10068" y="19142"/>
                  </a:lnTo>
                  <a:lnTo>
                    <a:pt x="10012" y="18900"/>
                  </a:lnTo>
                  <a:lnTo>
                    <a:pt x="9900" y="18620"/>
                  </a:lnTo>
                  <a:lnTo>
                    <a:pt x="9787" y="18285"/>
                  </a:lnTo>
                  <a:lnTo>
                    <a:pt x="9641" y="17968"/>
                  </a:lnTo>
                  <a:lnTo>
                    <a:pt x="9472" y="17652"/>
                  </a:lnTo>
                  <a:lnTo>
                    <a:pt x="9382" y="17466"/>
                  </a:lnTo>
                  <a:lnTo>
                    <a:pt x="9315" y="17298"/>
                  </a:lnTo>
                  <a:lnTo>
                    <a:pt x="9258" y="17112"/>
                  </a:lnTo>
                  <a:lnTo>
                    <a:pt x="9191" y="16926"/>
                  </a:lnTo>
                  <a:lnTo>
                    <a:pt x="9123" y="16535"/>
                  </a:lnTo>
                  <a:lnTo>
                    <a:pt x="9101" y="16144"/>
                  </a:lnTo>
                  <a:lnTo>
                    <a:pt x="9101" y="15753"/>
                  </a:lnTo>
                  <a:lnTo>
                    <a:pt x="9168" y="15362"/>
                  </a:lnTo>
                  <a:lnTo>
                    <a:pt x="9236" y="14971"/>
                  </a:lnTo>
                  <a:lnTo>
                    <a:pt x="9360" y="14580"/>
                  </a:lnTo>
                  <a:lnTo>
                    <a:pt x="9495" y="14244"/>
                  </a:lnTo>
                  <a:lnTo>
                    <a:pt x="9663" y="13891"/>
                  </a:lnTo>
                  <a:lnTo>
                    <a:pt x="9855" y="13611"/>
                  </a:lnTo>
                  <a:lnTo>
                    <a:pt x="10068" y="13351"/>
                  </a:lnTo>
                  <a:lnTo>
                    <a:pt x="10293" y="13146"/>
                  </a:lnTo>
                  <a:lnTo>
                    <a:pt x="10552" y="12997"/>
                  </a:lnTo>
                  <a:lnTo>
                    <a:pt x="10811" y="12885"/>
                  </a:lnTo>
                  <a:lnTo>
                    <a:pt x="11069" y="12866"/>
                  </a:lnTo>
                  <a:lnTo>
                    <a:pt x="11351" y="12885"/>
                  </a:lnTo>
                  <a:lnTo>
                    <a:pt x="11610" y="12997"/>
                  </a:lnTo>
                  <a:lnTo>
                    <a:pt x="11846" y="13183"/>
                  </a:lnTo>
                  <a:lnTo>
                    <a:pt x="12060" y="13388"/>
                  </a:lnTo>
                  <a:lnTo>
                    <a:pt x="12251" y="13648"/>
                  </a:lnTo>
                  <a:lnTo>
                    <a:pt x="12419" y="13928"/>
                  </a:lnTo>
                  <a:lnTo>
                    <a:pt x="12555" y="14244"/>
                  </a:lnTo>
                  <a:lnTo>
                    <a:pt x="12690" y="14617"/>
                  </a:lnTo>
                  <a:lnTo>
                    <a:pt x="12768" y="15008"/>
                  </a:lnTo>
                  <a:lnTo>
                    <a:pt x="12836" y="15399"/>
                  </a:lnTo>
                  <a:lnTo>
                    <a:pt x="12858" y="15753"/>
                  </a:lnTo>
                  <a:lnTo>
                    <a:pt x="12858" y="16144"/>
                  </a:lnTo>
                  <a:lnTo>
                    <a:pt x="12813" y="16535"/>
                  </a:lnTo>
                  <a:lnTo>
                    <a:pt x="12746" y="16888"/>
                  </a:lnTo>
                  <a:lnTo>
                    <a:pt x="12667" y="17224"/>
                  </a:lnTo>
                  <a:lnTo>
                    <a:pt x="12510" y="17503"/>
                  </a:lnTo>
                  <a:lnTo>
                    <a:pt x="12228" y="18043"/>
                  </a:lnTo>
                  <a:lnTo>
                    <a:pt x="11970" y="18546"/>
                  </a:lnTo>
                  <a:lnTo>
                    <a:pt x="11868" y="18751"/>
                  </a:lnTo>
                  <a:lnTo>
                    <a:pt x="11778" y="18974"/>
                  </a:lnTo>
                  <a:lnTo>
                    <a:pt x="11711" y="19179"/>
                  </a:lnTo>
                  <a:lnTo>
                    <a:pt x="11666" y="19365"/>
                  </a:lnTo>
                  <a:lnTo>
                    <a:pt x="11632" y="19570"/>
                  </a:lnTo>
                  <a:lnTo>
                    <a:pt x="11632" y="19756"/>
                  </a:lnTo>
                  <a:lnTo>
                    <a:pt x="11632" y="19942"/>
                  </a:lnTo>
                  <a:lnTo>
                    <a:pt x="11643" y="20110"/>
                  </a:lnTo>
                  <a:lnTo>
                    <a:pt x="11711" y="20296"/>
                  </a:lnTo>
                  <a:lnTo>
                    <a:pt x="11801" y="20464"/>
                  </a:lnTo>
                  <a:lnTo>
                    <a:pt x="11891" y="20650"/>
                  </a:lnTo>
                  <a:lnTo>
                    <a:pt x="12037" y="20836"/>
                  </a:lnTo>
                  <a:lnTo>
                    <a:pt x="12206" y="21004"/>
                  </a:lnTo>
                  <a:lnTo>
                    <a:pt x="12419" y="21190"/>
                  </a:lnTo>
                  <a:lnTo>
                    <a:pt x="12667" y="21320"/>
                  </a:lnTo>
                  <a:lnTo>
                    <a:pt x="12960" y="21432"/>
                  </a:lnTo>
                  <a:lnTo>
                    <a:pt x="13286" y="21544"/>
                  </a:lnTo>
                  <a:lnTo>
                    <a:pt x="13612" y="21655"/>
                  </a:lnTo>
                  <a:lnTo>
                    <a:pt x="13983" y="21693"/>
                  </a:lnTo>
                  <a:lnTo>
                    <a:pt x="14343" y="21730"/>
                  </a:lnTo>
                  <a:lnTo>
                    <a:pt x="14715" y="21730"/>
                  </a:lnTo>
                  <a:lnTo>
                    <a:pt x="15075" y="21730"/>
                  </a:lnTo>
                  <a:lnTo>
                    <a:pt x="15446" y="21655"/>
                  </a:lnTo>
                  <a:lnTo>
                    <a:pt x="15794" y="21581"/>
                  </a:lnTo>
                  <a:lnTo>
                    <a:pt x="16132" y="21432"/>
                  </a:lnTo>
                  <a:lnTo>
                    <a:pt x="16458" y="21302"/>
                  </a:lnTo>
                  <a:lnTo>
                    <a:pt x="16740" y="21078"/>
                  </a:lnTo>
                  <a:lnTo>
                    <a:pt x="16976" y="20836"/>
                  </a:lnTo>
                  <a:lnTo>
                    <a:pt x="17043" y="20650"/>
                  </a:lnTo>
                  <a:lnTo>
                    <a:pt x="17088" y="20426"/>
                  </a:lnTo>
                  <a:lnTo>
                    <a:pt x="17133" y="20222"/>
                  </a:lnTo>
                  <a:lnTo>
                    <a:pt x="17156" y="19980"/>
                  </a:lnTo>
                  <a:lnTo>
                    <a:pt x="17167" y="19477"/>
                  </a:lnTo>
                  <a:lnTo>
                    <a:pt x="17167" y="18974"/>
                  </a:lnTo>
                  <a:lnTo>
                    <a:pt x="17156" y="18397"/>
                  </a:lnTo>
                  <a:lnTo>
                    <a:pt x="17111" y="17820"/>
                  </a:lnTo>
                  <a:lnTo>
                    <a:pt x="17066" y="17261"/>
                  </a:lnTo>
                  <a:lnTo>
                    <a:pt x="16998" y="16646"/>
                  </a:lnTo>
                  <a:lnTo>
                    <a:pt x="16852" y="15511"/>
                  </a:lnTo>
                  <a:lnTo>
                    <a:pt x="16740" y="14393"/>
                  </a:lnTo>
                  <a:lnTo>
                    <a:pt x="16717" y="13928"/>
                  </a:lnTo>
                  <a:lnTo>
                    <a:pt x="16695" y="13462"/>
                  </a:lnTo>
                  <a:lnTo>
                    <a:pt x="16717" y="13071"/>
                  </a:lnTo>
                  <a:lnTo>
                    <a:pt x="16785" y="12755"/>
                  </a:lnTo>
                  <a:lnTo>
                    <a:pt x="16852" y="12419"/>
                  </a:lnTo>
                  <a:lnTo>
                    <a:pt x="16953" y="12140"/>
                  </a:lnTo>
                  <a:lnTo>
                    <a:pt x="17088" y="11898"/>
                  </a:lnTo>
                  <a:lnTo>
                    <a:pt x="17212" y="11675"/>
                  </a:lnTo>
                  <a:lnTo>
                    <a:pt x="17370" y="11470"/>
                  </a:lnTo>
                  <a:lnTo>
                    <a:pt x="17516" y="11284"/>
                  </a:lnTo>
                  <a:lnTo>
                    <a:pt x="17696" y="11135"/>
                  </a:lnTo>
                  <a:lnTo>
                    <a:pt x="17865" y="11042"/>
                  </a:lnTo>
                  <a:lnTo>
                    <a:pt x="18033" y="10930"/>
                  </a:lnTo>
                  <a:lnTo>
                    <a:pt x="18213" y="10893"/>
                  </a:lnTo>
                  <a:lnTo>
                    <a:pt x="18382" y="10893"/>
                  </a:lnTo>
                  <a:lnTo>
                    <a:pt x="18551" y="10967"/>
                  </a:lnTo>
                  <a:lnTo>
                    <a:pt x="18708" y="11042"/>
                  </a:lnTo>
                  <a:lnTo>
                    <a:pt x="18855" y="11172"/>
                  </a:lnTo>
                  <a:lnTo>
                    <a:pt x="19012" y="11358"/>
                  </a:lnTo>
                  <a:lnTo>
                    <a:pt x="19136" y="11600"/>
                  </a:lnTo>
                  <a:lnTo>
                    <a:pt x="19271" y="11861"/>
                  </a:lnTo>
                  <a:lnTo>
                    <a:pt x="19440" y="12028"/>
                  </a:lnTo>
                  <a:lnTo>
                    <a:pt x="19608" y="12177"/>
                  </a:lnTo>
                  <a:lnTo>
                    <a:pt x="19822" y="12289"/>
                  </a:lnTo>
                  <a:lnTo>
                    <a:pt x="20025" y="12289"/>
                  </a:lnTo>
                  <a:lnTo>
                    <a:pt x="20238" y="12289"/>
                  </a:lnTo>
                  <a:lnTo>
                    <a:pt x="20452" y="12215"/>
                  </a:lnTo>
                  <a:lnTo>
                    <a:pt x="20643" y="12103"/>
                  </a:lnTo>
                  <a:lnTo>
                    <a:pt x="20846" y="11973"/>
                  </a:lnTo>
                  <a:lnTo>
                    <a:pt x="21037" y="11786"/>
                  </a:lnTo>
                  <a:lnTo>
                    <a:pt x="21206" y="11563"/>
                  </a:lnTo>
                  <a:lnTo>
                    <a:pt x="21363" y="11321"/>
                  </a:lnTo>
                  <a:lnTo>
                    <a:pt x="21465" y="11079"/>
                  </a:lnTo>
                  <a:lnTo>
                    <a:pt x="21577" y="10744"/>
                  </a:lnTo>
                  <a:lnTo>
                    <a:pt x="21622" y="10427"/>
                  </a:lnTo>
                  <a:lnTo>
                    <a:pt x="21645" y="10111"/>
                  </a:lnTo>
                  <a:lnTo>
                    <a:pt x="21622" y="9608"/>
                  </a:lnTo>
                  <a:lnTo>
                    <a:pt x="21577" y="9142"/>
                  </a:lnTo>
                  <a:lnTo>
                    <a:pt x="21465" y="8751"/>
                  </a:lnTo>
                  <a:lnTo>
                    <a:pt x="21363" y="8397"/>
                  </a:lnTo>
                  <a:lnTo>
                    <a:pt x="21206" y="8062"/>
                  </a:lnTo>
                  <a:lnTo>
                    <a:pt x="21037" y="7820"/>
                  </a:lnTo>
                  <a:lnTo>
                    <a:pt x="20846" y="7597"/>
                  </a:lnTo>
                  <a:lnTo>
                    <a:pt x="20643" y="7429"/>
                  </a:lnTo>
                  <a:lnTo>
                    <a:pt x="20452" y="7317"/>
                  </a:lnTo>
                  <a:lnTo>
                    <a:pt x="20238" y="7206"/>
                  </a:lnTo>
                  <a:lnTo>
                    <a:pt x="20025" y="7168"/>
                  </a:lnTo>
                  <a:lnTo>
                    <a:pt x="19822" y="7206"/>
                  </a:lnTo>
                  <a:lnTo>
                    <a:pt x="19608" y="7243"/>
                  </a:lnTo>
                  <a:lnTo>
                    <a:pt x="19440" y="7355"/>
                  </a:lnTo>
                  <a:lnTo>
                    <a:pt x="19271" y="7504"/>
                  </a:lnTo>
                  <a:lnTo>
                    <a:pt x="19136" y="7708"/>
                  </a:lnTo>
                  <a:lnTo>
                    <a:pt x="19012" y="7895"/>
                  </a:lnTo>
                  <a:lnTo>
                    <a:pt x="18832" y="8025"/>
                  </a:lnTo>
                  <a:lnTo>
                    <a:pt x="18663" y="8174"/>
                  </a:lnTo>
                  <a:lnTo>
                    <a:pt x="18472" y="8248"/>
                  </a:lnTo>
                  <a:lnTo>
                    <a:pt x="18270" y="8286"/>
                  </a:lnTo>
                  <a:lnTo>
                    <a:pt x="18078" y="8323"/>
                  </a:lnTo>
                  <a:lnTo>
                    <a:pt x="17887" y="8323"/>
                  </a:lnTo>
                  <a:lnTo>
                    <a:pt x="17696" y="8248"/>
                  </a:lnTo>
                  <a:lnTo>
                    <a:pt x="17493" y="8174"/>
                  </a:lnTo>
                  <a:lnTo>
                    <a:pt x="17302" y="8062"/>
                  </a:lnTo>
                  <a:lnTo>
                    <a:pt x="17133" y="7969"/>
                  </a:lnTo>
                  <a:lnTo>
                    <a:pt x="16976" y="7783"/>
                  </a:lnTo>
                  <a:lnTo>
                    <a:pt x="16852" y="7597"/>
                  </a:lnTo>
                  <a:lnTo>
                    <a:pt x="16740" y="7429"/>
                  </a:lnTo>
                  <a:lnTo>
                    <a:pt x="16672" y="7168"/>
                  </a:lnTo>
                  <a:lnTo>
                    <a:pt x="16638" y="6926"/>
                  </a:lnTo>
                  <a:lnTo>
                    <a:pt x="16616" y="6498"/>
                  </a:lnTo>
                  <a:lnTo>
                    <a:pt x="16616" y="5772"/>
                  </a:lnTo>
                  <a:lnTo>
                    <a:pt x="16650" y="4915"/>
                  </a:lnTo>
                  <a:lnTo>
                    <a:pt x="16695" y="3928"/>
                  </a:lnTo>
                  <a:lnTo>
                    <a:pt x="16762" y="2960"/>
                  </a:lnTo>
                  <a:lnTo>
                    <a:pt x="16830" y="1992"/>
                  </a:lnTo>
                  <a:lnTo>
                    <a:pt x="16908" y="1173"/>
                  </a:lnTo>
                  <a:lnTo>
                    <a:pt x="16976" y="521"/>
                  </a:lnTo>
                  <a:lnTo>
                    <a:pt x="16953" y="521"/>
                  </a:lnTo>
                  <a:lnTo>
                    <a:pt x="16931" y="521"/>
                  </a:lnTo>
                  <a:lnTo>
                    <a:pt x="16267" y="484"/>
                  </a:lnTo>
                  <a:lnTo>
                    <a:pt x="15637" y="428"/>
                  </a:lnTo>
                  <a:lnTo>
                    <a:pt x="15063" y="353"/>
                  </a:lnTo>
                  <a:lnTo>
                    <a:pt x="14523" y="279"/>
                  </a:lnTo>
                  <a:lnTo>
                    <a:pt x="14040" y="167"/>
                  </a:lnTo>
                  <a:lnTo>
                    <a:pt x="13635" y="93"/>
                  </a:lnTo>
                  <a:lnTo>
                    <a:pt x="13331" y="18"/>
                  </a:lnTo>
                  <a:lnTo>
                    <a:pt x="13117" y="18"/>
                  </a:lnTo>
                  <a:lnTo>
                    <a:pt x="12982" y="18"/>
                  </a:lnTo>
                  <a:lnTo>
                    <a:pt x="12858" y="130"/>
                  </a:lnTo>
                  <a:lnTo>
                    <a:pt x="12723" y="279"/>
                  </a:lnTo>
                  <a:lnTo>
                    <a:pt x="12622" y="446"/>
                  </a:lnTo>
                  <a:lnTo>
                    <a:pt x="12510" y="670"/>
                  </a:lnTo>
                  <a:lnTo>
                    <a:pt x="12419" y="912"/>
                  </a:lnTo>
                  <a:lnTo>
                    <a:pt x="12363" y="1210"/>
                  </a:lnTo>
                  <a:lnTo>
                    <a:pt x="12318" y="1526"/>
                  </a:lnTo>
                  <a:lnTo>
                    <a:pt x="12273" y="1843"/>
                  </a:lnTo>
                  <a:lnTo>
                    <a:pt x="12251" y="2215"/>
                  </a:lnTo>
                  <a:lnTo>
                    <a:pt x="12273" y="2532"/>
                  </a:lnTo>
                  <a:lnTo>
                    <a:pt x="12318" y="2886"/>
                  </a:lnTo>
                  <a:lnTo>
                    <a:pt x="12386" y="3240"/>
                  </a:lnTo>
                  <a:lnTo>
                    <a:pt x="12464" y="3556"/>
                  </a:lnTo>
                  <a:lnTo>
                    <a:pt x="12577" y="3891"/>
                  </a:lnTo>
                  <a:lnTo>
                    <a:pt x="12746" y="4171"/>
                  </a:lnTo>
                  <a:lnTo>
                    <a:pt x="12926" y="4487"/>
                  </a:lnTo>
                  <a:lnTo>
                    <a:pt x="13050" y="4860"/>
                  </a:lnTo>
                  <a:lnTo>
                    <a:pt x="13162" y="5251"/>
                  </a:lnTo>
                  <a:lnTo>
                    <a:pt x="13218" y="5604"/>
                  </a:lnTo>
                  <a:lnTo>
                    <a:pt x="13263" y="5995"/>
                  </a:lnTo>
                  <a:lnTo>
                    <a:pt x="13241" y="6386"/>
                  </a:lnTo>
                  <a:lnTo>
                    <a:pt x="13218" y="6740"/>
                  </a:lnTo>
                  <a:lnTo>
                    <a:pt x="13139" y="7094"/>
                  </a:lnTo>
                  <a:lnTo>
                    <a:pt x="13050" y="7429"/>
                  </a:lnTo>
                  <a:lnTo>
                    <a:pt x="12903" y="7746"/>
                  </a:lnTo>
                  <a:lnTo>
                    <a:pt x="12723" y="8025"/>
                  </a:lnTo>
                  <a:lnTo>
                    <a:pt x="12532" y="8286"/>
                  </a:lnTo>
                  <a:lnTo>
                    <a:pt x="12318" y="8491"/>
                  </a:lnTo>
                  <a:lnTo>
                    <a:pt x="12060" y="8677"/>
                  </a:lnTo>
                  <a:lnTo>
                    <a:pt x="11756" y="8788"/>
                  </a:lnTo>
                  <a:lnTo>
                    <a:pt x="11452" y="8826"/>
                  </a:lnTo>
                  <a:lnTo>
                    <a:pt x="11283" y="8826"/>
                  </a:lnTo>
                  <a:lnTo>
                    <a:pt x="11126" y="8826"/>
                  </a:lnTo>
                  <a:lnTo>
                    <a:pt x="11002" y="8788"/>
                  </a:lnTo>
                  <a:lnTo>
                    <a:pt x="10845" y="8714"/>
                  </a:lnTo>
                  <a:lnTo>
                    <a:pt x="10721" y="8640"/>
                  </a:lnTo>
                  <a:lnTo>
                    <a:pt x="10608" y="8565"/>
                  </a:lnTo>
                  <a:lnTo>
                    <a:pt x="10485" y="8453"/>
                  </a:lnTo>
                  <a:lnTo>
                    <a:pt x="10372" y="8323"/>
                  </a:lnTo>
                  <a:lnTo>
                    <a:pt x="10181" y="8062"/>
                  </a:lnTo>
                  <a:lnTo>
                    <a:pt x="10035" y="7746"/>
                  </a:lnTo>
                  <a:lnTo>
                    <a:pt x="9900" y="7392"/>
                  </a:lnTo>
                  <a:lnTo>
                    <a:pt x="9787" y="7001"/>
                  </a:lnTo>
                  <a:lnTo>
                    <a:pt x="9731" y="6610"/>
                  </a:lnTo>
                  <a:lnTo>
                    <a:pt x="9686" y="6219"/>
                  </a:lnTo>
                  <a:lnTo>
                    <a:pt x="9663" y="5772"/>
                  </a:lnTo>
                  <a:lnTo>
                    <a:pt x="9686" y="5381"/>
                  </a:lnTo>
                  <a:lnTo>
                    <a:pt x="9753" y="4990"/>
                  </a:lnTo>
                  <a:lnTo>
                    <a:pt x="9832" y="4636"/>
                  </a:lnTo>
                  <a:lnTo>
                    <a:pt x="9945" y="4320"/>
                  </a:lnTo>
                  <a:lnTo>
                    <a:pt x="10068" y="4022"/>
                  </a:lnTo>
                  <a:lnTo>
                    <a:pt x="10203" y="3817"/>
                  </a:lnTo>
                  <a:lnTo>
                    <a:pt x="10316" y="3593"/>
                  </a:lnTo>
                  <a:lnTo>
                    <a:pt x="10395" y="3351"/>
                  </a:lnTo>
                  <a:lnTo>
                    <a:pt x="10462" y="3109"/>
                  </a:lnTo>
                  <a:lnTo>
                    <a:pt x="10507" y="2848"/>
                  </a:lnTo>
                  <a:lnTo>
                    <a:pt x="10530" y="2606"/>
                  </a:lnTo>
                  <a:lnTo>
                    <a:pt x="10507" y="2346"/>
                  </a:lnTo>
                  <a:lnTo>
                    <a:pt x="10462" y="2141"/>
                  </a:lnTo>
                  <a:lnTo>
                    <a:pt x="10395" y="1880"/>
                  </a:lnTo>
                  <a:lnTo>
                    <a:pt x="10293" y="1638"/>
                  </a:lnTo>
                  <a:lnTo>
                    <a:pt x="10158" y="1415"/>
                  </a:lnTo>
                  <a:lnTo>
                    <a:pt x="9967" y="1210"/>
                  </a:lnTo>
                  <a:lnTo>
                    <a:pt x="9753" y="986"/>
                  </a:lnTo>
                  <a:lnTo>
                    <a:pt x="9495" y="819"/>
                  </a:lnTo>
                  <a:lnTo>
                    <a:pt x="9191" y="670"/>
                  </a:lnTo>
                  <a:lnTo>
                    <a:pt x="8842" y="521"/>
                  </a:lnTo>
                  <a:lnTo>
                    <a:pt x="8471" y="446"/>
                  </a:lnTo>
                  <a:lnTo>
                    <a:pt x="7998" y="428"/>
                  </a:lnTo>
                  <a:lnTo>
                    <a:pt x="7413" y="428"/>
                  </a:lnTo>
                  <a:lnTo>
                    <a:pt x="6817" y="446"/>
                  </a:lnTo>
                  <a:lnTo>
                    <a:pt x="6187" y="521"/>
                  </a:lnTo>
                  <a:lnTo>
                    <a:pt x="5602" y="633"/>
                  </a:lnTo>
                  <a:lnTo>
                    <a:pt x="5107" y="744"/>
                  </a:lnTo>
                  <a:lnTo>
                    <a:pt x="4725" y="856"/>
                  </a:lnTo>
                  <a:lnTo>
                    <a:pt x="4848" y="1564"/>
                  </a:lnTo>
                  <a:lnTo>
                    <a:pt x="5028" y="2495"/>
                  </a:lnTo>
                  <a:lnTo>
                    <a:pt x="5175" y="3556"/>
                  </a:lnTo>
                  <a:lnTo>
                    <a:pt x="5298" y="4673"/>
                  </a:lnTo>
                  <a:lnTo>
                    <a:pt x="5343" y="5213"/>
                  </a:lnTo>
                  <a:lnTo>
                    <a:pt x="5388" y="5753"/>
                  </a:lnTo>
                  <a:lnTo>
                    <a:pt x="5411" y="6275"/>
                  </a:lnTo>
                  <a:lnTo>
                    <a:pt x="5411" y="6740"/>
                  </a:lnTo>
                  <a:lnTo>
                    <a:pt x="5366" y="7168"/>
                  </a:lnTo>
                  <a:lnTo>
                    <a:pt x="5321" y="7541"/>
                  </a:lnTo>
                  <a:lnTo>
                    <a:pt x="5287" y="7708"/>
                  </a:lnTo>
                  <a:lnTo>
                    <a:pt x="5242" y="7857"/>
                  </a:lnTo>
                  <a:lnTo>
                    <a:pt x="5197" y="7969"/>
                  </a:lnTo>
                  <a:lnTo>
                    <a:pt x="5130" y="8062"/>
                  </a:lnTo>
                  <a:lnTo>
                    <a:pt x="5006" y="8248"/>
                  </a:lnTo>
                  <a:lnTo>
                    <a:pt x="4848" y="8397"/>
                  </a:lnTo>
                  <a:lnTo>
                    <a:pt x="4725" y="8528"/>
                  </a:lnTo>
                  <a:lnTo>
                    <a:pt x="4567" y="8640"/>
                  </a:lnTo>
                  <a:lnTo>
                    <a:pt x="4421" y="8714"/>
                  </a:lnTo>
                  <a:lnTo>
                    <a:pt x="4263" y="8751"/>
                  </a:lnTo>
                  <a:lnTo>
                    <a:pt x="4095" y="8788"/>
                  </a:lnTo>
                  <a:lnTo>
                    <a:pt x="3948" y="8788"/>
                  </a:lnTo>
                  <a:lnTo>
                    <a:pt x="3791" y="8751"/>
                  </a:lnTo>
                  <a:lnTo>
                    <a:pt x="3667" y="8714"/>
                  </a:lnTo>
                  <a:lnTo>
                    <a:pt x="3510" y="8677"/>
                  </a:lnTo>
                  <a:lnTo>
                    <a:pt x="3386" y="8602"/>
                  </a:lnTo>
                  <a:lnTo>
                    <a:pt x="3251" y="8491"/>
                  </a:lnTo>
                  <a:lnTo>
                    <a:pt x="3127" y="8360"/>
                  </a:lnTo>
                  <a:lnTo>
                    <a:pt x="3015" y="8248"/>
                  </a:lnTo>
                  <a:lnTo>
                    <a:pt x="2925" y="8062"/>
                  </a:lnTo>
                  <a:lnTo>
                    <a:pt x="2778" y="7857"/>
                  </a:lnTo>
                  <a:lnTo>
                    <a:pt x="2610" y="7671"/>
                  </a:lnTo>
                  <a:lnTo>
                    <a:pt x="2407" y="7541"/>
                  </a:lnTo>
                  <a:lnTo>
                    <a:pt x="2171" y="7466"/>
                  </a:lnTo>
                  <a:lnTo>
                    <a:pt x="1957" y="7429"/>
                  </a:lnTo>
                  <a:lnTo>
                    <a:pt x="1698" y="7429"/>
                  </a:lnTo>
                  <a:lnTo>
                    <a:pt x="1462" y="7466"/>
                  </a:lnTo>
                  <a:lnTo>
                    <a:pt x="1226" y="7559"/>
                  </a:lnTo>
                  <a:lnTo>
                    <a:pt x="989" y="7708"/>
                  </a:lnTo>
                  <a:lnTo>
                    <a:pt x="776" y="7932"/>
                  </a:lnTo>
                  <a:lnTo>
                    <a:pt x="551" y="8211"/>
                  </a:lnTo>
                  <a:lnTo>
                    <a:pt x="382" y="8528"/>
                  </a:lnTo>
                  <a:lnTo>
                    <a:pt x="315" y="8714"/>
                  </a:lnTo>
                  <a:lnTo>
                    <a:pt x="236" y="8919"/>
                  </a:lnTo>
                  <a:lnTo>
                    <a:pt x="191" y="9142"/>
                  </a:lnTo>
                  <a:lnTo>
                    <a:pt x="123" y="9347"/>
                  </a:lnTo>
                  <a:lnTo>
                    <a:pt x="78" y="9608"/>
                  </a:lnTo>
                  <a:lnTo>
                    <a:pt x="56" y="9887"/>
                  </a:lnTo>
                  <a:lnTo>
                    <a:pt x="33" y="10185"/>
                  </a:lnTo>
                  <a:lnTo>
                    <a:pt x="33" y="10464"/>
                  </a:lnTo>
                  <a:lnTo>
                    <a:pt x="33" y="10706"/>
                  </a:lnTo>
                  <a:lnTo>
                    <a:pt x="56" y="10967"/>
                  </a:lnTo>
                  <a:lnTo>
                    <a:pt x="78" y="11172"/>
                  </a:lnTo>
                  <a:lnTo>
                    <a:pt x="123" y="11395"/>
                  </a:lnTo>
                  <a:lnTo>
                    <a:pt x="168" y="11600"/>
                  </a:lnTo>
                  <a:lnTo>
                    <a:pt x="236" y="11786"/>
                  </a:lnTo>
                  <a:lnTo>
                    <a:pt x="292" y="11973"/>
                  </a:lnTo>
                  <a:lnTo>
                    <a:pt x="382" y="12140"/>
                  </a:lnTo>
                  <a:lnTo>
                    <a:pt x="540" y="12419"/>
                  </a:lnTo>
                  <a:lnTo>
                    <a:pt x="731" y="12680"/>
                  </a:lnTo>
                  <a:lnTo>
                    <a:pt x="944" y="12866"/>
                  </a:lnTo>
                  <a:lnTo>
                    <a:pt x="1158" y="12997"/>
                  </a:lnTo>
                  <a:lnTo>
                    <a:pt x="1395" y="13108"/>
                  </a:lnTo>
                  <a:lnTo>
                    <a:pt x="1608" y="13183"/>
                  </a:lnTo>
                  <a:lnTo>
                    <a:pt x="1856" y="13183"/>
                  </a:lnTo>
                  <a:lnTo>
                    <a:pt x="2070" y="13146"/>
                  </a:lnTo>
                  <a:lnTo>
                    <a:pt x="2261" y="13071"/>
                  </a:lnTo>
                  <a:lnTo>
                    <a:pt x="2430" y="12960"/>
                  </a:lnTo>
                  <a:lnTo>
                    <a:pt x="2587" y="12792"/>
                  </a:lnTo>
                  <a:lnTo>
                    <a:pt x="2688" y="12606"/>
                  </a:lnTo>
                  <a:lnTo>
                    <a:pt x="2801" y="12419"/>
                  </a:lnTo>
                  <a:lnTo>
                    <a:pt x="2925" y="12289"/>
                  </a:lnTo>
                  <a:lnTo>
                    <a:pt x="3082" y="12177"/>
                  </a:lnTo>
                  <a:lnTo>
                    <a:pt x="3228" y="12103"/>
                  </a:lnTo>
                  <a:lnTo>
                    <a:pt x="3408" y="12103"/>
                  </a:lnTo>
                  <a:lnTo>
                    <a:pt x="3577" y="12103"/>
                  </a:lnTo>
                  <a:lnTo>
                    <a:pt x="3723" y="12177"/>
                  </a:lnTo>
                  <a:lnTo>
                    <a:pt x="3903" y="12252"/>
                  </a:lnTo>
                  <a:lnTo>
                    <a:pt x="4072" y="12364"/>
                  </a:lnTo>
                  <a:lnTo>
                    <a:pt x="4230" y="12494"/>
                  </a:lnTo>
                  <a:lnTo>
                    <a:pt x="4353" y="12643"/>
                  </a:lnTo>
                  <a:lnTo>
                    <a:pt x="4488" y="12829"/>
                  </a:lnTo>
                  <a:lnTo>
                    <a:pt x="4567" y="13034"/>
                  </a:lnTo>
                  <a:lnTo>
                    <a:pt x="4657" y="13257"/>
                  </a:lnTo>
                  <a:lnTo>
                    <a:pt x="4702" y="13462"/>
                  </a:lnTo>
                  <a:lnTo>
                    <a:pt x="4725" y="13686"/>
                  </a:lnTo>
                  <a:lnTo>
                    <a:pt x="4702" y="14282"/>
                  </a:lnTo>
                  <a:lnTo>
                    <a:pt x="4657" y="15045"/>
                  </a:lnTo>
                  <a:lnTo>
                    <a:pt x="4612" y="15976"/>
                  </a:lnTo>
                  <a:lnTo>
                    <a:pt x="4590" y="16926"/>
                  </a:lnTo>
                  <a:lnTo>
                    <a:pt x="4567" y="17968"/>
                  </a:lnTo>
                  <a:lnTo>
                    <a:pt x="4567" y="19011"/>
                  </a:lnTo>
                  <a:lnTo>
                    <a:pt x="4590" y="19514"/>
                  </a:lnTo>
                  <a:lnTo>
                    <a:pt x="4612" y="19980"/>
                  </a:lnTo>
                  <a:lnTo>
                    <a:pt x="4657" y="20426"/>
                  </a:lnTo>
                  <a:lnTo>
                    <a:pt x="4725" y="20836"/>
                  </a:lnTo>
                  <a:lnTo>
                    <a:pt x="4848" y="20929"/>
                  </a:lnTo>
                  <a:lnTo>
                    <a:pt x="5040" y="21004"/>
                  </a:lnTo>
                  <a:lnTo>
                    <a:pt x="5265" y="21078"/>
                  </a:lnTo>
                  <a:lnTo>
                    <a:pt x="5478" y="21115"/>
                  </a:lnTo>
                  <a:lnTo>
                    <a:pt x="6041" y="21115"/>
                  </a:lnTo>
                  <a:lnTo>
                    <a:pt x="6637" y="21078"/>
                  </a:lnTo>
                  <a:lnTo>
                    <a:pt x="7312" y="21004"/>
                  </a:lnTo>
                  <a:lnTo>
                    <a:pt x="7998" y="20929"/>
                  </a:lnTo>
                  <a:lnTo>
                    <a:pt x="8696" y="20855"/>
                  </a:lnTo>
                  <a:lnTo>
                    <a:pt x="9360" y="20836"/>
                  </a:lnTo>
                  <a:close/>
                </a:path>
              </a:pathLst>
            </a:custGeom>
            <a:solidFill>
              <a:srgbClr val="CCCCFF"/>
            </a:solid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de-DE" dirty="0"/>
            </a:p>
          </p:txBody>
        </p:sp>
        <p:pic>
          <p:nvPicPr>
            <p:cNvPr id="23" name="Bildplatzhalter 15">
              <a:extLst>
                <a:ext uri="{FF2B5EF4-FFF2-40B4-BE49-F238E27FC236}">
                  <a16:creationId xmlns:a16="http://schemas.microsoft.com/office/drawing/2014/main" id="{53E8D87B-DA6D-6847-81F3-74F776BDC9A9}"/>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258531" y="1314685"/>
              <a:ext cx="3122694" cy="2088000"/>
            </a:xfrm>
            <a:prstGeom prst="rect">
              <a:avLst/>
            </a:prstGeom>
          </p:spPr>
        </p:pic>
        <p:sp>
          <p:nvSpPr>
            <p:cNvPr id="24" name="Textfeld 23">
              <a:extLst>
                <a:ext uri="{FF2B5EF4-FFF2-40B4-BE49-F238E27FC236}">
                  <a16:creationId xmlns:a16="http://schemas.microsoft.com/office/drawing/2014/main" id="{8DC47D60-CE0C-664F-BF52-9426E3FF6A99}"/>
                </a:ext>
              </a:extLst>
            </p:cNvPr>
            <p:cNvSpPr txBox="1"/>
            <p:nvPr/>
          </p:nvSpPr>
          <p:spPr>
            <a:xfrm>
              <a:off x="4319758" y="2739467"/>
              <a:ext cx="1087285" cy="400110"/>
            </a:xfrm>
            <a:prstGeom prst="rect">
              <a:avLst/>
            </a:prstGeom>
            <a:noFill/>
          </p:spPr>
          <p:txBody>
            <a:bodyPr wrap="none" rtlCol="0">
              <a:spAutoFit/>
            </a:bodyPr>
            <a:lstStyle/>
            <a:p>
              <a:r>
                <a:rPr lang="en-US" sz="2000" b="1" dirty="0"/>
                <a:t>Wasser</a:t>
              </a:r>
            </a:p>
          </p:txBody>
        </p:sp>
        <p:cxnSp>
          <p:nvCxnSpPr>
            <p:cNvPr id="25" name="Gerade Verbindung 24">
              <a:extLst>
                <a:ext uri="{FF2B5EF4-FFF2-40B4-BE49-F238E27FC236}">
                  <a16:creationId xmlns:a16="http://schemas.microsoft.com/office/drawing/2014/main" id="{926A122E-BDC1-BB46-9E83-B9C07CB4F655}"/>
                </a:ext>
              </a:extLst>
            </p:cNvPr>
            <p:cNvCxnSpPr>
              <a:stCxn id="23" idx="3"/>
              <a:endCxn id="24" idx="1"/>
            </p:cNvCxnSpPr>
            <p:nvPr/>
          </p:nvCxnSpPr>
          <p:spPr>
            <a:xfrm>
              <a:off x="3381225" y="2358685"/>
              <a:ext cx="938533" cy="580837"/>
            </a:xfrm>
            <a:prstGeom prst="line">
              <a:avLst/>
            </a:prstGeom>
            <a:ln w="7620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46E79FB7-27FF-344B-9341-7A9F21BDF495}"/>
                </a:ext>
              </a:extLst>
            </p:cNvPr>
            <p:cNvSpPr txBox="1"/>
            <p:nvPr/>
          </p:nvSpPr>
          <p:spPr>
            <a:xfrm>
              <a:off x="791728" y="1442994"/>
              <a:ext cx="2399215" cy="1862048"/>
            </a:xfrm>
            <a:prstGeom prst="rect">
              <a:avLst/>
            </a:prstGeom>
            <a:noFill/>
          </p:spPr>
          <p:txBody>
            <a:bodyPr wrap="square" rtlCol="0">
              <a:spAutoFit/>
            </a:bodyPr>
            <a:lstStyle/>
            <a:p>
              <a:r>
                <a:rPr lang="de-DE" sz="11500" dirty="0">
                  <a:ln w="38100">
                    <a:solidFill>
                      <a:schemeClr val="bg1"/>
                    </a:solidFill>
                  </a:ln>
                  <a:noFill/>
                </a:rPr>
                <a:t>Wa</a:t>
              </a:r>
              <a:endParaRPr lang="de-DE" dirty="0">
                <a:ln w="38100">
                  <a:solidFill>
                    <a:schemeClr val="bg1"/>
                  </a:solidFill>
                </a:ln>
                <a:noFill/>
              </a:endParaRPr>
            </a:p>
          </p:txBody>
        </p:sp>
      </p:grpSp>
      <p:grpSp>
        <p:nvGrpSpPr>
          <p:cNvPr id="27" name="Gruppierung 41">
            <a:extLst>
              <a:ext uri="{FF2B5EF4-FFF2-40B4-BE49-F238E27FC236}">
                <a16:creationId xmlns:a16="http://schemas.microsoft.com/office/drawing/2014/main" id="{A641E456-40D5-994F-A50D-35BB2F85635F}"/>
              </a:ext>
            </a:extLst>
          </p:cNvPr>
          <p:cNvGrpSpPr/>
          <p:nvPr/>
        </p:nvGrpSpPr>
        <p:grpSpPr>
          <a:xfrm>
            <a:off x="489906" y="3128713"/>
            <a:ext cx="5527417" cy="3011754"/>
            <a:chOff x="116519" y="3165865"/>
            <a:chExt cx="5527417" cy="3011754"/>
          </a:xfrm>
        </p:grpSpPr>
        <p:sp>
          <p:nvSpPr>
            <p:cNvPr id="28" name="Puzzle4">
              <a:extLst>
                <a:ext uri="{FF2B5EF4-FFF2-40B4-BE49-F238E27FC236}">
                  <a16:creationId xmlns:a16="http://schemas.microsoft.com/office/drawing/2014/main" id="{88BEFD2E-D8D7-F342-8D30-22824AEEDAFA}"/>
                </a:ext>
              </a:extLst>
            </p:cNvPr>
            <p:cNvSpPr>
              <a:spLocks noEditPoints="1" noChangeArrowheads="1"/>
            </p:cNvSpPr>
            <p:nvPr/>
          </p:nvSpPr>
          <p:spPr bwMode="auto">
            <a:xfrm>
              <a:off x="3810701" y="3165865"/>
              <a:ext cx="1833235" cy="3011754"/>
            </a:xfrm>
            <a:custGeom>
              <a:avLst/>
              <a:gdLst>
                <a:gd name="T0" fmla="*/ 8307 w 21600"/>
                <a:gd name="T1" fmla="*/ 11593 h 21600"/>
                <a:gd name="T2" fmla="*/ 453 w 21600"/>
                <a:gd name="T3" fmla="*/ 16938 h 21600"/>
                <a:gd name="T4" fmla="*/ 11500 w 21600"/>
                <a:gd name="T5" fmla="*/ 21600 h 21600"/>
                <a:gd name="T6" fmla="*/ 20920 w 21600"/>
                <a:gd name="T7" fmla="*/ 16751 h 21600"/>
                <a:gd name="T8" fmla="*/ 13972 w 21600"/>
                <a:gd name="T9" fmla="*/ 10888 h 21600"/>
                <a:gd name="T10" fmla="*/ 21033 w 21600"/>
                <a:gd name="T11" fmla="*/ 4716 h 21600"/>
                <a:gd name="T12" fmla="*/ 11102 w 21600"/>
                <a:gd name="T13" fmla="*/ 11 h 21600"/>
                <a:gd name="T14" fmla="*/ 453 w 21600"/>
                <a:gd name="T15" fmla="*/ 4716 h 21600"/>
                <a:gd name="T16" fmla="*/ 2076 w 21600"/>
                <a:gd name="T17" fmla="*/ 5664 h 21600"/>
                <a:gd name="T18" fmla="*/ 20203 w 21600"/>
                <a:gd name="T19" fmla="*/ 15980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solidFill>
              <a:srgbClr val="D8EBB3"/>
            </a:solid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9" name="Textfeld 28">
              <a:extLst>
                <a:ext uri="{FF2B5EF4-FFF2-40B4-BE49-F238E27FC236}">
                  <a16:creationId xmlns:a16="http://schemas.microsoft.com/office/drawing/2014/main" id="{3091D997-BB57-234E-A672-7B48FBC8A34D}"/>
                </a:ext>
              </a:extLst>
            </p:cNvPr>
            <p:cNvSpPr txBox="1"/>
            <p:nvPr/>
          </p:nvSpPr>
          <p:spPr>
            <a:xfrm>
              <a:off x="4158813" y="4039297"/>
              <a:ext cx="1183337" cy="400110"/>
            </a:xfrm>
            <a:prstGeom prst="rect">
              <a:avLst/>
            </a:prstGeom>
            <a:noFill/>
          </p:spPr>
          <p:txBody>
            <a:bodyPr wrap="none" rtlCol="0">
              <a:spAutoFit/>
            </a:bodyPr>
            <a:lstStyle/>
            <a:p>
              <a:r>
                <a:rPr lang="en-US" sz="2000" b="1" dirty="0"/>
                <a:t>Hygiene</a:t>
              </a:r>
            </a:p>
          </p:txBody>
        </p:sp>
        <p:pic>
          <p:nvPicPr>
            <p:cNvPr id="30" name="Bildplatzhalter 12">
              <a:extLst>
                <a:ext uri="{FF2B5EF4-FFF2-40B4-BE49-F238E27FC236}">
                  <a16:creationId xmlns:a16="http://schemas.microsoft.com/office/drawing/2014/main" id="{816DEC36-B4E9-A64D-8608-7D306F1C9C5A}"/>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116519" y="3903477"/>
              <a:ext cx="3219383" cy="2088000"/>
            </a:xfrm>
            <a:prstGeom prst="rect">
              <a:avLst/>
            </a:prstGeom>
          </p:spPr>
        </p:pic>
        <p:cxnSp>
          <p:nvCxnSpPr>
            <p:cNvPr id="31" name="Gerade Verbindung 30">
              <a:extLst>
                <a:ext uri="{FF2B5EF4-FFF2-40B4-BE49-F238E27FC236}">
                  <a16:creationId xmlns:a16="http://schemas.microsoft.com/office/drawing/2014/main" id="{01700930-38B7-EA49-B54F-40AABA46EF4B}"/>
                </a:ext>
              </a:extLst>
            </p:cNvPr>
            <p:cNvCxnSpPr>
              <a:stCxn id="30" idx="3"/>
              <a:endCxn id="29" idx="1"/>
            </p:cNvCxnSpPr>
            <p:nvPr/>
          </p:nvCxnSpPr>
          <p:spPr>
            <a:xfrm flipV="1">
              <a:off x="3335902" y="4239352"/>
              <a:ext cx="822911" cy="708125"/>
            </a:xfrm>
            <a:prstGeom prst="line">
              <a:avLst/>
            </a:prstGeom>
            <a:ln w="7620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4CA5D304-2AF6-614E-B0A0-4B06CD32774B}"/>
                </a:ext>
              </a:extLst>
            </p:cNvPr>
            <p:cNvSpPr txBox="1"/>
            <p:nvPr/>
          </p:nvSpPr>
          <p:spPr>
            <a:xfrm>
              <a:off x="1281802" y="4019105"/>
              <a:ext cx="1434147" cy="1862048"/>
            </a:xfrm>
            <a:prstGeom prst="rect">
              <a:avLst/>
            </a:prstGeom>
            <a:noFill/>
          </p:spPr>
          <p:txBody>
            <a:bodyPr wrap="square" rtlCol="0">
              <a:spAutoFit/>
            </a:bodyPr>
            <a:lstStyle/>
            <a:p>
              <a:r>
                <a:rPr lang="de-DE" sz="11500" dirty="0">
                  <a:ln w="38100">
                    <a:solidFill>
                      <a:schemeClr val="bg1"/>
                    </a:solidFill>
                  </a:ln>
                  <a:noFill/>
                </a:rPr>
                <a:t>H</a:t>
              </a:r>
              <a:endParaRPr lang="de-DE" dirty="0">
                <a:ln w="38100">
                  <a:solidFill>
                    <a:schemeClr val="bg1"/>
                  </a:solidFill>
                </a:ln>
                <a:noFill/>
              </a:endParaRPr>
            </a:p>
          </p:txBody>
        </p:sp>
      </p:grpSp>
      <p:grpSp>
        <p:nvGrpSpPr>
          <p:cNvPr id="33" name="Gruppierung 40">
            <a:extLst>
              <a:ext uri="{FF2B5EF4-FFF2-40B4-BE49-F238E27FC236}">
                <a16:creationId xmlns:a16="http://schemas.microsoft.com/office/drawing/2014/main" id="{C03E71B6-A16C-E341-892D-8D625568C252}"/>
              </a:ext>
            </a:extLst>
          </p:cNvPr>
          <p:cNvGrpSpPr/>
          <p:nvPr/>
        </p:nvGrpSpPr>
        <p:grpSpPr>
          <a:xfrm>
            <a:off x="5883758" y="1237216"/>
            <a:ext cx="5749960" cy="2599260"/>
            <a:chOff x="5683850" y="1237216"/>
            <a:chExt cx="5749960" cy="2599260"/>
          </a:xfrm>
        </p:grpSpPr>
        <p:cxnSp>
          <p:nvCxnSpPr>
            <p:cNvPr id="34" name="Gerade Verbindung 33">
              <a:extLst>
                <a:ext uri="{FF2B5EF4-FFF2-40B4-BE49-F238E27FC236}">
                  <a16:creationId xmlns:a16="http://schemas.microsoft.com/office/drawing/2014/main" id="{A3F3C756-4534-3546-A7BB-0F9CB4DD638D}"/>
                </a:ext>
              </a:extLst>
            </p:cNvPr>
            <p:cNvCxnSpPr>
              <a:stCxn id="38" idx="1"/>
              <a:endCxn id="37" idx="3"/>
            </p:cNvCxnSpPr>
            <p:nvPr/>
          </p:nvCxnSpPr>
          <p:spPr>
            <a:xfrm flipH="1">
              <a:off x="7707161" y="2362478"/>
              <a:ext cx="580740" cy="41516"/>
            </a:xfrm>
            <a:prstGeom prst="line">
              <a:avLst/>
            </a:prstGeom>
            <a:ln w="7620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35" name="Gruppierung 38">
              <a:extLst>
                <a:ext uri="{FF2B5EF4-FFF2-40B4-BE49-F238E27FC236}">
                  <a16:creationId xmlns:a16="http://schemas.microsoft.com/office/drawing/2014/main" id="{0311DA02-1FB2-A54D-88BC-0A40D5729CF3}"/>
                </a:ext>
              </a:extLst>
            </p:cNvPr>
            <p:cNvGrpSpPr/>
            <p:nvPr/>
          </p:nvGrpSpPr>
          <p:grpSpPr>
            <a:xfrm>
              <a:off x="5683850" y="1237216"/>
              <a:ext cx="5749960" cy="2599260"/>
              <a:chOff x="5683850" y="1252318"/>
              <a:chExt cx="5749960" cy="2599260"/>
            </a:xfrm>
          </p:grpSpPr>
          <p:sp>
            <p:nvSpPr>
              <p:cNvPr id="36" name="Puzzle3">
                <a:extLst>
                  <a:ext uri="{FF2B5EF4-FFF2-40B4-BE49-F238E27FC236}">
                    <a16:creationId xmlns:a16="http://schemas.microsoft.com/office/drawing/2014/main" id="{0E920D7B-5AA0-6143-A1CD-D95405FA983E}"/>
                  </a:ext>
                </a:extLst>
              </p:cNvPr>
              <p:cNvSpPr>
                <a:spLocks noEditPoints="1" noChangeArrowheads="1"/>
              </p:cNvSpPr>
              <p:nvPr/>
            </p:nvSpPr>
            <p:spPr bwMode="auto">
              <a:xfrm>
                <a:off x="5738234" y="1252318"/>
                <a:ext cx="1914544" cy="2599260"/>
              </a:xfrm>
              <a:custGeom>
                <a:avLst/>
                <a:gdLst>
                  <a:gd name="T0" fmla="*/ 10391 w 21600"/>
                  <a:gd name="T1" fmla="*/ 15806 h 21600"/>
                  <a:gd name="T2" fmla="*/ 20551 w 21600"/>
                  <a:gd name="T3" fmla="*/ 21088 h 21600"/>
                  <a:gd name="T4" fmla="*/ 13180 w 21600"/>
                  <a:gd name="T5" fmla="*/ 13801 h 21600"/>
                  <a:gd name="T6" fmla="*/ 20551 w 21600"/>
                  <a:gd name="T7" fmla="*/ 7025 h 21600"/>
                  <a:gd name="T8" fmla="*/ 10500 w 21600"/>
                  <a:gd name="T9" fmla="*/ 52 h 21600"/>
                  <a:gd name="T10" fmla="*/ 692 w 21600"/>
                  <a:gd name="T11" fmla="*/ 6802 h 21600"/>
                  <a:gd name="T12" fmla="*/ 8064 w 21600"/>
                  <a:gd name="T13" fmla="*/ 13526 h 21600"/>
                  <a:gd name="T14" fmla="*/ 692 w 21600"/>
                  <a:gd name="T15" fmla="*/ 21088 h 21600"/>
                  <a:gd name="T16" fmla="*/ 2273 w 21600"/>
                  <a:gd name="T17" fmla="*/ 7719 h 21600"/>
                  <a:gd name="T18" fmla="*/ 19149 w 21600"/>
                  <a:gd name="T19" fmla="*/ 202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rgbClr val="FFBE7D"/>
              </a:solid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 name="Textfeld 36">
                <a:extLst>
                  <a:ext uri="{FF2B5EF4-FFF2-40B4-BE49-F238E27FC236}">
                    <a16:creationId xmlns:a16="http://schemas.microsoft.com/office/drawing/2014/main" id="{DFA2E5D6-2829-B54C-8F12-974C02B2D468}"/>
                  </a:ext>
                </a:extLst>
              </p:cNvPr>
              <p:cNvSpPr txBox="1"/>
              <p:nvPr/>
            </p:nvSpPr>
            <p:spPr>
              <a:xfrm>
                <a:off x="5683850" y="2219041"/>
                <a:ext cx="2023311" cy="400110"/>
              </a:xfrm>
              <a:prstGeom prst="rect">
                <a:avLst/>
              </a:prstGeom>
              <a:noFill/>
            </p:spPr>
            <p:txBody>
              <a:bodyPr wrap="none" rtlCol="0">
                <a:spAutoFit/>
              </a:bodyPr>
              <a:lstStyle/>
              <a:p>
                <a:r>
                  <a:rPr lang="en-US" sz="2000" b="1" dirty="0" err="1"/>
                  <a:t>Sanitäranlagen</a:t>
                </a:r>
                <a:endParaRPr lang="en-US" sz="2000" b="1" dirty="0"/>
              </a:p>
            </p:txBody>
          </p:sp>
          <p:pic>
            <p:nvPicPr>
              <p:cNvPr id="38" name="Bildplatzhalter 13">
                <a:extLst>
                  <a:ext uri="{FF2B5EF4-FFF2-40B4-BE49-F238E27FC236}">
                    <a16:creationId xmlns:a16="http://schemas.microsoft.com/office/drawing/2014/main" id="{37E6BD25-017B-6E44-BC62-5F3554B58622}"/>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8287901" y="1328943"/>
                <a:ext cx="3145909" cy="2097273"/>
              </a:xfrm>
              <a:prstGeom prst="rect">
                <a:avLst/>
              </a:prstGeom>
            </p:spPr>
          </p:pic>
          <p:sp>
            <p:nvSpPr>
              <p:cNvPr id="39" name="Textfeld 38">
                <a:extLst>
                  <a:ext uri="{FF2B5EF4-FFF2-40B4-BE49-F238E27FC236}">
                    <a16:creationId xmlns:a16="http://schemas.microsoft.com/office/drawing/2014/main" id="{AC25E709-BEE7-3347-9F5B-E595F29E845D}"/>
                  </a:ext>
                </a:extLst>
              </p:cNvPr>
              <p:cNvSpPr txBox="1"/>
              <p:nvPr/>
            </p:nvSpPr>
            <p:spPr>
              <a:xfrm>
                <a:off x="9194527" y="1513024"/>
                <a:ext cx="1434147" cy="1862048"/>
              </a:xfrm>
              <a:prstGeom prst="rect">
                <a:avLst/>
              </a:prstGeom>
              <a:noFill/>
            </p:spPr>
            <p:txBody>
              <a:bodyPr wrap="square" rtlCol="0">
                <a:spAutoFit/>
              </a:bodyPr>
              <a:lstStyle/>
              <a:p>
                <a:r>
                  <a:rPr lang="de-DE" sz="11500" dirty="0">
                    <a:ln w="38100">
                      <a:solidFill>
                        <a:schemeClr val="bg1"/>
                      </a:solidFill>
                    </a:ln>
                    <a:noFill/>
                  </a:rPr>
                  <a:t>S</a:t>
                </a:r>
                <a:endParaRPr lang="de-DE" dirty="0">
                  <a:ln w="38100">
                    <a:solidFill>
                      <a:schemeClr val="bg1"/>
                    </a:solidFill>
                  </a:ln>
                  <a:noFill/>
                </a:endParaRPr>
              </a:p>
            </p:txBody>
          </p:sp>
        </p:grpSp>
      </p:grpSp>
      <p:grpSp>
        <p:nvGrpSpPr>
          <p:cNvPr id="40" name="Gruppierung 39">
            <a:extLst>
              <a:ext uri="{FF2B5EF4-FFF2-40B4-BE49-F238E27FC236}">
                <a16:creationId xmlns:a16="http://schemas.microsoft.com/office/drawing/2014/main" id="{61033CF1-40B9-464D-B2FF-677FB62C65CC}"/>
              </a:ext>
            </a:extLst>
          </p:cNvPr>
          <p:cNvGrpSpPr/>
          <p:nvPr/>
        </p:nvGrpSpPr>
        <p:grpSpPr>
          <a:xfrm>
            <a:off x="5392661" y="3158848"/>
            <a:ext cx="6323326" cy="2905400"/>
            <a:chOff x="5170981" y="3158848"/>
            <a:chExt cx="6323326" cy="2905400"/>
          </a:xfrm>
        </p:grpSpPr>
        <p:sp>
          <p:nvSpPr>
            <p:cNvPr id="41" name="Puzzle2">
              <a:extLst>
                <a:ext uri="{FF2B5EF4-FFF2-40B4-BE49-F238E27FC236}">
                  <a16:creationId xmlns:a16="http://schemas.microsoft.com/office/drawing/2014/main" id="{069F9FA6-CC0C-2342-B9FE-1E367D1142D1}"/>
                </a:ext>
              </a:extLst>
            </p:cNvPr>
            <p:cNvSpPr>
              <a:spLocks noEditPoints="1" noChangeArrowheads="1"/>
            </p:cNvSpPr>
            <p:nvPr/>
          </p:nvSpPr>
          <p:spPr bwMode="auto">
            <a:xfrm>
              <a:off x="5170981" y="3158848"/>
              <a:ext cx="3007419" cy="2330077"/>
            </a:xfrm>
            <a:custGeom>
              <a:avLst/>
              <a:gdLst>
                <a:gd name="T0" fmla="*/ 11 w 21600"/>
                <a:gd name="T1" fmla="*/ 13386 h 21600"/>
                <a:gd name="T2" fmla="*/ 4202 w 21600"/>
                <a:gd name="T3" fmla="*/ 21161 h 21600"/>
                <a:gd name="T4" fmla="*/ 10400 w 21600"/>
                <a:gd name="T5" fmla="*/ 13909 h 21600"/>
                <a:gd name="T6" fmla="*/ 16821 w 21600"/>
                <a:gd name="T7" fmla="*/ 21190 h 21600"/>
                <a:gd name="T8" fmla="*/ 21600 w 21600"/>
                <a:gd name="T9" fmla="*/ 15083 h 21600"/>
                <a:gd name="T10" fmla="*/ 16889 w 21600"/>
                <a:gd name="T11" fmla="*/ 5739 h 21600"/>
                <a:gd name="T12" fmla="*/ 10800 w 21600"/>
                <a:gd name="T13" fmla="*/ 28 h 21600"/>
                <a:gd name="T14" fmla="*/ 4202 w 21600"/>
                <a:gd name="T15" fmla="*/ 5894 h 21600"/>
                <a:gd name="T16" fmla="*/ 5388 w 21600"/>
                <a:gd name="T17" fmla="*/ 6742 h 21600"/>
                <a:gd name="T18" fmla="*/ 16177 w 21600"/>
                <a:gd name="T19" fmla="*/ 20441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rgbClr val="FFFFCC"/>
            </a:solid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42" name="Textfeld 41">
              <a:extLst>
                <a:ext uri="{FF2B5EF4-FFF2-40B4-BE49-F238E27FC236}">
                  <a16:creationId xmlns:a16="http://schemas.microsoft.com/office/drawing/2014/main" id="{18B22E09-F921-4C4C-A82F-24B0E447787F}"/>
                </a:ext>
              </a:extLst>
            </p:cNvPr>
            <p:cNvSpPr txBox="1"/>
            <p:nvPr/>
          </p:nvSpPr>
          <p:spPr>
            <a:xfrm>
              <a:off x="6019657" y="3801565"/>
              <a:ext cx="1253868" cy="707886"/>
            </a:xfrm>
            <a:prstGeom prst="rect">
              <a:avLst/>
            </a:prstGeom>
            <a:noFill/>
          </p:spPr>
          <p:txBody>
            <a:bodyPr wrap="none" rtlCol="0">
              <a:spAutoFit/>
            </a:bodyPr>
            <a:lstStyle/>
            <a:p>
              <a:pPr algn="ctr"/>
              <a:r>
                <a:rPr lang="en-US" sz="2000" b="1" dirty="0"/>
                <a:t>Capacity</a:t>
              </a:r>
            </a:p>
            <a:p>
              <a:pPr algn="ctr"/>
              <a:r>
                <a:rPr lang="en-US" sz="2000" b="1" dirty="0"/>
                <a:t>Building</a:t>
              </a:r>
            </a:p>
          </p:txBody>
        </p:sp>
        <p:pic>
          <p:nvPicPr>
            <p:cNvPr id="43" name="Bild 15">
              <a:extLst>
                <a:ext uri="{FF2B5EF4-FFF2-40B4-BE49-F238E27FC236}">
                  <a16:creationId xmlns:a16="http://schemas.microsoft.com/office/drawing/2014/main" id="{E36BBF0E-D3DA-8148-AD5C-65E4C4D5A464}"/>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a:ext>
              </a:extLst>
            </a:blip>
            <a:srcRect/>
            <a:stretch/>
          </p:blipFill>
          <p:spPr>
            <a:xfrm>
              <a:off x="8222243" y="3801565"/>
              <a:ext cx="3272064" cy="2181376"/>
            </a:xfrm>
            <a:prstGeom prst="rect">
              <a:avLst/>
            </a:prstGeom>
          </p:spPr>
        </p:pic>
        <p:cxnSp>
          <p:nvCxnSpPr>
            <p:cNvPr id="44" name="Gerade Verbindung 43">
              <a:extLst>
                <a:ext uri="{FF2B5EF4-FFF2-40B4-BE49-F238E27FC236}">
                  <a16:creationId xmlns:a16="http://schemas.microsoft.com/office/drawing/2014/main" id="{DB3A079E-A2FF-9B4D-892D-6C40F1140D24}"/>
                </a:ext>
              </a:extLst>
            </p:cNvPr>
            <p:cNvCxnSpPr>
              <a:stCxn id="43" idx="1"/>
            </p:cNvCxnSpPr>
            <p:nvPr/>
          </p:nvCxnSpPr>
          <p:spPr>
            <a:xfrm flipH="1" flipV="1">
              <a:off x="7344015" y="4369887"/>
              <a:ext cx="878228" cy="522366"/>
            </a:xfrm>
            <a:prstGeom prst="line">
              <a:avLst/>
            </a:prstGeom>
            <a:ln w="7620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45" name="Textfeld 44">
              <a:extLst>
                <a:ext uri="{FF2B5EF4-FFF2-40B4-BE49-F238E27FC236}">
                  <a16:creationId xmlns:a16="http://schemas.microsoft.com/office/drawing/2014/main" id="{A986A2D6-6739-E847-A7CB-80A6295D74D0}"/>
                </a:ext>
              </a:extLst>
            </p:cNvPr>
            <p:cNvSpPr txBox="1"/>
            <p:nvPr/>
          </p:nvSpPr>
          <p:spPr>
            <a:xfrm>
              <a:off x="8687991" y="4202200"/>
              <a:ext cx="2537395" cy="1862048"/>
            </a:xfrm>
            <a:prstGeom prst="rect">
              <a:avLst/>
            </a:prstGeom>
            <a:noFill/>
          </p:spPr>
          <p:txBody>
            <a:bodyPr wrap="square" rtlCol="0">
              <a:spAutoFit/>
            </a:bodyPr>
            <a:lstStyle/>
            <a:p>
              <a:r>
                <a:rPr lang="de-DE" sz="11500" dirty="0">
                  <a:ln w="38100">
                    <a:solidFill>
                      <a:schemeClr val="bg1"/>
                    </a:solidFill>
                  </a:ln>
                  <a:noFill/>
                </a:rPr>
                <a:t>CB</a:t>
              </a:r>
              <a:endParaRPr lang="de-DE" dirty="0">
                <a:ln w="38100">
                  <a:solidFill>
                    <a:schemeClr val="bg1"/>
                  </a:solidFill>
                </a:ln>
                <a:noFill/>
              </a:endParaRPr>
            </a:p>
          </p:txBody>
        </p:sp>
        <p:sp>
          <p:nvSpPr>
            <p:cNvPr id="46" name="Textfeld 45">
              <a:extLst>
                <a:ext uri="{FF2B5EF4-FFF2-40B4-BE49-F238E27FC236}">
                  <a16:creationId xmlns:a16="http://schemas.microsoft.com/office/drawing/2014/main" id="{EBCDE1B6-B8A7-3344-A849-1CDC4D8E16CA}"/>
                </a:ext>
              </a:extLst>
            </p:cNvPr>
            <p:cNvSpPr txBox="1"/>
            <p:nvPr/>
          </p:nvSpPr>
          <p:spPr>
            <a:xfrm>
              <a:off x="9307215" y="3230523"/>
              <a:ext cx="1434147" cy="1862048"/>
            </a:xfrm>
            <a:prstGeom prst="rect">
              <a:avLst/>
            </a:prstGeom>
            <a:noFill/>
          </p:spPr>
          <p:txBody>
            <a:bodyPr wrap="square" rtlCol="0">
              <a:spAutoFit/>
            </a:bodyPr>
            <a:lstStyle/>
            <a:p>
              <a:r>
                <a:rPr lang="de-DE" sz="11500" dirty="0">
                  <a:ln w="38100">
                    <a:solidFill>
                      <a:schemeClr val="bg1"/>
                    </a:solidFill>
                  </a:ln>
                  <a:noFill/>
                </a:rPr>
                <a:t>+</a:t>
              </a:r>
              <a:endParaRPr lang="de-DE" dirty="0">
                <a:ln w="38100">
                  <a:solidFill>
                    <a:schemeClr val="bg1"/>
                  </a:solidFill>
                </a:ln>
                <a:noFill/>
              </a:endParaRPr>
            </a:p>
          </p:txBody>
        </p:sp>
      </p:grpSp>
      <p:sp>
        <p:nvSpPr>
          <p:cNvPr id="2" name="Fußzeilenplatzhalter 37">
            <a:extLst>
              <a:ext uri="{FF2B5EF4-FFF2-40B4-BE49-F238E27FC236}">
                <a16:creationId xmlns:a16="http://schemas.microsoft.com/office/drawing/2014/main" id="{C0D8933E-70EA-1AD8-5B96-EF22B458F490}"/>
              </a:ext>
            </a:extLst>
          </p:cNvPr>
          <p:cNvSpPr>
            <a:spLocks noGrp="1"/>
          </p:cNvSpPr>
          <p:nvPr>
            <p:ph type="ftr" sz="quarter" idx="3"/>
          </p:nvPr>
        </p:nvSpPr>
        <p:spPr>
          <a:xfrm>
            <a:off x="3313471" y="6299200"/>
            <a:ext cx="5565058" cy="365125"/>
          </a:xfrm>
        </p:spPr>
        <p:txBody>
          <a:bodyPr/>
          <a:lstStyle/>
          <a:p>
            <a:r>
              <a:rPr lang="de-DE" dirty="0"/>
              <a:t>Lions für WaSH - Wasser ist Leben</a:t>
            </a:r>
          </a:p>
        </p:txBody>
      </p:sp>
    </p:spTree>
    <p:extLst>
      <p:ext uri="{BB962C8B-B14F-4D97-AF65-F5344CB8AC3E}">
        <p14:creationId xmlns:p14="http://schemas.microsoft.com/office/powerpoint/2010/main" val="15045591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descr="Ein Bild, das Text, Screenshot, Diagramm, Grafiken enthält.&#10;&#10;KI-generierte Inhalte können fehlerhaft sein.">
            <a:extLst>
              <a:ext uri="{FF2B5EF4-FFF2-40B4-BE49-F238E27FC236}">
                <a16:creationId xmlns:a16="http://schemas.microsoft.com/office/drawing/2014/main" id="{75D1AD84-8E21-ABC7-56D1-5EF976AD454E}"/>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451691" y="1072150"/>
            <a:ext cx="7535776" cy="5178839"/>
          </a:xfrm>
          <a:prstGeom prst="rect">
            <a:avLst/>
          </a:prstGeom>
        </p:spPr>
      </p:pic>
      <p:sp>
        <p:nvSpPr>
          <p:cNvPr id="6" name="Rectangle: Rounded Corners 10">
            <a:extLst>
              <a:ext uri="{FF2B5EF4-FFF2-40B4-BE49-F238E27FC236}">
                <a16:creationId xmlns:a16="http://schemas.microsoft.com/office/drawing/2014/main" id="{9124739F-1BC8-915E-7031-5350B7BA1C72}"/>
              </a:ext>
            </a:extLst>
          </p:cNvPr>
          <p:cNvSpPr/>
          <p:nvPr/>
        </p:nvSpPr>
        <p:spPr>
          <a:xfrm>
            <a:off x="7816671" y="3701241"/>
            <a:ext cx="4194556" cy="1967374"/>
          </a:xfrm>
          <a:prstGeom prst="roundRect">
            <a:avLst>
              <a:gd name="adj" fmla="val 179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black"/>
              </a:solidFill>
              <a:latin typeface="Arial"/>
            </a:endParaRPr>
          </a:p>
        </p:txBody>
      </p:sp>
      <p:sp>
        <p:nvSpPr>
          <p:cNvPr id="3" name="TextBox 2">
            <a:extLst>
              <a:ext uri="{FF2B5EF4-FFF2-40B4-BE49-F238E27FC236}">
                <a16:creationId xmlns:a16="http://schemas.microsoft.com/office/drawing/2014/main" id="{2BB3F1A4-7662-1723-B04F-870666AE515A}"/>
              </a:ext>
            </a:extLst>
          </p:cNvPr>
          <p:cNvSpPr txBox="1"/>
          <p:nvPr/>
        </p:nvSpPr>
        <p:spPr>
          <a:xfrm>
            <a:off x="323130" y="407550"/>
            <a:ext cx="10116359" cy="480131"/>
          </a:xfrm>
          <a:prstGeom prst="rect">
            <a:avLst/>
          </a:prstGeom>
          <a:noFill/>
        </p:spPr>
        <p:txBody>
          <a:bodyPr wrap="none" rtlCol="0">
            <a:spAutoFit/>
          </a:bodyPr>
          <a:lstStyle/>
          <a:p>
            <a:pPr fontAlgn="auto">
              <a:lnSpc>
                <a:spcPct val="90000"/>
              </a:lnSpc>
              <a:spcAft>
                <a:spcPts val="0"/>
              </a:spcAft>
              <a:defRPr/>
            </a:pPr>
            <a:r>
              <a:rPr lang="de-DE" sz="2800" b="1" dirty="0">
                <a:solidFill>
                  <a:srgbClr val="00338D"/>
                </a:solidFill>
              </a:rPr>
              <a:t>WaSH – Elementar zum Erreichen der Nachhaltigkeitsziele</a:t>
            </a:r>
            <a:endParaRPr lang="en-US" sz="2800" b="1" noProof="0" dirty="0">
              <a:solidFill>
                <a:srgbClr val="00338D"/>
              </a:solidFill>
              <a:latin typeface="Arial"/>
            </a:endParaRPr>
          </a:p>
        </p:txBody>
      </p:sp>
      <p:sp>
        <p:nvSpPr>
          <p:cNvPr id="12" name="Textfeld 11">
            <a:extLst>
              <a:ext uri="{FF2B5EF4-FFF2-40B4-BE49-F238E27FC236}">
                <a16:creationId xmlns:a16="http://schemas.microsoft.com/office/drawing/2014/main" id="{3F9EC6C7-FB24-6EA8-5DB9-86CAA6494813}"/>
              </a:ext>
            </a:extLst>
          </p:cNvPr>
          <p:cNvSpPr txBox="1"/>
          <p:nvPr/>
        </p:nvSpPr>
        <p:spPr>
          <a:xfrm>
            <a:off x="9488985" y="5999453"/>
            <a:ext cx="2522242" cy="415498"/>
          </a:xfrm>
          <a:prstGeom prst="rect">
            <a:avLst/>
          </a:prstGeom>
          <a:noFill/>
        </p:spPr>
        <p:txBody>
          <a:bodyPr wrap="square" rtlCol="0">
            <a:spAutoFit/>
          </a:bodyPr>
          <a:lstStyle/>
          <a:p>
            <a:r>
              <a:rPr lang="en-US" sz="1050" noProof="0" dirty="0"/>
              <a:t>Azote for Stockholm Resilience Centre, Stockholm University CC BY-ND 3.0.</a:t>
            </a:r>
          </a:p>
        </p:txBody>
      </p:sp>
      <p:sp>
        <p:nvSpPr>
          <p:cNvPr id="14" name="Ellipse 13">
            <a:extLst>
              <a:ext uri="{FF2B5EF4-FFF2-40B4-BE49-F238E27FC236}">
                <a16:creationId xmlns:a16="http://schemas.microsoft.com/office/drawing/2014/main" id="{8548ECE1-7218-05DD-88AC-ABD851BB72B4}"/>
              </a:ext>
            </a:extLst>
          </p:cNvPr>
          <p:cNvSpPr/>
          <p:nvPr/>
        </p:nvSpPr>
        <p:spPr>
          <a:xfrm>
            <a:off x="6128810" y="4250758"/>
            <a:ext cx="846034" cy="922946"/>
          </a:xfrm>
          <a:prstGeom prst="ellipse">
            <a:avLst/>
          </a:prstGeom>
          <a:noFill/>
          <a:ln w="57150">
            <a:solidFill>
              <a:schemeClr val="accent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noProof="0" dirty="0">
              <a:noFill/>
            </a:endParaRPr>
          </a:p>
        </p:txBody>
      </p:sp>
      <p:cxnSp>
        <p:nvCxnSpPr>
          <p:cNvPr id="16" name="Straight Connector 3">
            <a:extLst>
              <a:ext uri="{FF2B5EF4-FFF2-40B4-BE49-F238E27FC236}">
                <a16:creationId xmlns:a16="http://schemas.microsoft.com/office/drawing/2014/main" id="{F3629B33-37BD-878D-235A-54C6A5BBEB5D}"/>
              </a:ext>
            </a:extLst>
          </p:cNvPr>
          <p:cNvCxnSpPr>
            <a:cxnSpLocks/>
          </p:cNvCxnSpPr>
          <p:nvPr/>
        </p:nvCxnSpPr>
        <p:spPr>
          <a:xfrm>
            <a:off x="431800" y="1023938"/>
            <a:ext cx="4343400"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 name="Textfeld 4">
            <a:extLst>
              <a:ext uri="{FF2B5EF4-FFF2-40B4-BE49-F238E27FC236}">
                <a16:creationId xmlns:a16="http://schemas.microsoft.com/office/drawing/2014/main" id="{EE95EAB4-4F9E-96DE-CBF2-CE73F25F78EF}"/>
              </a:ext>
            </a:extLst>
          </p:cNvPr>
          <p:cNvSpPr txBox="1"/>
          <p:nvPr/>
        </p:nvSpPr>
        <p:spPr>
          <a:xfrm>
            <a:off x="7969591" y="3755847"/>
            <a:ext cx="3888716" cy="1912768"/>
          </a:xfrm>
          <a:prstGeom prst="rect">
            <a:avLst/>
          </a:prstGeom>
          <a:noFill/>
        </p:spPr>
        <p:txBody>
          <a:bodyPr wrap="square" rtlCol="0">
            <a:spAutoFit/>
          </a:bodyPr>
          <a:lstStyle/>
          <a:p>
            <a:pPr>
              <a:lnSpc>
                <a:spcPct val="110000"/>
              </a:lnSpc>
              <a:spcAft>
                <a:spcPts val="1200"/>
              </a:spcAft>
              <a:buClr>
                <a:srgbClr val="FFC000"/>
              </a:buClr>
            </a:pPr>
            <a:r>
              <a:rPr lang="de-DE" sz="20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Nachhaltigkeitsziel 6:</a:t>
            </a:r>
          </a:p>
          <a:p>
            <a:pPr>
              <a:lnSpc>
                <a:spcPct val="110000"/>
              </a:lnSpc>
              <a:spcAft>
                <a:spcPts val="1200"/>
              </a:spcAft>
              <a:buClr>
                <a:srgbClr val="FFC000"/>
              </a:buClr>
            </a:pPr>
            <a:r>
              <a:rPr lang="de-DE" sz="20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Verfügbarkeit und nachhaltige Bewirtschaftung von Wasser </a:t>
            </a:r>
            <a:br>
              <a:rPr lang="de-DE" sz="20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br>
            <a:r>
              <a:rPr lang="de-DE" sz="20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und Sanitärversorgung für alle gewährleisten</a:t>
            </a:r>
          </a:p>
        </p:txBody>
      </p:sp>
      <p:pic>
        <p:nvPicPr>
          <p:cNvPr id="7" name="Grafik 6">
            <a:extLst>
              <a:ext uri="{FF2B5EF4-FFF2-40B4-BE49-F238E27FC236}">
                <a16:creationId xmlns:a16="http://schemas.microsoft.com/office/drawing/2014/main" id="{C96BC116-292F-C90D-D2AB-7CCC9ADC802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762081" y="1142593"/>
            <a:ext cx="2303735" cy="2303735"/>
          </a:xfrm>
          <a:prstGeom prst="rect">
            <a:avLst/>
          </a:prstGeom>
        </p:spPr>
      </p:pic>
      <p:sp>
        <p:nvSpPr>
          <p:cNvPr id="4" name="Fußzeilenplatzhalter 7">
            <a:extLst>
              <a:ext uri="{FF2B5EF4-FFF2-40B4-BE49-F238E27FC236}">
                <a16:creationId xmlns:a16="http://schemas.microsoft.com/office/drawing/2014/main" id="{D6590FDB-4D2E-1A13-391A-B6470A0FD3A5}"/>
              </a:ext>
            </a:extLst>
          </p:cNvPr>
          <p:cNvSpPr txBox="1">
            <a:spLocks/>
          </p:cNvSpPr>
          <p:nvPr/>
        </p:nvSpPr>
        <p:spPr>
          <a:xfrm>
            <a:off x="3313471" y="6299200"/>
            <a:ext cx="5565058"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000" dirty="0">
                <a:solidFill>
                  <a:schemeClr val="bg1">
                    <a:lumMod val="75000"/>
                  </a:schemeClr>
                </a:solidFill>
                <a:latin typeface="+mj-lt"/>
              </a:rPr>
              <a:t>Lions für </a:t>
            </a:r>
            <a:r>
              <a:rPr lang="de-DE" sz="1000" dirty="0" err="1">
                <a:solidFill>
                  <a:schemeClr val="bg1">
                    <a:lumMod val="75000"/>
                  </a:schemeClr>
                </a:solidFill>
                <a:latin typeface="+mj-lt"/>
              </a:rPr>
              <a:t>WaSH</a:t>
            </a:r>
            <a:r>
              <a:rPr lang="de-DE" sz="1000" dirty="0">
                <a:solidFill>
                  <a:schemeClr val="bg1">
                    <a:lumMod val="75000"/>
                  </a:schemeClr>
                </a:solidFill>
                <a:latin typeface="+mj-lt"/>
              </a:rPr>
              <a:t> - Wasser ist Leben</a:t>
            </a:r>
          </a:p>
        </p:txBody>
      </p:sp>
      <p:pic>
        <p:nvPicPr>
          <p:cNvPr id="2" name="Grafik 1">
            <a:extLst>
              <a:ext uri="{FF2B5EF4-FFF2-40B4-BE49-F238E27FC236}">
                <a16:creationId xmlns:a16="http://schemas.microsoft.com/office/drawing/2014/main" id="{E9777124-690A-8D5B-31FD-6573E65E74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285137" y="229675"/>
            <a:ext cx="628217" cy="847837"/>
          </a:xfrm>
          <a:prstGeom prst="rect">
            <a:avLst/>
          </a:prstGeom>
        </p:spPr>
      </p:pic>
    </p:spTree>
    <p:extLst>
      <p:ext uri="{BB962C8B-B14F-4D97-AF65-F5344CB8AC3E}">
        <p14:creationId xmlns:p14="http://schemas.microsoft.com/office/powerpoint/2010/main" val="36202183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Graphic 9">
            <a:extLst>
              <a:ext uri="{FF2B5EF4-FFF2-40B4-BE49-F238E27FC236}">
                <a16:creationId xmlns:a16="http://schemas.microsoft.com/office/drawing/2014/main" id="{E8B8DC80-CDAE-DAFA-FCE9-4208201BB1FE}"/>
              </a:ext>
            </a:extLst>
          </p:cNvPr>
          <p:cNvSpPr/>
          <p:nvPr/>
        </p:nvSpPr>
        <p:spPr>
          <a:xfrm>
            <a:off x="10304471" y="1489075"/>
            <a:ext cx="1887528" cy="5368925"/>
          </a:xfrm>
          <a:custGeom>
            <a:avLst/>
            <a:gdLst>
              <a:gd name="connsiteX0" fmla="*/ 0 w 1451806"/>
              <a:gd name="connsiteY0" fmla="*/ 2514600 h 2514600"/>
              <a:gd name="connsiteX1" fmla="*/ 1451806 w 1451806"/>
              <a:gd name="connsiteY1" fmla="*/ 0 h 2514600"/>
              <a:gd name="connsiteX2" fmla="*/ 1451806 w 1451806"/>
              <a:gd name="connsiteY2" fmla="*/ 2514600 h 2514600"/>
            </a:gdLst>
            <a:ahLst/>
            <a:cxnLst>
              <a:cxn ang="0">
                <a:pos x="connsiteX0" y="connsiteY0"/>
              </a:cxn>
              <a:cxn ang="0">
                <a:pos x="connsiteX1" y="connsiteY1"/>
              </a:cxn>
              <a:cxn ang="0">
                <a:pos x="connsiteX2" y="connsiteY2"/>
              </a:cxn>
            </a:cxnLst>
            <a:rect l="l" t="t" r="r" b="b"/>
            <a:pathLst>
              <a:path w="1451806" h="2514600">
                <a:moveTo>
                  <a:pt x="0" y="2514600"/>
                </a:moveTo>
                <a:lnTo>
                  <a:pt x="1451806" y="0"/>
                </a:lnTo>
                <a:lnTo>
                  <a:pt x="1451806" y="2514600"/>
                </a:lnTo>
                <a:close/>
              </a:path>
            </a:pathLst>
          </a:custGeom>
          <a:solidFill>
            <a:schemeClr val="bg2">
              <a:lumMod val="95000"/>
            </a:schemeClr>
          </a:solidFill>
          <a:ln w="29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Arial"/>
              <a:ea typeface="ヒラギノ角ゴ Pro W3" pitchFamily="125" charset="-128"/>
              <a:cs typeface="+mn-cs"/>
            </a:endParaRPr>
          </a:p>
        </p:txBody>
      </p:sp>
      <p:sp>
        <p:nvSpPr>
          <p:cNvPr id="18" name="Pfeil: nach oben 17">
            <a:extLst>
              <a:ext uri="{FF2B5EF4-FFF2-40B4-BE49-F238E27FC236}">
                <a16:creationId xmlns:a16="http://schemas.microsoft.com/office/drawing/2014/main" id="{F0172B03-0FB1-1686-F78D-DABAB91F9E46}"/>
              </a:ext>
            </a:extLst>
          </p:cNvPr>
          <p:cNvSpPr/>
          <p:nvPr/>
        </p:nvSpPr>
        <p:spPr>
          <a:xfrm>
            <a:off x="4679040" y="3109290"/>
            <a:ext cx="2833920" cy="1306371"/>
          </a:xfrm>
          <a:prstGeom prst="upArrow">
            <a:avLst>
              <a:gd name="adj1" fmla="val 58925"/>
              <a:gd name="adj2" fmla="val 64718"/>
            </a:avLst>
          </a:prstGeom>
          <a:solidFill>
            <a:srgbClr val="7A2582"/>
          </a:solidFill>
          <a:ln>
            <a:solidFill>
              <a:schemeClr val="accent2"/>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noProof="0" dirty="0"/>
              <a:t>Strukturelle Veränderung</a:t>
            </a:r>
          </a:p>
        </p:txBody>
      </p:sp>
      <p:grpSp>
        <p:nvGrpSpPr>
          <p:cNvPr id="6" name="Gruppieren 5">
            <a:extLst>
              <a:ext uri="{FF2B5EF4-FFF2-40B4-BE49-F238E27FC236}">
                <a16:creationId xmlns:a16="http://schemas.microsoft.com/office/drawing/2014/main" id="{2F2F06B9-AC98-29D6-91E5-824501CC4C26}"/>
              </a:ext>
            </a:extLst>
          </p:cNvPr>
          <p:cNvGrpSpPr/>
          <p:nvPr/>
        </p:nvGrpSpPr>
        <p:grpSpPr>
          <a:xfrm>
            <a:off x="1947134" y="4733365"/>
            <a:ext cx="8433231" cy="1526965"/>
            <a:chOff x="1947134" y="4733365"/>
            <a:chExt cx="8433231" cy="1526965"/>
          </a:xfrm>
        </p:grpSpPr>
        <p:grpSp>
          <p:nvGrpSpPr>
            <p:cNvPr id="14" name="Gruppieren 13">
              <a:extLst>
                <a:ext uri="{FF2B5EF4-FFF2-40B4-BE49-F238E27FC236}">
                  <a16:creationId xmlns:a16="http://schemas.microsoft.com/office/drawing/2014/main" id="{1D63A2BF-B7E4-A1E5-8872-CDB61AAB01FF}"/>
                </a:ext>
              </a:extLst>
            </p:cNvPr>
            <p:cNvGrpSpPr/>
            <p:nvPr/>
          </p:nvGrpSpPr>
          <p:grpSpPr>
            <a:xfrm>
              <a:off x="2120434" y="4829180"/>
              <a:ext cx="8206044" cy="1241936"/>
              <a:chOff x="2120434" y="1745502"/>
              <a:chExt cx="8206044" cy="1241936"/>
            </a:xfrm>
          </p:grpSpPr>
          <p:pic>
            <p:nvPicPr>
              <p:cNvPr id="5" name="Grafik 4" descr="Toilette mit einfarbiger Füllung">
                <a:extLst>
                  <a:ext uri="{FF2B5EF4-FFF2-40B4-BE49-F238E27FC236}">
                    <a16:creationId xmlns:a16="http://schemas.microsoft.com/office/drawing/2014/main" id="{AAA57F2E-8615-CBBC-112B-CB97BF3607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61413" y="1745502"/>
                <a:ext cx="742950" cy="742950"/>
              </a:xfrm>
              <a:prstGeom prst="rect">
                <a:avLst/>
              </a:prstGeom>
            </p:spPr>
          </p:pic>
          <p:pic>
            <p:nvPicPr>
              <p:cNvPr id="7" name="Grafik 6" descr="Tropfender Wasserhahn mit einfarbiger Füllung">
                <a:extLst>
                  <a:ext uri="{FF2B5EF4-FFF2-40B4-BE49-F238E27FC236}">
                    <a16:creationId xmlns:a16="http://schemas.microsoft.com/office/drawing/2014/main" id="{69A70CB8-7914-6246-2285-B8F2C0226EC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32661" y="1773334"/>
                <a:ext cx="742950" cy="742950"/>
              </a:xfrm>
              <a:prstGeom prst="rect">
                <a:avLst/>
              </a:prstGeom>
            </p:spPr>
          </p:pic>
          <p:pic>
            <p:nvPicPr>
              <p:cNvPr id="9" name="Grafik 8" descr="Händewaschen mit einfarbiger Füllung">
                <a:extLst>
                  <a:ext uri="{FF2B5EF4-FFF2-40B4-BE49-F238E27FC236}">
                    <a16:creationId xmlns:a16="http://schemas.microsoft.com/office/drawing/2014/main" id="{68B9F8A6-0606-0AE4-64B3-3639DE2B0B6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316391" y="1811348"/>
                <a:ext cx="742950" cy="742950"/>
              </a:xfrm>
              <a:prstGeom prst="rect">
                <a:avLst/>
              </a:prstGeom>
            </p:spPr>
          </p:pic>
          <p:pic>
            <p:nvPicPr>
              <p:cNvPr id="13" name="Grafik 12" descr="Elektriker mit einfarbiger Füllung">
                <a:extLst>
                  <a:ext uri="{FF2B5EF4-FFF2-40B4-BE49-F238E27FC236}">
                    <a16:creationId xmlns:a16="http://schemas.microsoft.com/office/drawing/2014/main" id="{CD52CCB0-7221-841A-C786-B185FAE6E47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60150" y="1760179"/>
                <a:ext cx="742950" cy="742950"/>
              </a:xfrm>
              <a:prstGeom prst="rect">
                <a:avLst/>
              </a:prstGeom>
            </p:spPr>
          </p:pic>
          <p:pic>
            <p:nvPicPr>
              <p:cNvPr id="15" name="Grafik 14" descr="Elektrikerin mit einfarbiger Füllung">
                <a:extLst>
                  <a:ext uri="{FF2B5EF4-FFF2-40B4-BE49-F238E27FC236}">
                    <a16:creationId xmlns:a16="http://schemas.microsoft.com/office/drawing/2014/main" id="{A6E9F179-F9BC-1066-E430-70056824CCD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288902" y="1783252"/>
                <a:ext cx="742950" cy="742950"/>
              </a:xfrm>
              <a:prstGeom prst="rect">
                <a:avLst/>
              </a:prstGeom>
            </p:spPr>
          </p:pic>
          <p:pic>
            <p:nvPicPr>
              <p:cNvPr id="17" name="Grafik 16" descr="Gehirn im Kopf mit einfarbiger Füllung">
                <a:extLst>
                  <a:ext uri="{FF2B5EF4-FFF2-40B4-BE49-F238E27FC236}">
                    <a16:creationId xmlns:a16="http://schemas.microsoft.com/office/drawing/2014/main" id="{8552567A-BF6A-05FD-6B55-CD6BEF106A3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187639" y="1745502"/>
                <a:ext cx="742950" cy="742950"/>
              </a:xfrm>
              <a:prstGeom prst="rect">
                <a:avLst/>
              </a:prstGeom>
            </p:spPr>
          </p:pic>
          <p:sp>
            <p:nvSpPr>
              <p:cNvPr id="2" name="Textfeld 1">
                <a:extLst>
                  <a:ext uri="{FF2B5EF4-FFF2-40B4-BE49-F238E27FC236}">
                    <a16:creationId xmlns:a16="http://schemas.microsoft.com/office/drawing/2014/main" id="{FD6CD908-3EBF-2438-D234-91B6BB06A7E0}"/>
                  </a:ext>
                </a:extLst>
              </p:cNvPr>
              <p:cNvSpPr txBox="1"/>
              <p:nvPr/>
            </p:nvSpPr>
            <p:spPr>
              <a:xfrm>
                <a:off x="2120434" y="2669979"/>
                <a:ext cx="1836000" cy="317459"/>
              </a:xfrm>
              <a:prstGeom prst="rect">
                <a:avLst/>
              </a:prstGeom>
              <a:solidFill>
                <a:srgbClr val="FFD100"/>
              </a:solidFill>
            </p:spPr>
            <p:txBody>
              <a:bodyPr wrap="square" rtlCol="0">
                <a:spAutoFit/>
              </a:bodyPr>
              <a:lstStyle/>
              <a:p>
                <a:pPr algn="ctr"/>
                <a:r>
                  <a:rPr lang="de-DE" sz="1463" noProof="0" dirty="0"/>
                  <a:t>Infrastruktur</a:t>
                </a:r>
              </a:p>
            </p:txBody>
          </p:sp>
          <p:sp>
            <p:nvSpPr>
              <p:cNvPr id="3" name="Textfeld 2">
                <a:extLst>
                  <a:ext uri="{FF2B5EF4-FFF2-40B4-BE49-F238E27FC236}">
                    <a16:creationId xmlns:a16="http://schemas.microsoft.com/office/drawing/2014/main" id="{5A078A6C-2E37-3CF9-23C7-16F31351C1AF}"/>
                  </a:ext>
                </a:extLst>
              </p:cNvPr>
              <p:cNvSpPr txBox="1"/>
              <p:nvPr/>
            </p:nvSpPr>
            <p:spPr>
              <a:xfrm>
                <a:off x="5026580" y="2669979"/>
                <a:ext cx="2138839" cy="317459"/>
              </a:xfrm>
              <a:prstGeom prst="rect">
                <a:avLst/>
              </a:prstGeom>
              <a:solidFill>
                <a:srgbClr val="FFD100"/>
              </a:solidFill>
            </p:spPr>
            <p:txBody>
              <a:bodyPr wrap="square" rtlCol="0">
                <a:spAutoFit/>
              </a:bodyPr>
              <a:lstStyle/>
              <a:p>
                <a:pPr algn="ctr"/>
                <a:r>
                  <a:rPr lang="de-DE" sz="1463" noProof="0" dirty="0"/>
                  <a:t>Technisches Know-how</a:t>
                </a:r>
              </a:p>
            </p:txBody>
          </p:sp>
          <p:sp>
            <p:nvSpPr>
              <p:cNvPr id="4" name="Textfeld 3">
                <a:extLst>
                  <a:ext uri="{FF2B5EF4-FFF2-40B4-BE49-F238E27FC236}">
                    <a16:creationId xmlns:a16="http://schemas.microsoft.com/office/drawing/2014/main" id="{E727792C-77B0-27EE-A52F-A970FFE96A28}"/>
                  </a:ext>
                </a:extLst>
              </p:cNvPr>
              <p:cNvSpPr txBox="1"/>
              <p:nvPr/>
            </p:nvSpPr>
            <p:spPr>
              <a:xfrm>
                <a:off x="8187639" y="2669979"/>
                <a:ext cx="2138839" cy="317459"/>
              </a:xfrm>
              <a:prstGeom prst="rect">
                <a:avLst/>
              </a:prstGeom>
              <a:solidFill>
                <a:srgbClr val="FFD100"/>
              </a:solidFill>
            </p:spPr>
            <p:txBody>
              <a:bodyPr wrap="square" rtlCol="0">
                <a:spAutoFit/>
              </a:bodyPr>
              <a:lstStyle/>
              <a:p>
                <a:pPr algn="ctr"/>
                <a:r>
                  <a:rPr lang="de-DE" sz="1463" noProof="0" dirty="0"/>
                  <a:t>Wissen über Hygiene</a:t>
                </a:r>
              </a:p>
            </p:txBody>
          </p:sp>
        </p:grpSp>
        <p:sp>
          <p:nvSpPr>
            <p:cNvPr id="19" name="Rechteck: abgerundete Ecken 18">
              <a:extLst>
                <a:ext uri="{FF2B5EF4-FFF2-40B4-BE49-F238E27FC236}">
                  <a16:creationId xmlns:a16="http://schemas.microsoft.com/office/drawing/2014/main" id="{DB95FE09-F93F-B98C-5AF4-CB3E903A57E0}"/>
                </a:ext>
              </a:extLst>
            </p:cNvPr>
            <p:cNvSpPr/>
            <p:nvPr/>
          </p:nvSpPr>
          <p:spPr>
            <a:xfrm>
              <a:off x="1947134" y="4733365"/>
              <a:ext cx="2259106" cy="1516828"/>
            </a:xfrm>
            <a:prstGeom prst="roundRect">
              <a:avLst/>
            </a:prstGeom>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pPr algn="ctr"/>
              <a:endParaRPr lang="de-DE" noProof="0" dirty="0"/>
            </a:p>
          </p:txBody>
        </p:sp>
        <p:sp>
          <p:nvSpPr>
            <p:cNvPr id="20" name="Rechteck: abgerundete Ecken 19">
              <a:extLst>
                <a:ext uri="{FF2B5EF4-FFF2-40B4-BE49-F238E27FC236}">
                  <a16:creationId xmlns:a16="http://schemas.microsoft.com/office/drawing/2014/main" id="{92C143DE-3A19-9FEB-2BEA-4B1520C06FE5}"/>
                </a:ext>
              </a:extLst>
            </p:cNvPr>
            <p:cNvSpPr/>
            <p:nvPr/>
          </p:nvSpPr>
          <p:spPr>
            <a:xfrm>
              <a:off x="4966446" y="4743502"/>
              <a:ext cx="2259106" cy="1516828"/>
            </a:xfrm>
            <a:prstGeom prst="roundRect">
              <a:avLst/>
            </a:prstGeom>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pPr algn="ctr"/>
              <a:endParaRPr lang="de-DE" noProof="0" dirty="0"/>
            </a:p>
          </p:txBody>
        </p:sp>
        <p:sp>
          <p:nvSpPr>
            <p:cNvPr id="21" name="Rechteck: abgerundete Ecken 20">
              <a:extLst>
                <a:ext uri="{FF2B5EF4-FFF2-40B4-BE49-F238E27FC236}">
                  <a16:creationId xmlns:a16="http://schemas.microsoft.com/office/drawing/2014/main" id="{AC919619-94B1-2863-0215-859AFC3E9BF6}"/>
                </a:ext>
              </a:extLst>
            </p:cNvPr>
            <p:cNvSpPr/>
            <p:nvPr/>
          </p:nvSpPr>
          <p:spPr>
            <a:xfrm>
              <a:off x="8121259" y="4743502"/>
              <a:ext cx="2259106" cy="1516828"/>
            </a:xfrm>
            <a:prstGeom prst="roundRect">
              <a:avLst/>
            </a:prstGeom>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pPr algn="ctr"/>
              <a:endParaRPr lang="de-DE" noProof="0" dirty="0"/>
            </a:p>
          </p:txBody>
        </p:sp>
      </p:grpSp>
      <p:grpSp>
        <p:nvGrpSpPr>
          <p:cNvPr id="30" name="Gruppieren 29">
            <a:extLst>
              <a:ext uri="{FF2B5EF4-FFF2-40B4-BE49-F238E27FC236}">
                <a16:creationId xmlns:a16="http://schemas.microsoft.com/office/drawing/2014/main" id="{F3E681D2-1400-6383-C470-111F34B8C6DB}"/>
              </a:ext>
            </a:extLst>
          </p:cNvPr>
          <p:cNvGrpSpPr/>
          <p:nvPr/>
        </p:nvGrpSpPr>
        <p:grpSpPr>
          <a:xfrm>
            <a:off x="4083116" y="1523816"/>
            <a:ext cx="4062964" cy="941496"/>
            <a:chOff x="4083116" y="1523816"/>
            <a:chExt cx="4062964" cy="941496"/>
          </a:xfrm>
        </p:grpSpPr>
        <p:pic>
          <p:nvPicPr>
            <p:cNvPr id="27" name="Grafik 26" descr="Gericht mit einfarbiger Füllung">
              <a:extLst>
                <a:ext uri="{FF2B5EF4-FFF2-40B4-BE49-F238E27FC236}">
                  <a16:creationId xmlns:a16="http://schemas.microsoft.com/office/drawing/2014/main" id="{51FC24E8-9A83-3396-BE25-8E05BC32A01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724525" y="1563214"/>
              <a:ext cx="742950" cy="742950"/>
            </a:xfrm>
            <a:prstGeom prst="rect">
              <a:avLst/>
            </a:prstGeom>
          </p:spPr>
        </p:pic>
        <p:sp>
          <p:nvSpPr>
            <p:cNvPr id="12" name="Pfeil: nach rechts 11">
              <a:extLst>
                <a:ext uri="{FF2B5EF4-FFF2-40B4-BE49-F238E27FC236}">
                  <a16:creationId xmlns:a16="http://schemas.microsoft.com/office/drawing/2014/main" id="{B277993D-5249-2176-DA43-1F2084313069}"/>
                </a:ext>
              </a:extLst>
            </p:cNvPr>
            <p:cNvSpPr/>
            <p:nvPr/>
          </p:nvSpPr>
          <p:spPr>
            <a:xfrm rot="20205899">
              <a:off x="4083116" y="1907312"/>
              <a:ext cx="1440000" cy="558000"/>
            </a:xfrm>
            <a:prstGeom prst="rightArrow">
              <a:avLst/>
            </a:prstGeom>
            <a:solidFill>
              <a:srgbClr val="7A2582"/>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63" noProof="0" dirty="0" err="1"/>
                <a:t>Advocacy</a:t>
              </a:r>
              <a:endParaRPr lang="de-DE" sz="1463" noProof="0" dirty="0"/>
            </a:p>
          </p:txBody>
        </p:sp>
        <p:sp>
          <p:nvSpPr>
            <p:cNvPr id="16" name="Pfeil: nach links 15">
              <a:extLst>
                <a:ext uri="{FF2B5EF4-FFF2-40B4-BE49-F238E27FC236}">
                  <a16:creationId xmlns:a16="http://schemas.microsoft.com/office/drawing/2014/main" id="{9BAEF599-157A-732B-9B42-48D72810BD92}"/>
                </a:ext>
              </a:extLst>
            </p:cNvPr>
            <p:cNvSpPr/>
            <p:nvPr/>
          </p:nvSpPr>
          <p:spPr>
            <a:xfrm rot="1476024">
              <a:off x="6707435" y="1881431"/>
              <a:ext cx="1438645" cy="556505"/>
            </a:xfrm>
            <a:prstGeom prst="leftArrow">
              <a:avLst/>
            </a:prstGeom>
            <a:solidFill>
              <a:srgbClr val="7A2582"/>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63" noProof="0" dirty="0" err="1"/>
                <a:t>Advocacy</a:t>
              </a:r>
              <a:endParaRPr lang="de-DE" sz="1463" noProof="0" dirty="0"/>
            </a:p>
          </p:txBody>
        </p:sp>
        <p:sp>
          <p:nvSpPr>
            <p:cNvPr id="22" name="Rechteck: abgerundete Ecken 21">
              <a:extLst>
                <a:ext uri="{FF2B5EF4-FFF2-40B4-BE49-F238E27FC236}">
                  <a16:creationId xmlns:a16="http://schemas.microsoft.com/office/drawing/2014/main" id="{48700DF4-AB7F-CC83-8D23-1A32417A3093}"/>
                </a:ext>
              </a:extLst>
            </p:cNvPr>
            <p:cNvSpPr/>
            <p:nvPr/>
          </p:nvSpPr>
          <p:spPr>
            <a:xfrm>
              <a:off x="5664000" y="1523816"/>
              <a:ext cx="864000" cy="864000"/>
            </a:xfrm>
            <a:prstGeom prst="roundRect">
              <a:avLst/>
            </a:prstGeom>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pPr algn="ctr"/>
              <a:endParaRPr lang="de-DE" noProof="0" dirty="0"/>
            </a:p>
          </p:txBody>
        </p:sp>
      </p:grpSp>
      <p:grpSp>
        <p:nvGrpSpPr>
          <p:cNvPr id="11" name="Gruppieren 10">
            <a:extLst>
              <a:ext uri="{FF2B5EF4-FFF2-40B4-BE49-F238E27FC236}">
                <a16:creationId xmlns:a16="http://schemas.microsoft.com/office/drawing/2014/main" id="{485A54DB-7338-7256-D698-AFBAAF0C0715}"/>
              </a:ext>
            </a:extLst>
          </p:cNvPr>
          <p:cNvGrpSpPr/>
          <p:nvPr/>
        </p:nvGrpSpPr>
        <p:grpSpPr>
          <a:xfrm>
            <a:off x="1286089" y="2731685"/>
            <a:ext cx="10003342" cy="864935"/>
            <a:chOff x="1286089" y="2731685"/>
            <a:chExt cx="10003342" cy="864935"/>
          </a:xfrm>
        </p:grpSpPr>
        <p:pic>
          <p:nvPicPr>
            <p:cNvPr id="23" name="Grafik 22" descr="Gruppe von Frauen mit einfarbiger Füllung">
              <a:extLst>
                <a:ext uri="{FF2B5EF4-FFF2-40B4-BE49-F238E27FC236}">
                  <a16:creationId xmlns:a16="http://schemas.microsoft.com/office/drawing/2014/main" id="{55F4040F-8481-9561-40AC-E3D824F78E9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749784" y="2792211"/>
              <a:ext cx="742950" cy="742950"/>
            </a:xfrm>
            <a:prstGeom prst="rect">
              <a:avLst/>
            </a:prstGeom>
          </p:spPr>
        </p:pic>
        <p:pic>
          <p:nvPicPr>
            <p:cNvPr id="25" name="Grafik 24" descr="Management mit einfarbiger Füllung">
              <a:extLst>
                <a:ext uri="{FF2B5EF4-FFF2-40B4-BE49-F238E27FC236}">
                  <a16:creationId xmlns:a16="http://schemas.microsoft.com/office/drawing/2014/main" id="{4D34C9F8-FF40-D05E-B8AE-556BE966DA5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705890" y="2792211"/>
              <a:ext cx="742950" cy="742950"/>
            </a:xfrm>
            <a:prstGeom prst="rect">
              <a:avLst/>
            </a:prstGeom>
          </p:spPr>
        </p:pic>
        <p:sp>
          <p:nvSpPr>
            <p:cNvPr id="8" name="Textfeld 7">
              <a:extLst>
                <a:ext uri="{FF2B5EF4-FFF2-40B4-BE49-F238E27FC236}">
                  <a16:creationId xmlns:a16="http://schemas.microsoft.com/office/drawing/2014/main" id="{78E5EE22-EB17-84B0-FEC9-40C127EA3848}"/>
                </a:ext>
              </a:extLst>
            </p:cNvPr>
            <p:cNvSpPr txBox="1"/>
            <p:nvPr/>
          </p:nvSpPr>
          <p:spPr>
            <a:xfrm>
              <a:off x="1431716" y="2779830"/>
              <a:ext cx="2043035" cy="767711"/>
            </a:xfrm>
            <a:prstGeom prst="rect">
              <a:avLst/>
            </a:prstGeom>
            <a:solidFill>
              <a:srgbClr val="FFD100"/>
            </a:solidFill>
          </p:spPr>
          <p:txBody>
            <a:bodyPr wrap="square" rtlCol="0">
              <a:spAutoFit/>
            </a:bodyPr>
            <a:lstStyle/>
            <a:p>
              <a:pPr algn="ctr"/>
              <a:r>
                <a:rPr lang="de-DE" sz="1463" noProof="0" dirty="0"/>
                <a:t>Wasserkomitees,
Hygieneausschüsse,
Schulclubs...</a:t>
              </a:r>
            </a:p>
          </p:txBody>
        </p:sp>
        <p:sp>
          <p:nvSpPr>
            <p:cNvPr id="10" name="Textfeld 9">
              <a:extLst>
                <a:ext uri="{FF2B5EF4-FFF2-40B4-BE49-F238E27FC236}">
                  <a16:creationId xmlns:a16="http://schemas.microsoft.com/office/drawing/2014/main" id="{7D65F910-9A5F-3006-4611-3D25F72CED3C}"/>
                </a:ext>
              </a:extLst>
            </p:cNvPr>
            <p:cNvSpPr txBox="1"/>
            <p:nvPr/>
          </p:nvSpPr>
          <p:spPr>
            <a:xfrm>
              <a:off x="8767072" y="2892393"/>
              <a:ext cx="2407675" cy="542584"/>
            </a:xfrm>
            <a:prstGeom prst="rect">
              <a:avLst/>
            </a:prstGeom>
            <a:solidFill>
              <a:srgbClr val="FFD100"/>
            </a:solidFill>
          </p:spPr>
          <p:txBody>
            <a:bodyPr wrap="square" rtlCol="0">
              <a:spAutoFit/>
            </a:bodyPr>
            <a:lstStyle/>
            <a:p>
              <a:r>
                <a:rPr lang="de-DE" sz="1463" noProof="0" dirty="0"/>
                <a:t>Beteiligung von Frauen
Geschlechtergerechtigkeit</a:t>
              </a:r>
            </a:p>
          </p:txBody>
        </p:sp>
        <p:sp>
          <p:nvSpPr>
            <p:cNvPr id="24" name="Rechteck: abgerundete Ecken 23">
              <a:extLst>
                <a:ext uri="{FF2B5EF4-FFF2-40B4-BE49-F238E27FC236}">
                  <a16:creationId xmlns:a16="http://schemas.microsoft.com/office/drawing/2014/main" id="{0F9C94D1-7FF2-AA3F-DBF3-208B3BF7978E}"/>
                </a:ext>
              </a:extLst>
            </p:cNvPr>
            <p:cNvSpPr/>
            <p:nvPr/>
          </p:nvSpPr>
          <p:spPr>
            <a:xfrm>
              <a:off x="1286089" y="2731685"/>
              <a:ext cx="3223276" cy="864000"/>
            </a:xfrm>
            <a:prstGeom prst="roundRect">
              <a:avLst/>
            </a:prstGeom>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pPr algn="ctr"/>
              <a:endParaRPr lang="de-DE" noProof="0" dirty="0"/>
            </a:p>
          </p:txBody>
        </p:sp>
        <p:sp>
          <p:nvSpPr>
            <p:cNvPr id="26" name="Rechteck: abgerundete Ecken 25">
              <a:extLst>
                <a:ext uri="{FF2B5EF4-FFF2-40B4-BE49-F238E27FC236}">
                  <a16:creationId xmlns:a16="http://schemas.microsoft.com/office/drawing/2014/main" id="{E99DB7F0-4464-0975-10A8-AAA44AB480D5}"/>
                </a:ext>
              </a:extLst>
            </p:cNvPr>
            <p:cNvSpPr/>
            <p:nvPr/>
          </p:nvSpPr>
          <p:spPr>
            <a:xfrm>
              <a:off x="7682635" y="2732620"/>
              <a:ext cx="3606796" cy="864000"/>
            </a:xfrm>
            <a:prstGeom prst="roundRect">
              <a:avLst/>
            </a:prstGeom>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pPr algn="ctr"/>
              <a:endParaRPr lang="de-DE" noProof="0" dirty="0"/>
            </a:p>
          </p:txBody>
        </p:sp>
      </p:grpSp>
      <p:sp>
        <p:nvSpPr>
          <p:cNvPr id="29" name="Graphic 9">
            <a:extLst>
              <a:ext uri="{FF2B5EF4-FFF2-40B4-BE49-F238E27FC236}">
                <a16:creationId xmlns:a16="http://schemas.microsoft.com/office/drawing/2014/main" id="{222A583E-33AC-398A-2E83-6D3B444C15E4}"/>
              </a:ext>
            </a:extLst>
          </p:cNvPr>
          <p:cNvSpPr/>
          <p:nvPr/>
        </p:nvSpPr>
        <p:spPr>
          <a:xfrm rot="10800000">
            <a:off x="0" y="122233"/>
            <a:ext cx="1887528" cy="5368925"/>
          </a:xfrm>
          <a:custGeom>
            <a:avLst/>
            <a:gdLst>
              <a:gd name="connsiteX0" fmla="*/ 0 w 1451806"/>
              <a:gd name="connsiteY0" fmla="*/ 2514600 h 2514600"/>
              <a:gd name="connsiteX1" fmla="*/ 1451806 w 1451806"/>
              <a:gd name="connsiteY1" fmla="*/ 0 h 2514600"/>
              <a:gd name="connsiteX2" fmla="*/ 1451806 w 1451806"/>
              <a:gd name="connsiteY2" fmla="*/ 2514600 h 2514600"/>
            </a:gdLst>
            <a:ahLst/>
            <a:cxnLst>
              <a:cxn ang="0">
                <a:pos x="connsiteX0" y="connsiteY0"/>
              </a:cxn>
              <a:cxn ang="0">
                <a:pos x="connsiteX1" y="connsiteY1"/>
              </a:cxn>
              <a:cxn ang="0">
                <a:pos x="connsiteX2" y="connsiteY2"/>
              </a:cxn>
            </a:cxnLst>
            <a:rect l="l" t="t" r="r" b="b"/>
            <a:pathLst>
              <a:path w="1451806" h="2514600">
                <a:moveTo>
                  <a:pt x="0" y="2514600"/>
                </a:moveTo>
                <a:lnTo>
                  <a:pt x="1451806" y="0"/>
                </a:lnTo>
                <a:lnTo>
                  <a:pt x="1451806" y="2514600"/>
                </a:lnTo>
                <a:close/>
              </a:path>
            </a:pathLst>
          </a:custGeom>
          <a:solidFill>
            <a:schemeClr val="bg2">
              <a:lumMod val="95000"/>
            </a:schemeClr>
          </a:solidFill>
          <a:ln w="29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Arial"/>
              <a:ea typeface="ヒラギノ角ゴ Pro W3" pitchFamily="125" charset="-128"/>
              <a:cs typeface="+mn-cs"/>
            </a:endParaRPr>
          </a:p>
        </p:txBody>
      </p:sp>
      <p:grpSp>
        <p:nvGrpSpPr>
          <p:cNvPr id="31" name="Gruppieren 30">
            <a:extLst>
              <a:ext uri="{FF2B5EF4-FFF2-40B4-BE49-F238E27FC236}">
                <a16:creationId xmlns:a16="http://schemas.microsoft.com/office/drawing/2014/main" id="{2E34780A-45BA-8E6F-B09D-CE549A642EE1}"/>
              </a:ext>
            </a:extLst>
          </p:cNvPr>
          <p:cNvGrpSpPr/>
          <p:nvPr/>
        </p:nvGrpSpPr>
        <p:grpSpPr>
          <a:xfrm>
            <a:off x="2038120" y="280669"/>
            <a:ext cx="8266351" cy="864000"/>
            <a:chOff x="2038120" y="280669"/>
            <a:chExt cx="8266351" cy="864000"/>
          </a:xfrm>
        </p:grpSpPr>
        <p:grpSp>
          <p:nvGrpSpPr>
            <p:cNvPr id="32" name="Group 21">
              <a:extLst>
                <a:ext uri="{FF2B5EF4-FFF2-40B4-BE49-F238E27FC236}">
                  <a16:creationId xmlns:a16="http://schemas.microsoft.com/office/drawing/2014/main" id="{78127249-22D1-12C5-6208-4D811CDB2323}"/>
                </a:ext>
              </a:extLst>
            </p:cNvPr>
            <p:cNvGrpSpPr/>
            <p:nvPr/>
          </p:nvGrpSpPr>
          <p:grpSpPr>
            <a:xfrm>
              <a:off x="2120435" y="393634"/>
              <a:ext cx="8184036" cy="616388"/>
              <a:chOff x="-216098" y="407550"/>
              <a:chExt cx="8280865" cy="616388"/>
            </a:xfrm>
          </p:grpSpPr>
          <p:sp>
            <p:nvSpPr>
              <p:cNvPr id="33" name="TextBox 2">
                <a:extLst>
                  <a:ext uri="{FF2B5EF4-FFF2-40B4-BE49-F238E27FC236}">
                    <a16:creationId xmlns:a16="http://schemas.microsoft.com/office/drawing/2014/main" id="{FAFD7B6A-CA3E-2C32-C67C-8B939187EC98}"/>
                  </a:ext>
                </a:extLst>
              </p:cNvPr>
              <p:cNvSpPr txBox="1"/>
              <p:nvPr/>
            </p:nvSpPr>
            <p:spPr>
              <a:xfrm>
                <a:off x="-216098" y="407550"/>
                <a:ext cx="8280865" cy="480131"/>
              </a:xfrm>
              <a:prstGeom prst="rect">
                <a:avLst/>
              </a:prstGeom>
              <a:noFill/>
            </p:spPr>
            <p:txBody>
              <a:bodyPr wrap="square" rtlCol="0">
                <a:spAutoFit/>
              </a:bodyPr>
              <a:lstStyle/>
              <a:p>
                <a:pPr fontAlgn="auto">
                  <a:lnSpc>
                    <a:spcPct val="90000"/>
                  </a:lnSpc>
                  <a:spcAft>
                    <a:spcPts val="0"/>
                  </a:spcAft>
                  <a:defRPr/>
                </a:pPr>
                <a:r>
                  <a:rPr lang="de-DE" sz="2800" b="1" noProof="0" dirty="0">
                    <a:solidFill>
                      <a:srgbClr val="00338D"/>
                    </a:solidFill>
                  </a:rPr>
                  <a:t>Bessere Gesundheit, nachhaltige Infrastruktur</a:t>
                </a:r>
                <a:endParaRPr lang="de-DE" sz="2800" b="1" noProof="0" dirty="0">
                  <a:solidFill>
                    <a:srgbClr val="00338D"/>
                  </a:solidFill>
                  <a:latin typeface="Arial"/>
                </a:endParaRPr>
              </a:p>
            </p:txBody>
          </p:sp>
          <p:cxnSp>
            <p:nvCxnSpPr>
              <p:cNvPr id="34" name="Straight Connector 3">
                <a:extLst>
                  <a:ext uri="{FF2B5EF4-FFF2-40B4-BE49-F238E27FC236}">
                    <a16:creationId xmlns:a16="http://schemas.microsoft.com/office/drawing/2014/main" id="{65087CD4-2ABA-C6E7-5A13-6D54C64262A9}"/>
                  </a:ext>
                </a:extLst>
              </p:cNvPr>
              <p:cNvCxnSpPr>
                <a:cxnSpLocks/>
              </p:cNvCxnSpPr>
              <p:nvPr/>
            </p:nvCxnSpPr>
            <p:spPr>
              <a:xfrm>
                <a:off x="431800" y="1023938"/>
                <a:ext cx="6961636"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6" name="Rechteck: abgerundete Ecken 35">
              <a:extLst>
                <a:ext uri="{FF2B5EF4-FFF2-40B4-BE49-F238E27FC236}">
                  <a16:creationId xmlns:a16="http://schemas.microsoft.com/office/drawing/2014/main" id="{A5690CFC-B74A-8C75-F07A-EDD59F44BA60}"/>
                </a:ext>
              </a:extLst>
            </p:cNvPr>
            <p:cNvSpPr/>
            <p:nvPr/>
          </p:nvSpPr>
          <p:spPr>
            <a:xfrm>
              <a:off x="2038120" y="280669"/>
              <a:ext cx="8266351" cy="864000"/>
            </a:xfrm>
            <a:prstGeom prst="roundRect">
              <a:avLst/>
            </a:prstGeom>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pPr algn="ctr"/>
              <a:endParaRPr lang="de-DE" noProof="0" dirty="0"/>
            </a:p>
          </p:txBody>
        </p:sp>
      </p:grpSp>
      <p:pic>
        <p:nvPicPr>
          <p:cNvPr id="37" name="Grafik 36">
            <a:extLst>
              <a:ext uri="{FF2B5EF4-FFF2-40B4-BE49-F238E27FC236}">
                <a16:creationId xmlns:a16="http://schemas.microsoft.com/office/drawing/2014/main" id="{B2AA2B63-1616-5BB3-06F8-573FB675ABF9}"/>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11285137" y="229675"/>
            <a:ext cx="628217" cy="847837"/>
          </a:xfrm>
          <a:prstGeom prst="rect">
            <a:avLst/>
          </a:prstGeom>
        </p:spPr>
      </p:pic>
      <p:sp>
        <p:nvSpPr>
          <p:cNvPr id="38" name="Fußzeilenplatzhalter 37">
            <a:extLst>
              <a:ext uri="{FF2B5EF4-FFF2-40B4-BE49-F238E27FC236}">
                <a16:creationId xmlns:a16="http://schemas.microsoft.com/office/drawing/2014/main" id="{4435F215-A1AF-44B7-5171-438272FD6C83}"/>
              </a:ext>
            </a:extLst>
          </p:cNvPr>
          <p:cNvSpPr>
            <a:spLocks noGrp="1"/>
          </p:cNvSpPr>
          <p:nvPr>
            <p:ph type="ftr" sz="quarter" idx="3"/>
          </p:nvPr>
        </p:nvSpPr>
        <p:spPr/>
        <p:txBody>
          <a:bodyPr/>
          <a:lstStyle/>
          <a:p>
            <a:r>
              <a:rPr lang="de-DE" dirty="0"/>
              <a:t>Lions für WaSH - Wasser ist Leben</a:t>
            </a:r>
          </a:p>
        </p:txBody>
      </p:sp>
    </p:spTree>
    <p:extLst>
      <p:ext uri="{BB962C8B-B14F-4D97-AF65-F5344CB8AC3E}">
        <p14:creationId xmlns:p14="http://schemas.microsoft.com/office/powerpoint/2010/main" val="1913694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125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157CD9F-E26C-B5A8-51B0-3ABD0A92ED3B}"/>
              </a:ext>
            </a:extLst>
          </p:cNvPr>
          <p:cNvSpPr>
            <a:spLocks noGrp="1"/>
          </p:cNvSpPr>
          <p:nvPr>
            <p:ph type="body" sz="quarter" idx="17"/>
          </p:nvPr>
        </p:nvSpPr>
        <p:spPr/>
        <p:txBody>
          <a:bodyPr/>
          <a:lstStyle/>
          <a:p>
            <a:r>
              <a:rPr lang="de-DE" dirty="0"/>
              <a:t>Unsere Erfolgsgeschichten</a:t>
            </a:r>
          </a:p>
        </p:txBody>
      </p:sp>
      <p:sp>
        <p:nvSpPr>
          <p:cNvPr id="3" name="Textfeld 2">
            <a:extLst>
              <a:ext uri="{FF2B5EF4-FFF2-40B4-BE49-F238E27FC236}">
                <a16:creationId xmlns:a16="http://schemas.microsoft.com/office/drawing/2014/main" id="{BD3AAD69-3BE4-5A54-B9AD-08FFA3DC412E}"/>
              </a:ext>
            </a:extLst>
          </p:cNvPr>
          <p:cNvSpPr txBox="1"/>
          <p:nvPr/>
        </p:nvSpPr>
        <p:spPr>
          <a:xfrm>
            <a:off x="10224655" y="6400800"/>
            <a:ext cx="1861407" cy="338554"/>
          </a:xfrm>
          <a:prstGeom prst="rect">
            <a:avLst/>
          </a:prstGeom>
          <a:noFill/>
        </p:spPr>
        <p:txBody>
          <a:bodyPr wrap="none" rtlCol="0">
            <a:spAutoFit/>
          </a:bodyPr>
          <a:lstStyle/>
          <a:p>
            <a:r>
              <a:rPr lang="de-DE" sz="1600" dirty="0">
                <a:solidFill>
                  <a:schemeClr val="bg1"/>
                </a:solidFill>
              </a:rPr>
              <a:t>Stand: 20.05.2025</a:t>
            </a:r>
          </a:p>
        </p:txBody>
      </p:sp>
    </p:spTree>
    <p:extLst>
      <p:ext uri="{BB962C8B-B14F-4D97-AF65-F5344CB8AC3E}">
        <p14:creationId xmlns:p14="http://schemas.microsoft.com/office/powerpoint/2010/main" val="2906530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85A48018-10D8-CD09-333A-D805899C8BD0}"/>
              </a:ext>
            </a:extLst>
          </p:cNvPr>
          <p:cNvGraphicFramePr>
            <a:graphicFrameLocks noChangeAspect="1"/>
          </p:cNvGraphicFramePr>
          <p:nvPr>
            <p:custDataLst>
              <p:tags r:id="rId1"/>
            </p:custDataLst>
            <p:extLst>
              <p:ext uri="{D42A27DB-BD31-4B8C-83A1-F6EECF244321}">
                <p14:modId xmlns:p14="http://schemas.microsoft.com/office/powerpoint/2010/main" val="4249719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3" progId="TCLayout.ActiveDocument.1">
                  <p:embed/>
                </p:oleObj>
              </mc:Choice>
              <mc:Fallback>
                <p:oleObj name="think-cell Slide" r:id="rId4" imgW="344" imgH="34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8D7B758-1192-43FD-A9F4-434BE8EAD929}"/>
              </a:ext>
            </a:extLst>
          </p:cNvPr>
          <p:cNvSpPr>
            <a:spLocks noGrp="1"/>
          </p:cNvSpPr>
          <p:nvPr>
            <p:ph type="body" sz="quarter" idx="10"/>
          </p:nvPr>
        </p:nvSpPr>
        <p:spPr>
          <a:xfrm>
            <a:off x="323130" y="407551"/>
            <a:ext cx="8862272" cy="480131"/>
          </a:xfrm>
        </p:spPr>
        <p:txBody>
          <a:bodyPr/>
          <a:lstStyle/>
          <a:p>
            <a:r>
              <a:rPr lang="de-DE" dirty="0">
                <a:sym typeface="Arial" panose="020B0604020202020204" pitchFamily="34" charset="0"/>
              </a:rPr>
              <a:t>WaSH-Projekt in Indien erfolgreich abgeschlossen!</a:t>
            </a:r>
          </a:p>
        </p:txBody>
      </p:sp>
      <p:sp>
        <p:nvSpPr>
          <p:cNvPr id="9" name="Rectangle: Rounded Corners 8">
            <a:extLst>
              <a:ext uri="{FF2B5EF4-FFF2-40B4-BE49-F238E27FC236}">
                <a16:creationId xmlns:a16="http://schemas.microsoft.com/office/drawing/2014/main" id="{AE009C8C-A2D0-FE32-23C0-91C38A0885C4}"/>
              </a:ext>
            </a:extLst>
          </p:cNvPr>
          <p:cNvSpPr/>
          <p:nvPr/>
        </p:nvSpPr>
        <p:spPr>
          <a:xfrm>
            <a:off x="3694848" y="1562100"/>
            <a:ext cx="4772144" cy="477715"/>
          </a:xfrm>
          <a:prstGeom prst="roundRect">
            <a:avLst>
              <a:gd name="adj" fmla="val 20575"/>
            </a:avLst>
          </a:prstGeom>
          <a:solidFill>
            <a:srgbClr val="EBB700"/>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ヒラギノ角ゴ Pro W3" pitchFamily="125" charset="-128"/>
            </a:endParaRPr>
          </a:p>
        </p:txBody>
      </p:sp>
      <p:sp>
        <p:nvSpPr>
          <p:cNvPr id="10" name="TextBox 9">
            <a:extLst>
              <a:ext uri="{FF2B5EF4-FFF2-40B4-BE49-F238E27FC236}">
                <a16:creationId xmlns:a16="http://schemas.microsoft.com/office/drawing/2014/main" id="{D6BDE06F-992E-9DD9-804E-56525F4C5416}"/>
              </a:ext>
            </a:extLst>
          </p:cNvPr>
          <p:cNvSpPr txBox="1"/>
          <p:nvPr/>
        </p:nvSpPr>
        <p:spPr>
          <a:xfrm>
            <a:off x="3795084" y="1616292"/>
            <a:ext cx="4500616" cy="369332"/>
          </a:xfrm>
          <a:prstGeom prst="rect">
            <a:avLst/>
          </a:prstGeom>
          <a:noFill/>
        </p:spPr>
        <p:txBody>
          <a:bodyPr wrap="square" rtlCol="0" anchor="ctr">
            <a:spAutoFit/>
          </a:bodyPr>
          <a:lstStyle/>
          <a:p>
            <a:pPr marL="0" lvl="1" algn="ctr" fontAlgn="b">
              <a:spcBef>
                <a:spcPct val="0"/>
              </a:spcBef>
              <a:spcAft>
                <a:spcPts val="600"/>
              </a:spcAft>
              <a:buClr>
                <a:srgbClr val="00338D"/>
              </a:buClr>
              <a:defRPr/>
            </a:pPr>
            <a:r>
              <a:rPr lang="de-DE" b="1" kern="0" dirty="0">
                <a:solidFill>
                  <a:srgbClr val="00338D"/>
                </a:solidFill>
                <a:ea typeface="ヒラギノ角ゴ Pro W3" pitchFamily="125" charset="-128"/>
                <a:sym typeface="Arial" panose="020B0604020202020204" pitchFamily="34" charset="0"/>
              </a:rPr>
              <a:t>Gesundheit durch Aufklärung</a:t>
            </a:r>
          </a:p>
        </p:txBody>
      </p:sp>
      <p:sp>
        <p:nvSpPr>
          <p:cNvPr id="11" name="Rectangle: Rounded Corners 10">
            <a:extLst>
              <a:ext uri="{FF2B5EF4-FFF2-40B4-BE49-F238E27FC236}">
                <a16:creationId xmlns:a16="http://schemas.microsoft.com/office/drawing/2014/main" id="{328B44B4-F8FC-2DA0-E4C5-077722065C99}"/>
              </a:ext>
            </a:extLst>
          </p:cNvPr>
          <p:cNvSpPr/>
          <p:nvPr/>
        </p:nvSpPr>
        <p:spPr>
          <a:xfrm>
            <a:off x="3694849" y="2139134"/>
            <a:ext cx="4772145" cy="4004491"/>
          </a:xfrm>
          <a:prstGeom prst="roundRect">
            <a:avLst>
              <a:gd name="adj" fmla="val 179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black"/>
              </a:solidFill>
              <a:latin typeface="Arial"/>
            </a:endParaRPr>
          </a:p>
        </p:txBody>
      </p:sp>
      <p:sp>
        <p:nvSpPr>
          <p:cNvPr id="32" name="TextBox 31">
            <a:extLst>
              <a:ext uri="{FF2B5EF4-FFF2-40B4-BE49-F238E27FC236}">
                <a16:creationId xmlns:a16="http://schemas.microsoft.com/office/drawing/2014/main" id="{846D9815-6411-1B0D-CE38-3AF9EA80F707}"/>
              </a:ext>
            </a:extLst>
          </p:cNvPr>
          <p:cNvSpPr txBox="1"/>
          <p:nvPr/>
        </p:nvSpPr>
        <p:spPr>
          <a:xfrm>
            <a:off x="3795082" y="2255041"/>
            <a:ext cx="4571676" cy="3818353"/>
          </a:xfrm>
          <a:prstGeom prst="rect">
            <a:avLst/>
          </a:prstGeom>
          <a:noFill/>
        </p:spPr>
        <p:txBody>
          <a:bodyPr wrap="square" rtlCol="0" anchor="t">
            <a:spAutoFit/>
          </a:bodyPr>
          <a:lstStyle/>
          <a:p>
            <a:pPr marL="171450" lvl="1" indent="-171450" defTabSz="422039" fontAlgn="b">
              <a:lnSpc>
                <a:spcPct val="120000"/>
              </a:lnSpc>
              <a:spcBef>
                <a:spcPct val="0"/>
              </a:spcBef>
              <a:spcAft>
                <a:spcPts val="600"/>
              </a:spcAft>
              <a:buClr>
                <a:srgbClr val="00B050"/>
              </a:buClr>
              <a:buFont typeface="Wingdings" panose="05000000000000000000" pitchFamily="2" charset="2"/>
              <a:buChar char="ü"/>
              <a:defRPr/>
            </a:pPr>
            <a:r>
              <a:rPr lang="de-DE" sz="1600" kern="0" dirty="0">
                <a:latin typeface="Arial" panose="020B0604020202020204" pitchFamily="34" charset="0"/>
                <a:ea typeface="ヒラギノ角ゴ Pro W3" pitchFamily="125" charset="-128"/>
                <a:cs typeface="Arial" panose="020B0604020202020204" pitchFamily="34" charset="0"/>
                <a:sym typeface="Arial" panose="020B0604020202020204" pitchFamily="34" charset="0"/>
              </a:rPr>
              <a:t>100.415 Menschen verfügen durch Hygiene-ausschüsse und Gesundheitscamps über breites Wissen zu Hygiene</a:t>
            </a:r>
          </a:p>
          <a:p>
            <a:pPr marL="171450" lvl="1" indent="-171450" defTabSz="422039" fontAlgn="b">
              <a:lnSpc>
                <a:spcPct val="120000"/>
              </a:lnSpc>
              <a:spcBef>
                <a:spcPct val="0"/>
              </a:spcBef>
              <a:spcAft>
                <a:spcPts val="600"/>
              </a:spcAft>
              <a:buClr>
                <a:srgbClr val="00B050"/>
              </a:buClr>
              <a:buFont typeface="Wingdings" panose="05000000000000000000" pitchFamily="2" charset="2"/>
              <a:buChar char="ü"/>
              <a:defRPr/>
            </a:pPr>
            <a:r>
              <a:rPr lang="de-DE" sz="1600" kern="0" dirty="0">
                <a:latin typeface="Arial" panose="020B0604020202020204" pitchFamily="34" charset="0"/>
                <a:ea typeface="ヒラギノ角ゴ Pro W3" pitchFamily="125" charset="-128"/>
                <a:cs typeface="Arial" panose="020B0604020202020204" pitchFamily="34" charset="0"/>
                <a:sym typeface="Arial" panose="020B0604020202020204" pitchFamily="34" charset="0"/>
              </a:rPr>
              <a:t>28.000 Menschen mit wasserbedingten Krankheiten (z.B. Lepra oder Augenkrankheiten) erhielten eine Behandlung</a:t>
            </a:r>
          </a:p>
          <a:p>
            <a:pPr marL="171450" lvl="1" indent="-171450" defTabSz="422039" fontAlgn="b">
              <a:lnSpc>
                <a:spcPct val="120000"/>
              </a:lnSpc>
              <a:spcBef>
                <a:spcPct val="0"/>
              </a:spcBef>
              <a:spcAft>
                <a:spcPts val="600"/>
              </a:spcAft>
              <a:buClr>
                <a:srgbClr val="00B050"/>
              </a:buClr>
              <a:buFont typeface="Wingdings" panose="05000000000000000000" pitchFamily="2" charset="2"/>
              <a:buChar char="ü"/>
              <a:defRPr/>
            </a:pPr>
            <a:r>
              <a:rPr lang="de-DE" sz="1600" kern="0" dirty="0">
                <a:latin typeface="Arial" panose="020B0604020202020204" pitchFamily="34" charset="0"/>
                <a:ea typeface="ヒラギノ角ゴ Pro W3" pitchFamily="125" charset="-128"/>
                <a:cs typeface="Arial" panose="020B0604020202020204" pitchFamily="34" charset="0"/>
                <a:sym typeface="Arial" panose="020B0604020202020204" pitchFamily="34" charset="0"/>
              </a:rPr>
              <a:t>511 Entscheidungsträger der Zivilgesellschaft, des Gesundheitswesens und Lehrer sind für WaSH sensibilisiert</a:t>
            </a:r>
          </a:p>
          <a:p>
            <a:pPr marL="171450" lvl="1" indent="-171450" defTabSz="422039" fontAlgn="b">
              <a:lnSpc>
                <a:spcPct val="120000"/>
              </a:lnSpc>
              <a:spcBef>
                <a:spcPct val="0"/>
              </a:spcBef>
              <a:spcAft>
                <a:spcPts val="600"/>
              </a:spcAft>
              <a:buClr>
                <a:srgbClr val="00B050"/>
              </a:buClr>
              <a:buFont typeface="Wingdings" panose="05000000000000000000" pitchFamily="2" charset="2"/>
              <a:buChar char="ü"/>
              <a:defRPr/>
            </a:pPr>
            <a:r>
              <a:rPr lang="de-DE" sz="1600" kern="0" dirty="0">
                <a:latin typeface="Arial" panose="020B0604020202020204" pitchFamily="34" charset="0"/>
                <a:ea typeface="ヒラギノ角ゴ Pro W3" pitchFamily="125" charset="-128"/>
                <a:cs typeface="Arial" panose="020B0604020202020204" pitchFamily="34" charset="0"/>
                <a:sym typeface="Arial" panose="020B0604020202020204" pitchFamily="34" charset="0"/>
              </a:rPr>
              <a:t>6 Dörfern haben selbst Gemeinschaftstoiletten und Wasserstellen errichtet und können diese langfristig instand halten</a:t>
            </a:r>
          </a:p>
        </p:txBody>
      </p:sp>
      <p:sp>
        <p:nvSpPr>
          <p:cNvPr id="5" name="Rectangle: Rounded Corners 4">
            <a:extLst>
              <a:ext uri="{FF2B5EF4-FFF2-40B4-BE49-F238E27FC236}">
                <a16:creationId xmlns:a16="http://schemas.microsoft.com/office/drawing/2014/main" id="{281B4D4C-3AF6-6BCA-CC84-D83512D17872}"/>
              </a:ext>
            </a:extLst>
          </p:cNvPr>
          <p:cNvSpPr/>
          <p:nvPr/>
        </p:nvSpPr>
        <p:spPr>
          <a:xfrm>
            <a:off x="407988" y="1562100"/>
            <a:ext cx="3161619" cy="4581525"/>
          </a:xfrm>
          <a:prstGeom prst="roundRect">
            <a:avLst>
              <a:gd name="adj" fmla="val 1975"/>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prstClr val="black"/>
              </a:solidFill>
              <a:latin typeface="Arial"/>
            </a:endParaRPr>
          </a:p>
        </p:txBody>
      </p:sp>
      <p:sp>
        <p:nvSpPr>
          <p:cNvPr id="7" name="Rectangle: Rounded Corners 6">
            <a:extLst>
              <a:ext uri="{FF2B5EF4-FFF2-40B4-BE49-F238E27FC236}">
                <a16:creationId xmlns:a16="http://schemas.microsoft.com/office/drawing/2014/main" id="{600D2FB6-350A-AE78-A513-A5AE91E72524}"/>
              </a:ext>
            </a:extLst>
          </p:cNvPr>
          <p:cNvSpPr/>
          <p:nvPr/>
        </p:nvSpPr>
        <p:spPr>
          <a:xfrm>
            <a:off x="8592231" y="1562100"/>
            <a:ext cx="3161619" cy="4581525"/>
          </a:xfrm>
          <a:prstGeom prst="roundRect">
            <a:avLst>
              <a:gd name="adj" fmla="val 1975"/>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prstClr val="black"/>
              </a:solidFill>
              <a:latin typeface="Arial"/>
            </a:endParaRPr>
          </a:p>
        </p:txBody>
      </p:sp>
      <p:pic>
        <p:nvPicPr>
          <p:cNvPr id="55" name="Picture 54" descr="Ein Bild, das draußen, Kleidung, Himmel, Schuhwerk enthält.&#10;&#10;Automatisch generierte Beschreibung">
            <a:extLst>
              <a:ext uri="{FF2B5EF4-FFF2-40B4-BE49-F238E27FC236}">
                <a16:creationId xmlns:a16="http://schemas.microsoft.com/office/drawing/2014/main" id="{B57C94B5-01BB-1322-A803-714AF6B47E1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59541" y="1727200"/>
            <a:ext cx="2858514" cy="4251326"/>
          </a:xfrm>
          <a:custGeom>
            <a:avLst/>
            <a:gdLst>
              <a:gd name="connsiteX0" fmla="*/ 56456 w 2858514"/>
              <a:gd name="connsiteY0" fmla="*/ 0 h 4251326"/>
              <a:gd name="connsiteX1" fmla="*/ 2802058 w 2858514"/>
              <a:gd name="connsiteY1" fmla="*/ 0 h 4251326"/>
              <a:gd name="connsiteX2" fmla="*/ 2858514 w 2858514"/>
              <a:gd name="connsiteY2" fmla="*/ 56456 h 4251326"/>
              <a:gd name="connsiteX3" fmla="*/ 2858514 w 2858514"/>
              <a:gd name="connsiteY3" fmla="*/ 4194870 h 4251326"/>
              <a:gd name="connsiteX4" fmla="*/ 2802058 w 2858514"/>
              <a:gd name="connsiteY4" fmla="*/ 4251326 h 4251326"/>
              <a:gd name="connsiteX5" fmla="*/ 56456 w 2858514"/>
              <a:gd name="connsiteY5" fmla="*/ 4251326 h 4251326"/>
              <a:gd name="connsiteX6" fmla="*/ 0 w 2858514"/>
              <a:gd name="connsiteY6" fmla="*/ 4194870 h 4251326"/>
              <a:gd name="connsiteX7" fmla="*/ 0 w 2858514"/>
              <a:gd name="connsiteY7" fmla="*/ 56456 h 4251326"/>
              <a:gd name="connsiteX8" fmla="*/ 56456 w 2858514"/>
              <a:gd name="connsiteY8" fmla="*/ 0 h 425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8514" h="4251326">
                <a:moveTo>
                  <a:pt x="56456" y="0"/>
                </a:moveTo>
                <a:lnTo>
                  <a:pt x="2802058" y="0"/>
                </a:lnTo>
                <a:cubicBezTo>
                  <a:pt x="2833238" y="0"/>
                  <a:pt x="2858514" y="25276"/>
                  <a:pt x="2858514" y="56456"/>
                </a:cubicBezTo>
                <a:lnTo>
                  <a:pt x="2858514" y="4194870"/>
                </a:lnTo>
                <a:cubicBezTo>
                  <a:pt x="2858514" y="4226050"/>
                  <a:pt x="2833238" y="4251326"/>
                  <a:pt x="2802058" y="4251326"/>
                </a:cubicBezTo>
                <a:lnTo>
                  <a:pt x="56456" y="4251326"/>
                </a:lnTo>
                <a:cubicBezTo>
                  <a:pt x="25276" y="4251326"/>
                  <a:pt x="0" y="4226050"/>
                  <a:pt x="0" y="4194870"/>
                </a:cubicBezTo>
                <a:lnTo>
                  <a:pt x="0" y="56456"/>
                </a:lnTo>
                <a:cubicBezTo>
                  <a:pt x="0" y="25276"/>
                  <a:pt x="25276" y="0"/>
                  <a:pt x="56456" y="0"/>
                </a:cubicBezTo>
                <a:close/>
              </a:path>
            </a:pathLst>
          </a:custGeom>
        </p:spPr>
      </p:pic>
      <p:pic>
        <p:nvPicPr>
          <p:cNvPr id="56" name="Picture 55" descr="Ein Bild, das Text, draußen, Kleidung, Baum enthält.&#10;&#10;Automatisch generierte Beschreibung">
            <a:extLst>
              <a:ext uri="{FF2B5EF4-FFF2-40B4-BE49-F238E27FC236}">
                <a16:creationId xmlns:a16="http://schemas.microsoft.com/office/drawing/2014/main" id="{99AA8488-1119-C101-DE21-AA92205B3D6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160"/>
          <a:stretch/>
        </p:blipFill>
        <p:spPr>
          <a:xfrm>
            <a:off x="8743784" y="1727200"/>
            <a:ext cx="2858514" cy="4251326"/>
          </a:xfrm>
          <a:custGeom>
            <a:avLst/>
            <a:gdLst>
              <a:gd name="connsiteX0" fmla="*/ 56456 w 2858514"/>
              <a:gd name="connsiteY0" fmla="*/ 0 h 4251326"/>
              <a:gd name="connsiteX1" fmla="*/ 2802058 w 2858514"/>
              <a:gd name="connsiteY1" fmla="*/ 0 h 4251326"/>
              <a:gd name="connsiteX2" fmla="*/ 2858514 w 2858514"/>
              <a:gd name="connsiteY2" fmla="*/ 56456 h 4251326"/>
              <a:gd name="connsiteX3" fmla="*/ 2858514 w 2858514"/>
              <a:gd name="connsiteY3" fmla="*/ 4194870 h 4251326"/>
              <a:gd name="connsiteX4" fmla="*/ 2802058 w 2858514"/>
              <a:gd name="connsiteY4" fmla="*/ 4251326 h 4251326"/>
              <a:gd name="connsiteX5" fmla="*/ 56456 w 2858514"/>
              <a:gd name="connsiteY5" fmla="*/ 4251326 h 4251326"/>
              <a:gd name="connsiteX6" fmla="*/ 0 w 2858514"/>
              <a:gd name="connsiteY6" fmla="*/ 4194870 h 4251326"/>
              <a:gd name="connsiteX7" fmla="*/ 0 w 2858514"/>
              <a:gd name="connsiteY7" fmla="*/ 56456 h 4251326"/>
              <a:gd name="connsiteX8" fmla="*/ 56456 w 2858514"/>
              <a:gd name="connsiteY8" fmla="*/ 0 h 425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8514" h="4251326">
                <a:moveTo>
                  <a:pt x="56456" y="0"/>
                </a:moveTo>
                <a:lnTo>
                  <a:pt x="2802058" y="0"/>
                </a:lnTo>
                <a:cubicBezTo>
                  <a:pt x="2833238" y="0"/>
                  <a:pt x="2858514" y="25276"/>
                  <a:pt x="2858514" y="56456"/>
                </a:cubicBezTo>
                <a:lnTo>
                  <a:pt x="2858514" y="4194870"/>
                </a:lnTo>
                <a:cubicBezTo>
                  <a:pt x="2858514" y="4226050"/>
                  <a:pt x="2833238" y="4251326"/>
                  <a:pt x="2802058" y="4251326"/>
                </a:cubicBezTo>
                <a:lnTo>
                  <a:pt x="56456" y="4251326"/>
                </a:lnTo>
                <a:cubicBezTo>
                  <a:pt x="25276" y="4251326"/>
                  <a:pt x="0" y="4226050"/>
                  <a:pt x="0" y="4194870"/>
                </a:cubicBezTo>
                <a:lnTo>
                  <a:pt x="0" y="56456"/>
                </a:lnTo>
                <a:cubicBezTo>
                  <a:pt x="0" y="25276"/>
                  <a:pt x="25276" y="0"/>
                  <a:pt x="56456" y="0"/>
                </a:cubicBezTo>
                <a:close/>
              </a:path>
            </a:pathLst>
          </a:custGeom>
        </p:spPr>
      </p:pic>
      <p:sp>
        <p:nvSpPr>
          <p:cNvPr id="3" name="Fußzeilenplatzhalter 2">
            <a:extLst>
              <a:ext uri="{FF2B5EF4-FFF2-40B4-BE49-F238E27FC236}">
                <a16:creationId xmlns:a16="http://schemas.microsoft.com/office/drawing/2014/main" id="{52A0785D-DC2F-0ED6-1F48-9DAB04986820}"/>
              </a:ext>
            </a:extLst>
          </p:cNvPr>
          <p:cNvSpPr>
            <a:spLocks noGrp="1"/>
          </p:cNvSpPr>
          <p:nvPr>
            <p:ph type="ftr" sz="quarter" idx="3"/>
          </p:nvPr>
        </p:nvSpPr>
        <p:spPr/>
        <p:txBody>
          <a:bodyPr/>
          <a:lstStyle/>
          <a:p>
            <a:r>
              <a:rPr lang="de-DE"/>
              <a:t>Lions für WaSH - Wasser ist Leben</a:t>
            </a:r>
            <a:endParaRPr lang="de-DE" dirty="0"/>
          </a:p>
        </p:txBody>
      </p:sp>
      <p:sp>
        <p:nvSpPr>
          <p:cNvPr id="4" name="Textfeld 3">
            <a:extLst>
              <a:ext uri="{FF2B5EF4-FFF2-40B4-BE49-F238E27FC236}">
                <a16:creationId xmlns:a16="http://schemas.microsoft.com/office/drawing/2014/main" id="{1FF80216-2095-AAD9-1938-906F5A22FD65}"/>
              </a:ext>
            </a:extLst>
          </p:cNvPr>
          <p:cNvSpPr txBox="1"/>
          <p:nvPr/>
        </p:nvSpPr>
        <p:spPr>
          <a:xfrm>
            <a:off x="10822387" y="6143625"/>
            <a:ext cx="1056700" cy="261610"/>
          </a:xfrm>
          <a:prstGeom prst="rect">
            <a:avLst/>
          </a:prstGeom>
          <a:noFill/>
        </p:spPr>
        <p:txBody>
          <a:bodyPr wrap="none" rtlCol="0">
            <a:spAutoFit/>
          </a:bodyPr>
          <a:lstStyle/>
          <a:p>
            <a:r>
              <a:rPr lang="de-DE" sz="1050" dirty="0">
                <a:solidFill>
                  <a:schemeClr val="bg1">
                    <a:lumMod val="75000"/>
                  </a:schemeClr>
                </a:solidFill>
              </a:rPr>
              <a:t>Bilder: DAHW</a:t>
            </a:r>
          </a:p>
        </p:txBody>
      </p:sp>
      <p:pic>
        <p:nvPicPr>
          <p:cNvPr id="6" name="Grafik 5" descr="Stethoskop mit einfarbiger Füllung">
            <a:extLst>
              <a:ext uri="{FF2B5EF4-FFF2-40B4-BE49-F238E27FC236}">
                <a16:creationId xmlns:a16="http://schemas.microsoft.com/office/drawing/2014/main" id="{EA4C37B3-581F-2467-A425-10D10105D3A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38049" y="1111794"/>
            <a:ext cx="894705" cy="894705"/>
          </a:xfrm>
          <a:prstGeom prst="rect">
            <a:avLst/>
          </a:prstGeom>
        </p:spPr>
      </p:pic>
      <p:pic>
        <p:nvPicPr>
          <p:cNvPr id="14" name="Picture 2">
            <a:extLst>
              <a:ext uri="{FF2B5EF4-FFF2-40B4-BE49-F238E27FC236}">
                <a16:creationId xmlns:a16="http://schemas.microsoft.com/office/drawing/2014/main" id="{CA49A4FF-A631-4020-9B2B-E5DA375D2C5C}"/>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1602298" y="321768"/>
            <a:ext cx="354522" cy="651695"/>
          </a:xfrm>
          <a:prstGeom prst="rect">
            <a:avLst/>
          </a:prstGeom>
          <a:noFill/>
          <a:extLst>
            <a:ext uri="{909E8E84-426E-40DD-AFC4-6F175D3DCCD1}">
              <a14:hiddenFill xmlns:a14="http://schemas.microsoft.com/office/drawing/2010/main">
                <a:solidFill>
                  <a:srgbClr val="FFFFFF"/>
                </a:solidFill>
              </a14:hiddenFill>
            </a:ext>
          </a:extLst>
        </p:spPr>
      </p:pic>
      <p:pic>
        <p:nvPicPr>
          <p:cNvPr id="15" name="Grafik 8">
            <a:extLst>
              <a:ext uri="{FF2B5EF4-FFF2-40B4-BE49-F238E27FC236}">
                <a16:creationId xmlns:a16="http://schemas.microsoft.com/office/drawing/2014/main" id="{1E464BC9-A2EB-01B5-4750-67BBC03CA4DD}"/>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042643" y="407551"/>
            <a:ext cx="354770" cy="480131"/>
          </a:xfrm>
          <a:prstGeom prst="rect">
            <a:avLst/>
          </a:prstGeom>
        </p:spPr>
      </p:pic>
      <p:pic>
        <p:nvPicPr>
          <p:cNvPr id="16" name="Grafik 10" descr="Ein Bild, das Text, Schrift, Screenshot enthält.&#10;&#10;Automatisch generierte Beschreibung">
            <a:extLst>
              <a:ext uri="{FF2B5EF4-FFF2-40B4-BE49-F238E27FC236}">
                <a16:creationId xmlns:a16="http://schemas.microsoft.com/office/drawing/2014/main" id="{5F89DA1E-B21F-2BD5-B55C-39148F458644}"/>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465763" y="514639"/>
            <a:ext cx="966117" cy="321394"/>
          </a:xfrm>
          <a:prstGeom prst="rect">
            <a:avLst/>
          </a:prstGeom>
        </p:spPr>
      </p:pic>
    </p:spTree>
    <p:extLst>
      <p:ext uri="{BB962C8B-B14F-4D97-AF65-F5344CB8AC3E}">
        <p14:creationId xmlns:p14="http://schemas.microsoft.com/office/powerpoint/2010/main" val="26705923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74FFE1-194C-A487-9D78-CC676EA3D400}"/>
            </a:ext>
          </a:extLst>
        </p:cNvPr>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58655CE3-791C-F119-3484-E46E2ACF4FFD}"/>
              </a:ext>
            </a:extLst>
          </p:cNvPr>
          <p:cNvGraphicFramePr>
            <a:graphicFrameLocks noChangeAspect="1"/>
          </p:cNvGraphicFramePr>
          <p:nvPr>
            <p:custDataLst>
              <p:tags r:id="rId1"/>
            </p:custDataLst>
            <p:extLst>
              <p:ext uri="{D42A27DB-BD31-4B8C-83A1-F6EECF244321}">
                <p14:modId xmlns:p14="http://schemas.microsoft.com/office/powerpoint/2010/main" val="1579875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3" progId="TCLayout.ActiveDocument.1">
                  <p:embed/>
                </p:oleObj>
              </mc:Choice>
              <mc:Fallback>
                <p:oleObj name="think-cell Slide" r:id="rId4" imgW="344" imgH="343" progId="TCLayout.ActiveDocument.1">
                  <p:embed/>
                  <p:pic>
                    <p:nvPicPr>
                      <p:cNvPr id="52" name="think-cell data - do not delete" hidden="1">
                        <a:extLst>
                          <a:ext uri="{FF2B5EF4-FFF2-40B4-BE49-F238E27FC236}">
                            <a16:creationId xmlns:a16="http://schemas.microsoft.com/office/drawing/2014/main" id="{58655CE3-791C-F119-3484-E46E2ACF4F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72F7261-C1FC-D458-C91F-419D50B35366}"/>
              </a:ext>
            </a:extLst>
          </p:cNvPr>
          <p:cNvSpPr>
            <a:spLocks noGrp="1"/>
          </p:cNvSpPr>
          <p:nvPr>
            <p:ph type="body" sz="quarter" idx="10"/>
          </p:nvPr>
        </p:nvSpPr>
        <p:spPr>
          <a:xfrm>
            <a:off x="323129" y="407551"/>
            <a:ext cx="10283909" cy="480131"/>
          </a:xfrm>
        </p:spPr>
        <p:txBody>
          <a:bodyPr/>
          <a:lstStyle/>
          <a:p>
            <a:r>
              <a:rPr lang="de-DE" cap="none" dirty="0">
                <a:latin typeface="Arial" panose="020B0604020202020204" pitchFamily="34" charset="0"/>
                <a:cs typeface="Arial" panose="020B0604020202020204" pitchFamily="34" charset="0"/>
                <a:sym typeface="Arial" panose="020B0604020202020204" pitchFamily="34" charset="0"/>
              </a:rPr>
              <a:t>Malawi: </a:t>
            </a:r>
            <a:r>
              <a:rPr lang="de-DE" dirty="0">
                <a:latin typeface="Arial" panose="020B0604020202020204" pitchFamily="34" charset="0"/>
                <a:cs typeface="Arial" panose="020B0604020202020204" pitchFamily="34" charset="0"/>
                <a:sym typeface="Arial" panose="020B0604020202020204" pitchFamily="34" charset="0"/>
              </a:rPr>
              <a:t>H</a:t>
            </a:r>
            <a:r>
              <a:rPr lang="de-DE" cap="none" dirty="0">
                <a:latin typeface="Arial" panose="020B0604020202020204" pitchFamily="34" charset="0"/>
                <a:cs typeface="Arial" panose="020B0604020202020204" pitchFamily="34" charset="0"/>
                <a:sym typeface="Arial" panose="020B0604020202020204" pitchFamily="34" charset="0"/>
              </a:rPr>
              <a:t>ilfe zur Selbsthilfe</a:t>
            </a:r>
            <a:endParaRPr lang="de-DE" dirty="0">
              <a:latin typeface="Arial" panose="020B0604020202020204" pitchFamily="34" charset="0"/>
              <a:cs typeface="Arial" panose="020B0604020202020204" pitchFamily="34" charset="0"/>
              <a:sym typeface="Arial" panose="020B0604020202020204" pitchFamily="34" charset="0"/>
            </a:endParaRPr>
          </a:p>
        </p:txBody>
      </p:sp>
      <p:sp>
        <p:nvSpPr>
          <p:cNvPr id="9" name="Rectangle: Rounded Corners 8">
            <a:extLst>
              <a:ext uri="{FF2B5EF4-FFF2-40B4-BE49-F238E27FC236}">
                <a16:creationId xmlns:a16="http://schemas.microsoft.com/office/drawing/2014/main" id="{E04A8BA1-667A-272C-F7EF-B5EFB35380EB}"/>
              </a:ext>
            </a:extLst>
          </p:cNvPr>
          <p:cNvSpPr/>
          <p:nvPr/>
        </p:nvSpPr>
        <p:spPr>
          <a:xfrm>
            <a:off x="3694848" y="1451930"/>
            <a:ext cx="4772144" cy="477715"/>
          </a:xfrm>
          <a:prstGeom prst="roundRect">
            <a:avLst>
              <a:gd name="adj" fmla="val 20575"/>
            </a:avLst>
          </a:prstGeom>
          <a:solidFill>
            <a:schemeClr val="accent1"/>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ヒラギノ角ゴ Pro W3" pitchFamily="125" charset="-128"/>
            </a:endParaRPr>
          </a:p>
        </p:txBody>
      </p:sp>
      <p:sp>
        <p:nvSpPr>
          <p:cNvPr id="10" name="TextBox 9">
            <a:extLst>
              <a:ext uri="{FF2B5EF4-FFF2-40B4-BE49-F238E27FC236}">
                <a16:creationId xmlns:a16="http://schemas.microsoft.com/office/drawing/2014/main" id="{4319268D-B092-84F8-6931-0B0121554D19}"/>
              </a:ext>
            </a:extLst>
          </p:cNvPr>
          <p:cNvSpPr txBox="1"/>
          <p:nvPr/>
        </p:nvSpPr>
        <p:spPr>
          <a:xfrm>
            <a:off x="4574078" y="1506122"/>
            <a:ext cx="3013684" cy="369332"/>
          </a:xfrm>
          <a:prstGeom prst="rect">
            <a:avLst/>
          </a:prstGeom>
          <a:noFill/>
        </p:spPr>
        <p:txBody>
          <a:bodyPr wrap="square" rtlCol="0" anchor="ctr">
            <a:spAutoFit/>
          </a:bodyPr>
          <a:lstStyle/>
          <a:p>
            <a:pPr marL="0" lvl="1" indent="0" algn="ctr" fontAlgn="b">
              <a:lnSpc>
                <a:spcPct val="100000"/>
              </a:lnSpc>
              <a:spcBef>
                <a:spcPct val="0"/>
              </a:spcBef>
              <a:spcAft>
                <a:spcPts val="600"/>
              </a:spcAft>
              <a:buClr>
                <a:srgbClr val="00338D"/>
              </a:buClr>
              <a:buNone/>
              <a:defRPr/>
            </a:pPr>
            <a:r>
              <a:rPr lang="de-DE" b="1" kern="0" dirty="0">
                <a:solidFill>
                  <a:schemeClr val="accent4"/>
                </a:solidFill>
                <a:ea typeface="ヒラギノ角ゴ Pro W3" pitchFamily="125" charset="-128"/>
                <a:sym typeface="Arial" panose="020B0604020202020204" pitchFamily="34" charset="0"/>
              </a:rPr>
              <a:t>Laufzeit: 2022-2026</a:t>
            </a:r>
          </a:p>
        </p:txBody>
      </p:sp>
      <p:sp>
        <p:nvSpPr>
          <p:cNvPr id="11" name="Rectangle: Rounded Corners 10">
            <a:extLst>
              <a:ext uri="{FF2B5EF4-FFF2-40B4-BE49-F238E27FC236}">
                <a16:creationId xmlns:a16="http://schemas.microsoft.com/office/drawing/2014/main" id="{41E71C86-611C-D804-F1CB-57FB018D5D0B}"/>
              </a:ext>
            </a:extLst>
          </p:cNvPr>
          <p:cNvSpPr/>
          <p:nvPr/>
        </p:nvSpPr>
        <p:spPr>
          <a:xfrm>
            <a:off x="3694849" y="2605998"/>
            <a:ext cx="4772145" cy="3427457"/>
          </a:xfrm>
          <a:prstGeom prst="roundRect">
            <a:avLst>
              <a:gd name="adj" fmla="val 1798"/>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black"/>
              </a:solidFill>
              <a:latin typeface="Arial"/>
            </a:endParaRPr>
          </a:p>
        </p:txBody>
      </p:sp>
      <p:sp>
        <p:nvSpPr>
          <p:cNvPr id="32" name="TextBox 31">
            <a:extLst>
              <a:ext uri="{FF2B5EF4-FFF2-40B4-BE49-F238E27FC236}">
                <a16:creationId xmlns:a16="http://schemas.microsoft.com/office/drawing/2014/main" id="{BA41CD9C-0810-041C-AD7D-CF7CA2B55089}"/>
              </a:ext>
            </a:extLst>
          </p:cNvPr>
          <p:cNvSpPr txBox="1"/>
          <p:nvPr/>
        </p:nvSpPr>
        <p:spPr>
          <a:xfrm>
            <a:off x="3795084" y="2703113"/>
            <a:ext cx="4571676" cy="3381310"/>
          </a:xfrm>
          <a:prstGeom prst="rect">
            <a:avLst/>
          </a:prstGeom>
          <a:noFill/>
        </p:spPr>
        <p:txBody>
          <a:bodyPr wrap="square" rtlCol="0" anchor="t">
            <a:spAutoFit/>
          </a:bodyPr>
          <a:lstStyle/>
          <a:p>
            <a:pPr marL="285750" lvl="1" indent="-285750" defTabSz="422039" fontAlgn="b">
              <a:lnSpc>
                <a:spcPct val="120000"/>
              </a:lnSpc>
              <a:spcBef>
                <a:spcPct val="0"/>
              </a:spcBef>
              <a:spcAft>
                <a:spcPts val="600"/>
              </a:spcAft>
              <a:buClr>
                <a:srgbClr val="00B050"/>
              </a:buClr>
              <a:buFont typeface="Wingdings" panose="05000000000000000000" pitchFamily="2" charset="2"/>
              <a:buChar char="ü"/>
              <a:defRPr/>
            </a:pPr>
            <a:r>
              <a:rPr lang="de-DE" sz="1600" kern="0" dirty="0">
                <a:latin typeface="Arial" panose="020B0604020202020204" pitchFamily="34" charset="0"/>
                <a:ea typeface="ヒラギノ角ゴ Pro W3" pitchFamily="125" charset="-128"/>
                <a:cs typeface="Arial" panose="020B0604020202020204" pitchFamily="34" charset="0"/>
                <a:sym typeface="Arial" panose="020B0604020202020204" pitchFamily="34" charset="0"/>
              </a:rPr>
              <a:t>10 neue Brunnen gebaut, 20 saniert</a:t>
            </a:r>
          </a:p>
          <a:p>
            <a:pPr marL="285750" lvl="1" indent="-285750" defTabSz="422039" fontAlgn="b">
              <a:lnSpc>
                <a:spcPct val="120000"/>
              </a:lnSpc>
              <a:spcBef>
                <a:spcPct val="0"/>
              </a:spcBef>
              <a:spcAft>
                <a:spcPts val="600"/>
              </a:spcAft>
              <a:buClr>
                <a:srgbClr val="00B050"/>
              </a:buClr>
              <a:buFont typeface="Wingdings" panose="05000000000000000000" pitchFamily="2" charset="2"/>
              <a:buChar char="ü"/>
              <a:defRPr/>
            </a:pPr>
            <a:r>
              <a:rPr lang="de-DE" sz="1600" kern="0" dirty="0">
                <a:latin typeface="Arial" panose="020B0604020202020204" pitchFamily="34" charset="0"/>
                <a:ea typeface="ヒラギノ角ゴ Pro W3" pitchFamily="125" charset="-128"/>
                <a:cs typeface="Arial" panose="020B0604020202020204" pitchFamily="34" charset="0"/>
                <a:sym typeface="Arial" panose="020B0604020202020204" pitchFamily="34" charset="0"/>
              </a:rPr>
              <a:t>Schulungen der 30 Wasserkomitees, 7 Brunnenmechaniker, 10 Handwerker im Latrinenbau</a:t>
            </a:r>
          </a:p>
          <a:p>
            <a:pPr marL="285750" lvl="1" indent="-285750" defTabSz="422039" fontAlgn="b">
              <a:lnSpc>
                <a:spcPct val="120000"/>
              </a:lnSpc>
              <a:spcBef>
                <a:spcPct val="0"/>
              </a:spcBef>
              <a:spcAft>
                <a:spcPts val="600"/>
              </a:spcAft>
              <a:buClr>
                <a:srgbClr val="00B050"/>
              </a:buClr>
              <a:buFont typeface="Wingdings" panose="05000000000000000000" pitchFamily="2" charset="2"/>
              <a:buChar char="ü"/>
              <a:defRPr/>
            </a:pPr>
            <a:r>
              <a:rPr lang="de-DE" sz="1600" kern="0" dirty="0">
                <a:latin typeface="Arial" panose="020B0604020202020204" pitchFamily="34" charset="0"/>
                <a:ea typeface="ヒラギノ角ゴ Pro W3" pitchFamily="125" charset="-128"/>
                <a:cs typeface="Arial" panose="020B0604020202020204" pitchFamily="34" charset="0"/>
                <a:sym typeface="Arial" panose="020B0604020202020204" pitchFamily="34" charset="0"/>
              </a:rPr>
              <a:t>Region </a:t>
            </a:r>
            <a:r>
              <a:rPr lang="de-DE" sz="1600" kern="0" dirty="0" err="1">
                <a:latin typeface="Arial" panose="020B0604020202020204" pitchFamily="34" charset="0"/>
                <a:ea typeface="ヒラギノ角ゴ Pro W3" pitchFamily="125" charset="-128"/>
                <a:cs typeface="Arial" panose="020B0604020202020204" pitchFamily="34" charset="0"/>
                <a:sym typeface="Arial" panose="020B0604020202020204" pitchFamily="34" charset="0"/>
              </a:rPr>
              <a:t>Ngolongoliwa</a:t>
            </a:r>
            <a:r>
              <a:rPr lang="de-DE" sz="1600" kern="0" dirty="0">
                <a:latin typeface="Arial" panose="020B0604020202020204" pitchFamily="34" charset="0"/>
                <a:ea typeface="ヒラギノ角ゴ Pro W3" pitchFamily="125" charset="-128"/>
                <a:cs typeface="Arial" panose="020B0604020202020204" pitchFamily="34" charset="0"/>
                <a:sym typeface="Arial" panose="020B0604020202020204" pitchFamily="34" charset="0"/>
              </a:rPr>
              <a:t> hat den ODF-Status (= frei von offener Defäkation)</a:t>
            </a:r>
          </a:p>
          <a:p>
            <a:pPr marL="285750" lvl="1" indent="-285750" defTabSz="422039" fontAlgn="b">
              <a:lnSpc>
                <a:spcPct val="120000"/>
              </a:lnSpc>
              <a:spcBef>
                <a:spcPct val="0"/>
              </a:spcBef>
              <a:spcAft>
                <a:spcPts val="600"/>
              </a:spcAft>
              <a:buClr>
                <a:srgbClr val="FFC000"/>
              </a:buClr>
              <a:buFont typeface="Arial" panose="020B0604020202020204" pitchFamily="34" charset="0"/>
              <a:buChar char="•"/>
              <a:defRPr/>
            </a:pPr>
            <a:r>
              <a:rPr lang="de-DE" sz="1600" kern="0" dirty="0">
                <a:latin typeface="Arial" panose="020B0604020202020204" pitchFamily="34" charset="0"/>
                <a:ea typeface="ヒラギノ角ゴ Pro W3" pitchFamily="125" charset="-128"/>
                <a:cs typeface="Arial" panose="020B0604020202020204" pitchFamily="34" charset="0"/>
                <a:sym typeface="Arial" panose="020B0604020202020204" pitchFamily="34" charset="0"/>
              </a:rPr>
              <a:t>82 von 180 Latrinen für bedürftige Familien</a:t>
            </a:r>
          </a:p>
          <a:p>
            <a:pPr marL="285750" lvl="1" indent="-285750" defTabSz="422039" fontAlgn="b">
              <a:lnSpc>
                <a:spcPct val="120000"/>
              </a:lnSpc>
              <a:spcBef>
                <a:spcPct val="0"/>
              </a:spcBef>
              <a:spcAft>
                <a:spcPts val="600"/>
              </a:spcAft>
              <a:buClr>
                <a:srgbClr val="FFC000"/>
              </a:buClr>
              <a:buFont typeface="Arial" panose="020B0604020202020204" pitchFamily="34" charset="0"/>
              <a:buChar char="•"/>
              <a:defRPr/>
            </a:pPr>
            <a:r>
              <a:rPr lang="de-DE" sz="1600" kern="0" dirty="0">
                <a:latin typeface="Arial" panose="020B0604020202020204" pitchFamily="34" charset="0"/>
                <a:ea typeface="ヒラギノ角ゴ Pro W3" pitchFamily="125" charset="-128"/>
                <a:cs typeface="Arial" panose="020B0604020202020204" pitchFamily="34" charset="0"/>
                <a:sym typeface="Arial" panose="020B0604020202020204" pitchFamily="34" charset="0"/>
              </a:rPr>
              <a:t>6 Koordinierungs-Meetings auf Distrikt-Ebene und 4 auf Gemeinde-Ebene</a:t>
            </a:r>
          </a:p>
          <a:p>
            <a:pPr marL="285750" lvl="1" indent="-285750" defTabSz="422039" fontAlgn="b">
              <a:lnSpc>
                <a:spcPct val="120000"/>
              </a:lnSpc>
              <a:spcBef>
                <a:spcPct val="0"/>
              </a:spcBef>
              <a:spcAft>
                <a:spcPts val="600"/>
              </a:spcAft>
              <a:buClr>
                <a:srgbClr val="FFC000"/>
              </a:buClr>
              <a:buFont typeface="Arial" panose="020B0604020202020204" pitchFamily="34" charset="0"/>
              <a:buChar char="•"/>
              <a:defRPr/>
            </a:pPr>
            <a:r>
              <a:rPr lang="de-DE" sz="1600" kern="0" dirty="0">
                <a:latin typeface="Arial" panose="020B0604020202020204" pitchFamily="34" charset="0"/>
                <a:ea typeface="ヒラギノ角ゴ Pro W3" pitchFamily="125" charset="-128"/>
                <a:cs typeface="Arial" panose="020B0604020202020204" pitchFamily="34" charset="0"/>
                <a:sym typeface="Arial" panose="020B0604020202020204" pitchFamily="34" charset="0"/>
              </a:rPr>
              <a:t>Community-</a:t>
            </a:r>
            <a:r>
              <a:rPr lang="de-DE" sz="1600" kern="0" dirty="0" err="1">
                <a:latin typeface="Arial" panose="020B0604020202020204" pitchFamily="34" charset="0"/>
                <a:ea typeface="ヒラギノ角ゴ Pro W3" pitchFamily="125" charset="-128"/>
                <a:cs typeface="Arial" panose="020B0604020202020204" pitchFamily="34" charset="0"/>
                <a:sym typeface="Arial" panose="020B0604020202020204" pitchFamily="34" charset="0"/>
              </a:rPr>
              <a:t>Based</a:t>
            </a:r>
            <a:r>
              <a:rPr lang="de-DE" sz="1600" kern="0" dirty="0">
                <a:latin typeface="Arial" panose="020B0604020202020204" pitchFamily="34" charset="0"/>
                <a:ea typeface="ヒラギノ角ゴ Pro W3" pitchFamily="125" charset="-128"/>
                <a:cs typeface="Arial" panose="020B0604020202020204" pitchFamily="34" charset="0"/>
                <a:sym typeface="Arial" panose="020B0604020202020204" pitchFamily="34" charset="0"/>
              </a:rPr>
              <a:t> Management Handbuch</a:t>
            </a:r>
          </a:p>
        </p:txBody>
      </p:sp>
      <p:sp>
        <p:nvSpPr>
          <p:cNvPr id="7" name="Rectangle: Rounded Corners 6">
            <a:extLst>
              <a:ext uri="{FF2B5EF4-FFF2-40B4-BE49-F238E27FC236}">
                <a16:creationId xmlns:a16="http://schemas.microsoft.com/office/drawing/2014/main" id="{1241029F-9C37-1AFF-5CF2-EC280C9EAEA2}"/>
              </a:ext>
            </a:extLst>
          </p:cNvPr>
          <p:cNvSpPr/>
          <p:nvPr/>
        </p:nvSpPr>
        <p:spPr>
          <a:xfrm>
            <a:off x="8592231" y="1451930"/>
            <a:ext cx="3161619" cy="4581525"/>
          </a:xfrm>
          <a:prstGeom prst="roundRect">
            <a:avLst>
              <a:gd name="adj" fmla="val 1975"/>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prstClr val="black"/>
              </a:solidFill>
              <a:latin typeface="Arial"/>
            </a:endParaRPr>
          </a:p>
        </p:txBody>
      </p:sp>
      <p:pic>
        <p:nvPicPr>
          <p:cNvPr id="4" name="Grafik 8">
            <a:extLst>
              <a:ext uri="{FF2B5EF4-FFF2-40B4-BE49-F238E27FC236}">
                <a16:creationId xmlns:a16="http://schemas.microsoft.com/office/drawing/2014/main" id="{12093F8A-20D1-A466-852D-3EDCB3C24D4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425698" y="407551"/>
            <a:ext cx="354770" cy="480131"/>
          </a:xfrm>
          <a:prstGeom prst="rect">
            <a:avLst/>
          </a:prstGeom>
        </p:spPr>
      </p:pic>
      <p:pic>
        <p:nvPicPr>
          <p:cNvPr id="6" name="Grafik 10" descr="Ein Bild, das Text, Schrift, Screenshot enthält.&#10;&#10;Automatisch generierte Beschreibung">
            <a:extLst>
              <a:ext uri="{FF2B5EF4-FFF2-40B4-BE49-F238E27FC236}">
                <a16:creationId xmlns:a16="http://schemas.microsoft.com/office/drawing/2014/main" id="{FA79C8F7-FB90-6DA4-D468-7C12C7D070C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48818" y="514639"/>
            <a:ext cx="966117" cy="321394"/>
          </a:xfrm>
          <a:prstGeom prst="rect">
            <a:avLst/>
          </a:prstGeom>
        </p:spPr>
      </p:pic>
      <p:pic>
        <p:nvPicPr>
          <p:cNvPr id="8" name="Picture 2">
            <a:extLst>
              <a:ext uri="{FF2B5EF4-FFF2-40B4-BE49-F238E27FC236}">
                <a16:creationId xmlns:a16="http://schemas.microsoft.com/office/drawing/2014/main" id="{C62484A0-D902-A8E4-4D90-EF7BBCB43208}"/>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883285" y="526202"/>
            <a:ext cx="887413" cy="29826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 name="Rectangle: Rounded Corners 11">
            <a:extLst>
              <a:ext uri="{FF2B5EF4-FFF2-40B4-BE49-F238E27FC236}">
                <a16:creationId xmlns:a16="http://schemas.microsoft.com/office/drawing/2014/main" id="{2640F40F-CFD6-2CCA-BC7A-B760EAD4BD43}"/>
              </a:ext>
            </a:extLst>
          </p:cNvPr>
          <p:cNvSpPr/>
          <p:nvPr/>
        </p:nvSpPr>
        <p:spPr>
          <a:xfrm>
            <a:off x="3694848" y="2028964"/>
            <a:ext cx="4772144" cy="477715"/>
          </a:xfrm>
          <a:prstGeom prst="roundRect">
            <a:avLst>
              <a:gd name="adj" fmla="val 20575"/>
            </a:avLst>
          </a:prstGeom>
          <a:solidFill>
            <a:schemeClr val="accent4"/>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ヒラギノ角ゴ Pro W3" pitchFamily="125" charset="-128"/>
            </a:endParaRPr>
          </a:p>
        </p:txBody>
      </p:sp>
      <p:sp>
        <p:nvSpPr>
          <p:cNvPr id="13" name="TextBox 12">
            <a:extLst>
              <a:ext uri="{FF2B5EF4-FFF2-40B4-BE49-F238E27FC236}">
                <a16:creationId xmlns:a16="http://schemas.microsoft.com/office/drawing/2014/main" id="{28F4D0B5-CD09-1383-82DA-8B284DBA5340}"/>
              </a:ext>
            </a:extLst>
          </p:cNvPr>
          <p:cNvSpPr txBox="1"/>
          <p:nvPr/>
        </p:nvSpPr>
        <p:spPr>
          <a:xfrm>
            <a:off x="4404680" y="2083156"/>
            <a:ext cx="3352480" cy="369332"/>
          </a:xfrm>
          <a:prstGeom prst="rect">
            <a:avLst/>
          </a:prstGeom>
          <a:noFill/>
        </p:spPr>
        <p:txBody>
          <a:bodyPr wrap="square" rtlCol="0" anchor="ctr">
            <a:spAutoFit/>
          </a:bodyPr>
          <a:lstStyle/>
          <a:p>
            <a:pPr marL="0" lvl="1" algn="ctr" fontAlgn="b">
              <a:spcBef>
                <a:spcPct val="0"/>
              </a:spcBef>
              <a:spcAft>
                <a:spcPts val="600"/>
              </a:spcAft>
              <a:buClr>
                <a:srgbClr val="00338D"/>
              </a:buClr>
              <a:defRPr/>
            </a:pPr>
            <a:r>
              <a:rPr lang="de-DE" b="1" kern="0" dirty="0">
                <a:solidFill>
                  <a:schemeClr val="accent1"/>
                </a:solidFill>
                <a:ea typeface="ヒラギノ角ゴ Pro W3" pitchFamily="125" charset="-128"/>
                <a:sym typeface="Arial" panose="020B0604020202020204" pitchFamily="34" charset="0"/>
              </a:rPr>
              <a:t>Projektfortschritte:</a:t>
            </a:r>
          </a:p>
        </p:txBody>
      </p:sp>
      <p:pic>
        <p:nvPicPr>
          <p:cNvPr id="20" name="Picture 19" descr="Ein Bild, das Kleidung, draußen, Person, Baum enthält.&#10;&#10;Automatisch generierte Beschreibung">
            <a:extLst>
              <a:ext uri="{FF2B5EF4-FFF2-40B4-BE49-F238E27FC236}">
                <a16:creationId xmlns:a16="http://schemas.microsoft.com/office/drawing/2014/main" id="{08CE4FDB-E959-5683-A933-4F3570462709}"/>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8743784" y="1617030"/>
            <a:ext cx="2858514" cy="4251326"/>
          </a:xfrm>
          <a:custGeom>
            <a:avLst/>
            <a:gdLst>
              <a:gd name="connsiteX0" fmla="*/ 56456 w 2858514"/>
              <a:gd name="connsiteY0" fmla="*/ 0 h 4251326"/>
              <a:gd name="connsiteX1" fmla="*/ 2802058 w 2858514"/>
              <a:gd name="connsiteY1" fmla="*/ 0 h 4251326"/>
              <a:gd name="connsiteX2" fmla="*/ 2858514 w 2858514"/>
              <a:gd name="connsiteY2" fmla="*/ 56456 h 4251326"/>
              <a:gd name="connsiteX3" fmla="*/ 2858514 w 2858514"/>
              <a:gd name="connsiteY3" fmla="*/ 4194870 h 4251326"/>
              <a:gd name="connsiteX4" fmla="*/ 2802058 w 2858514"/>
              <a:gd name="connsiteY4" fmla="*/ 4251326 h 4251326"/>
              <a:gd name="connsiteX5" fmla="*/ 56456 w 2858514"/>
              <a:gd name="connsiteY5" fmla="*/ 4251326 h 4251326"/>
              <a:gd name="connsiteX6" fmla="*/ 0 w 2858514"/>
              <a:gd name="connsiteY6" fmla="*/ 4194870 h 4251326"/>
              <a:gd name="connsiteX7" fmla="*/ 0 w 2858514"/>
              <a:gd name="connsiteY7" fmla="*/ 56456 h 4251326"/>
              <a:gd name="connsiteX8" fmla="*/ 56456 w 2858514"/>
              <a:gd name="connsiteY8" fmla="*/ 0 h 425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8514" h="4251326">
                <a:moveTo>
                  <a:pt x="56456" y="0"/>
                </a:moveTo>
                <a:lnTo>
                  <a:pt x="2802058" y="0"/>
                </a:lnTo>
                <a:cubicBezTo>
                  <a:pt x="2833238" y="0"/>
                  <a:pt x="2858514" y="25276"/>
                  <a:pt x="2858514" y="56456"/>
                </a:cubicBezTo>
                <a:lnTo>
                  <a:pt x="2858514" y="4194870"/>
                </a:lnTo>
                <a:cubicBezTo>
                  <a:pt x="2858514" y="4226050"/>
                  <a:pt x="2833238" y="4251326"/>
                  <a:pt x="2802058" y="4251326"/>
                </a:cubicBezTo>
                <a:lnTo>
                  <a:pt x="56456" y="4251326"/>
                </a:lnTo>
                <a:cubicBezTo>
                  <a:pt x="25276" y="4251326"/>
                  <a:pt x="0" y="4226050"/>
                  <a:pt x="0" y="4194870"/>
                </a:cubicBezTo>
                <a:lnTo>
                  <a:pt x="0" y="56456"/>
                </a:lnTo>
                <a:cubicBezTo>
                  <a:pt x="0" y="25276"/>
                  <a:pt x="25276" y="0"/>
                  <a:pt x="56456" y="0"/>
                </a:cubicBezTo>
                <a:close/>
              </a:path>
            </a:pathLst>
          </a:custGeom>
        </p:spPr>
      </p:pic>
      <p:sp>
        <p:nvSpPr>
          <p:cNvPr id="3" name="Fußzeilenplatzhalter 2">
            <a:extLst>
              <a:ext uri="{FF2B5EF4-FFF2-40B4-BE49-F238E27FC236}">
                <a16:creationId xmlns:a16="http://schemas.microsoft.com/office/drawing/2014/main" id="{E01257C9-A207-0351-5C0C-CBA4299D37F0}"/>
              </a:ext>
            </a:extLst>
          </p:cNvPr>
          <p:cNvSpPr>
            <a:spLocks noGrp="1"/>
          </p:cNvSpPr>
          <p:nvPr>
            <p:ph type="ftr" sz="quarter" idx="3"/>
          </p:nvPr>
        </p:nvSpPr>
        <p:spPr/>
        <p:txBody>
          <a:bodyPr/>
          <a:lstStyle/>
          <a:p>
            <a:r>
              <a:rPr lang="de-DE"/>
              <a:t>Lions für WaSH - Wasser ist Leben</a:t>
            </a:r>
            <a:endParaRPr lang="de-DE" dirty="0"/>
          </a:p>
        </p:txBody>
      </p:sp>
      <p:sp>
        <p:nvSpPr>
          <p:cNvPr id="14" name="Textfeld 13">
            <a:extLst>
              <a:ext uri="{FF2B5EF4-FFF2-40B4-BE49-F238E27FC236}">
                <a16:creationId xmlns:a16="http://schemas.microsoft.com/office/drawing/2014/main" id="{27BE8D11-982A-2C78-2360-2A71B2CEA56F}"/>
              </a:ext>
            </a:extLst>
          </p:cNvPr>
          <p:cNvSpPr txBox="1"/>
          <p:nvPr/>
        </p:nvSpPr>
        <p:spPr>
          <a:xfrm>
            <a:off x="10002265" y="6062072"/>
            <a:ext cx="1768433" cy="253916"/>
          </a:xfrm>
          <a:prstGeom prst="rect">
            <a:avLst/>
          </a:prstGeom>
          <a:noFill/>
        </p:spPr>
        <p:txBody>
          <a:bodyPr wrap="none" rtlCol="0">
            <a:spAutoFit/>
          </a:bodyPr>
          <a:lstStyle/>
          <a:p>
            <a:r>
              <a:rPr lang="de-DE" sz="1050" dirty="0">
                <a:solidFill>
                  <a:schemeClr val="bg1">
                    <a:lumMod val="75000"/>
                  </a:schemeClr>
                </a:solidFill>
              </a:rPr>
              <a:t>Bilder: Johanna Kunz/SDL</a:t>
            </a:r>
          </a:p>
        </p:txBody>
      </p:sp>
      <p:grpSp>
        <p:nvGrpSpPr>
          <p:cNvPr id="15" name="Gruppieren 14">
            <a:extLst>
              <a:ext uri="{FF2B5EF4-FFF2-40B4-BE49-F238E27FC236}">
                <a16:creationId xmlns:a16="http://schemas.microsoft.com/office/drawing/2014/main" id="{A9325E40-7016-D052-FBE4-8DA0B3078B7E}"/>
              </a:ext>
            </a:extLst>
          </p:cNvPr>
          <p:cNvGrpSpPr/>
          <p:nvPr/>
        </p:nvGrpSpPr>
        <p:grpSpPr>
          <a:xfrm>
            <a:off x="61000" y="1451929"/>
            <a:ext cx="3533614" cy="4581525"/>
            <a:chOff x="4079765" y="1562099"/>
            <a:chExt cx="3161619" cy="4581525"/>
          </a:xfrm>
        </p:grpSpPr>
        <p:sp>
          <p:nvSpPr>
            <p:cNvPr id="16" name="Rectangle: Rounded Corners 4">
              <a:extLst>
                <a:ext uri="{FF2B5EF4-FFF2-40B4-BE49-F238E27FC236}">
                  <a16:creationId xmlns:a16="http://schemas.microsoft.com/office/drawing/2014/main" id="{D5AE0695-0F71-EEA9-FD23-AFDFCAE0F21D}"/>
                </a:ext>
              </a:extLst>
            </p:cNvPr>
            <p:cNvSpPr/>
            <p:nvPr/>
          </p:nvSpPr>
          <p:spPr>
            <a:xfrm>
              <a:off x="4079765" y="1562099"/>
              <a:ext cx="3161619" cy="4581525"/>
            </a:xfrm>
            <a:prstGeom prst="roundRect">
              <a:avLst>
                <a:gd name="adj" fmla="val 1975"/>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prstClr val="black"/>
                </a:solidFill>
                <a:latin typeface="Arial"/>
              </a:endParaRPr>
            </a:p>
          </p:txBody>
        </p:sp>
        <p:pic>
          <p:nvPicPr>
            <p:cNvPr id="17" name="Picture 17">
              <a:extLst>
                <a:ext uri="{FF2B5EF4-FFF2-40B4-BE49-F238E27FC236}">
                  <a16:creationId xmlns:a16="http://schemas.microsoft.com/office/drawing/2014/main" id="{AA13EB5F-5529-61E4-4A44-71C170B2C00B}"/>
                </a:ext>
              </a:extLst>
            </p:cNvPr>
            <p:cNvPicPr>
              <a:picLocks noChangeAspect="1"/>
            </p:cNvPicPr>
            <p:nvPr/>
          </p:nvPicPr>
          <p:blipFill>
            <a:blip r:embed="rId10" cstate="print">
              <a:extLst>
                <a:ext uri="{28A0092B-C50C-407E-A947-70E740481C1C}">
                  <a14:useLocalDpi xmlns:a14="http://schemas.microsoft.com/office/drawing/2010/main"/>
                </a:ext>
              </a:extLst>
            </a:blip>
            <a:srcRect/>
            <a:stretch/>
          </p:blipFill>
          <p:spPr>
            <a:xfrm rot="5400000">
              <a:off x="3532278" y="2423605"/>
              <a:ext cx="4251326" cy="2858514"/>
            </a:xfrm>
            <a:custGeom>
              <a:avLst/>
              <a:gdLst>
                <a:gd name="connsiteX0" fmla="*/ 56456 w 2858514"/>
                <a:gd name="connsiteY0" fmla="*/ 0 h 4251326"/>
                <a:gd name="connsiteX1" fmla="*/ 2802058 w 2858514"/>
                <a:gd name="connsiteY1" fmla="*/ 0 h 4251326"/>
                <a:gd name="connsiteX2" fmla="*/ 2858514 w 2858514"/>
                <a:gd name="connsiteY2" fmla="*/ 56456 h 4251326"/>
                <a:gd name="connsiteX3" fmla="*/ 2858514 w 2858514"/>
                <a:gd name="connsiteY3" fmla="*/ 4194870 h 4251326"/>
                <a:gd name="connsiteX4" fmla="*/ 2802058 w 2858514"/>
                <a:gd name="connsiteY4" fmla="*/ 4251326 h 4251326"/>
                <a:gd name="connsiteX5" fmla="*/ 56456 w 2858514"/>
                <a:gd name="connsiteY5" fmla="*/ 4251326 h 4251326"/>
                <a:gd name="connsiteX6" fmla="*/ 0 w 2858514"/>
                <a:gd name="connsiteY6" fmla="*/ 4194870 h 4251326"/>
                <a:gd name="connsiteX7" fmla="*/ 0 w 2858514"/>
                <a:gd name="connsiteY7" fmla="*/ 56456 h 4251326"/>
                <a:gd name="connsiteX8" fmla="*/ 56456 w 2858514"/>
                <a:gd name="connsiteY8" fmla="*/ 0 h 425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8514" h="4251326">
                  <a:moveTo>
                    <a:pt x="56456" y="0"/>
                  </a:moveTo>
                  <a:lnTo>
                    <a:pt x="2802058" y="0"/>
                  </a:lnTo>
                  <a:cubicBezTo>
                    <a:pt x="2833238" y="0"/>
                    <a:pt x="2858514" y="25276"/>
                    <a:pt x="2858514" y="56456"/>
                  </a:cubicBezTo>
                  <a:lnTo>
                    <a:pt x="2858514" y="4194870"/>
                  </a:lnTo>
                  <a:cubicBezTo>
                    <a:pt x="2858514" y="4226050"/>
                    <a:pt x="2833238" y="4251326"/>
                    <a:pt x="2802058" y="4251326"/>
                  </a:cubicBezTo>
                  <a:lnTo>
                    <a:pt x="56456" y="4251326"/>
                  </a:lnTo>
                  <a:cubicBezTo>
                    <a:pt x="25276" y="4251326"/>
                    <a:pt x="0" y="4226050"/>
                    <a:pt x="0" y="4194870"/>
                  </a:cubicBezTo>
                  <a:lnTo>
                    <a:pt x="0" y="56456"/>
                  </a:lnTo>
                  <a:cubicBezTo>
                    <a:pt x="0" y="25276"/>
                    <a:pt x="25276" y="0"/>
                    <a:pt x="56456" y="0"/>
                  </a:cubicBezTo>
                  <a:close/>
                </a:path>
              </a:pathLst>
            </a:custGeom>
          </p:spPr>
        </p:pic>
      </p:grpSp>
      <p:pic>
        <p:nvPicPr>
          <p:cNvPr id="18" name="Grafik 17" descr="Münzen mit einfarbiger Füllung">
            <a:extLst>
              <a:ext uri="{FF2B5EF4-FFF2-40B4-BE49-F238E27FC236}">
                <a16:creationId xmlns:a16="http://schemas.microsoft.com/office/drawing/2014/main" id="{DD9AA01F-86E7-1F93-CB8A-824835E3462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12278" y="336756"/>
            <a:ext cx="1150968" cy="1150968"/>
          </a:xfrm>
          <a:prstGeom prst="rect">
            <a:avLst/>
          </a:prstGeom>
        </p:spPr>
      </p:pic>
    </p:spTree>
    <p:extLst>
      <p:ext uri="{BB962C8B-B14F-4D97-AF65-F5344CB8AC3E}">
        <p14:creationId xmlns:p14="http://schemas.microsoft.com/office/powerpoint/2010/main" val="12431860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40">
      <a:dk1>
        <a:srgbClr val="000000"/>
      </a:dk1>
      <a:lt1>
        <a:srgbClr val="FFFFFF"/>
      </a:lt1>
      <a:dk2>
        <a:srgbClr val="000000"/>
      </a:dk2>
      <a:lt2>
        <a:srgbClr val="FFFFFF"/>
      </a:lt2>
      <a:accent1>
        <a:srgbClr val="00338D"/>
      </a:accent1>
      <a:accent2>
        <a:srgbClr val="7A2682"/>
      </a:accent2>
      <a:accent3>
        <a:srgbClr val="0D2240"/>
      </a:accent3>
      <a:accent4>
        <a:srgbClr val="EBB700"/>
      </a:accent4>
      <a:accent5>
        <a:srgbClr val="55565A"/>
      </a:accent5>
      <a:accent6>
        <a:srgbClr val="B3B2B1"/>
      </a:accent6>
      <a:hlink>
        <a:srgbClr val="17C8CB"/>
      </a:hlink>
      <a:folHlink>
        <a:srgbClr val="17C8CB"/>
      </a:folHlink>
    </a:clrScheme>
    <a:fontScheme name="Custom 1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169</Words>
  <Application>Microsoft Office PowerPoint</Application>
  <PresentationFormat>Breitbild</PresentationFormat>
  <Paragraphs>266</Paragraphs>
  <Slides>23</Slides>
  <Notes>18</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23</vt:i4>
      </vt:variant>
    </vt:vector>
  </HeadingPairs>
  <TitlesOfParts>
    <vt:vector size="33" baseType="lpstr">
      <vt:lpstr>Aptos</vt:lpstr>
      <vt:lpstr>Aptos Narrow</vt:lpstr>
      <vt:lpstr>Arial</vt:lpstr>
      <vt:lpstr>Calibri</vt:lpstr>
      <vt:lpstr>HelveticaNeue LT 45 Light</vt:lpstr>
      <vt:lpstr>Times New Roman</vt:lpstr>
      <vt:lpstr>Wingdings</vt:lpstr>
      <vt:lpstr>ヒラギノ角ゴ Pro W3</vt:lpstr>
      <vt:lpstr>1_Office Theme</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G</dc:creator>
  <cp:lastModifiedBy>Johanna Kunz</cp:lastModifiedBy>
  <cp:revision>152</cp:revision>
  <dcterms:created xsi:type="dcterms:W3CDTF">2022-10-24T06:57:44Z</dcterms:created>
  <dcterms:modified xsi:type="dcterms:W3CDTF">2025-06-16T11:00:51Z</dcterms:modified>
</cp:coreProperties>
</file>